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ags/tag12.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77" r:id="rId1"/>
    <p:sldMasterId id="2147483934" r:id="rId2"/>
  </p:sldMasterIdLst>
  <p:notesMasterIdLst>
    <p:notesMasterId r:id="rId26"/>
  </p:notesMasterIdLst>
  <p:sldIdLst>
    <p:sldId id="259" r:id="rId3"/>
    <p:sldId id="341" r:id="rId4"/>
    <p:sldId id="1429" r:id="rId5"/>
    <p:sldId id="2147482210" r:id="rId6"/>
    <p:sldId id="2147482374" r:id="rId7"/>
    <p:sldId id="1424" r:id="rId8"/>
    <p:sldId id="3362" r:id="rId9"/>
    <p:sldId id="2147482377" r:id="rId10"/>
    <p:sldId id="540" r:id="rId11"/>
    <p:sldId id="825" r:id="rId12"/>
    <p:sldId id="840" r:id="rId13"/>
    <p:sldId id="804" r:id="rId14"/>
    <p:sldId id="1430" r:id="rId15"/>
    <p:sldId id="2147471416" r:id="rId16"/>
    <p:sldId id="2147471413" r:id="rId17"/>
    <p:sldId id="1431" r:id="rId18"/>
    <p:sldId id="2147482227" r:id="rId19"/>
    <p:sldId id="2147471410" r:id="rId20"/>
    <p:sldId id="2147471411" r:id="rId21"/>
    <p:sldId id="601" r:id="rId22"/>
    <p:sldId id="353" r:id="rId23"/>
    <p:sldId id="2147471429" r:id="rId24"/>
    <p:sldId id="2147471425" r:id="rId25"/>
  </p:sldIdLst>
  <p:sldSz cx="12192000" cy="6858000"/>
  <p:notesSz cx="6858000" cy="9144000"/>
  <p:embeddedFontLst>
    <p:embeddedFont>
      <p:font typeface="Archivo" panose="020B0604020202020204" charset="0"/>
      <p:regular r:id="rId27"/>
      <p:bold r:id="rId28"/>
    </p:embeddedFont>
    <p:embeddedFont>
      <p:font typeface="Arial Black" panose="020B0A04020102020204" pitchFamily="34" charset="0"/>
      <p:bold r:id="rId29"/>
    </p:embeddedFont>
    <p:embeddedFont>
      <p:font typeface="Wingdings 3" panose="05040102010807070707" pitchFamily="18" charset="2"/>
      <p:regular r:id="rId30"/>
    </p:embeddedFont>
  </p:embeddedFontLst>
  <p:custDataLst>
    <p:tags r:id="rId31"/>
  </p:custDataLst>
  <p:defaultTextStyle>
    <a:defPPr>
      <a:defRPr lang="de-DE"/>
    </a:defPPr>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defaultTextStyle>
  <p:extLst>
    <p:ext uri="{EFAFB233-063F-42B5-8137-9DF3F51BA10A}">
      <p15:sldGuideLst xmlns:p15="http://schemas.microsoft.com/office/powerpoint/2012/main">
        <p15:guide id="1" pos="179" userDrawn="1">
          <p15:clr>
            <a:srgbClr val="A4A3A4"/>
          </p15:clr>
        </p15:guide>
        <p15:guide id="2" orient="horz" pos="869" userDrawn="1">
          <p15:clr>
            <a:srgbClr val="A4A3A4"/>
          </p15:clr>
        </p15:guide>
        <p15:guide id="3" orient="horz" pos="3959" userDrawn="1">
          <p15:clr>
            <a:srgbClr val="A4A3A4"/>
          </p15:clr>
        </p15:guide>
        <p15:guide id="4" pos="749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54748"/>
    <a:srgbClr val="323F53"/>
    <a:srgbClr val="FFFFFF"/>
    <a:srgbClr val="5A90CA"/>
    <a:srgbClr val="6B9BCF"/>
    <a:srgbClr val="7BA6D5"/>
    <a:srgbClr val="F1F1F1"/>
    <a:srgbClr val="919191"/>
    <a:srgbClr val="9E9E9E"/>
    <a:srgbClr val="9FA4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47E88D4B-9570-4F2C-9873-11DF9558A75F}">
  <a:tblStyle styleId="{47E88D4B-9570-4F2C-9873-11DF9558A75F}" styleName="HNR Table Style">
    <a:tblBg>
      <a:effect>
        <a:effectLst/>
      </a:effect>
    </a:tblBg>
    <a:wholeTbl>
      <a:tcTxStyle b="off" i="off">
        <a:fontRef idx="minor"/>
        <a:schemeClr val="tx2"/>
      </a:tcTxStyle>
      <a:tcStyle>
        <a:tcBdr>
          <a:left>
            <a:ln>
              <a:noFill/>
            </a:ln>
          </a:left>
          <a:right>
            <a:ln>
              <a:noFill/>
            </a:ln>
          </a:right>
          <a:top>
            <a:ln>
              <a:noFill/>
            </a:ln>
          </a:top>
          <a:bottom>
            <a:ln w="12700" cap="flat" cmpd="sng" algn="ctr">
              <a:solidFill>
                <a:schemeClr val="dk2"/>
              </a:solidFill>
              <a:prstDash val="solid"/>
            </a:ln>
          </a:bottom>
          <a:insideH>
            <a:ln w="12700" cap="flat" cmpd="sng" algn="ctr">
              <a:solidFill>
                <a:schemeClr val="dk2"/>
              </a:solidFill>
              <a:prstDash val="solid"/>
            </a:ln>
          </a:insideH>
          <a:insideV>
            <a:ln>
              <a:noFill/>
            </a:ln>
          </a:insideV>
          <a:tl2br>
            <a:ln>
              <a:noFill/>
            </a:ln>
          </a:tl2br>
          <a:tr2bl>
            <a:ln>
              <a:noFill/>
            </a:ln>
          </a:tr2bl>
        </a:tcBdr>
        <a:fill>
          <a:noFill/>
        </a:fill>
      </a:tcStyle>
    </a:wholeTbl>
    <a:band1H>
      <a:tcStyle>
        <a:tcBdr/>
      </a:tcStyle>
    </a:band1H>
    <a:band2H>
      <a:tcStyle>
        <a:tcBdr/>
      </a:tcStyle>
    </a:band2H>
    <a:band1V>
      <a:tcStyle>
        <a:tcBdr/>
      </a:tcStyle>
    </a:band1V>
    <a:band2V>
      <a:tcStyle>
        <a:tcBdr/>
      </a:tcStyle>
    </a:band2V>
    <a:lastCol>
      <a:tcStyle>
        <a:tcBdr/>
      </a:tcStyle>
    </a:lastCol>
    <a:firstCol>
      <a:tcStyle>
        <a:tcBdr/>
      </a:tcStyle>
    </a:firstCol>
    <a:lastRow>
      <a:tcTxStyle b="on" i="off">
        <a:fontRef idx="minor"/>
        <a:schemeClr val="tx2"/>
      </a:tcTxStyle>
      <a:tcStyle>
        <a:tcBdr>
          <a:top>
            <a:ln w="28575" cap="flat" cmpd="sng" algn="ctr">
              <a:solidFill>
                <a:schemeClr val="dk2"/>
              </a:solidFill>
              <a:prstDash val="solid"/>
            </a:ln>
          </a:top>
          <a:bottom>
            <a:ln w="28575" cap="flat" cmpd="sng" algn="ctr">
              <a:solidFill>
                <a:schemeClr val="dk2"/>
              </a:solidFill>
              <a:prstDash val="solid"/>
            </a:ln>
          </a:bottom>
        </a:tcBdr>
      </a:tcStyle>
    </a:lastRow>
    <a:seCell>
      <a:tcStyle>
        <a:tcBdr/>
      </a:tcStyle>
    </a:seCell>
    <a:swCell>
      <a:tcStyle>
        <a:tcBdr/>
      </a:tcStyle>
    </a:swCell>
    <a:firstRow>
      <a:tcStyle>
        <a:tcBdr>
          <a:bottom>
            <a:ln w="28575" cap="flat" cmpd="sng" algn="ctr">
              <a:solidFill>
                <a:schemeClr val="dk2"/>
              </a:solidFill>
              <a:prstDash val="solid"/>
            </a:ln>
          </a:bottom>
        </a:tcBdr>
      </a:tcStyle>
    </a:firstRow>
    <a:neCell>
      <a:tcStyle>
        <a:tcBdr/>
      </a:tcStyle>
    </a:neCell>
    <a:nwCell>
      <a:tcStyle>
        <a:tcBdr/>
      </a:tcStyle>
    </a:nwCell>
    <a:extLst/>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005" autoAdjust="0"/>
    <p:restoredTop sz="90978" autoAdjust="0"/>
  </p:normalViewPr>
  <p:slideViewPr>
    <p:cSldViewPr snapToGrid="0" showGuides="1">
      <p:cViewPr varScale="1">
        <p:scale>
          <a:sx n="54" d="100"/>
          <a:sy n="54" d="100"/>
        </p:scale>
        <p:origin x="1662" y="276"/>
      </p:cViewPr>
      <p:guideLst>
        <p:guide pos="179"/>
        <p:guide orient="horz" pos="869"/>
        <p:guide orient="horz" pos="3959"/>
        <p:guide pos="7499"/>
      </p:guideLst>
    </p:cSldViewPr>
  </p:slideViewPr>
  <p:outlineViewPr>
    <p:cViewPr>
      <p:scale>
        <a:sx n="33" d="100"/>
        <a:sy n="33" d="100"/>
      </p:scale>
      <p:origin x="0" y="-71112"/>
    </p:cViewPr>
  </p:outlineViewPr>
  <p:notesTextViewPr>
    <p:cViewPr>
      <p:scale>
        <a:sx n="1" d="1"/>
        <a:sy n="1" d="1"/>
      </p:scale>
      <p:origin x="0" y="0"/>
    </p:cViewPr>
  </p:notesTextViewPr>
  <p:sorterViewPr>
    <p:cViewPr>
      <p:scale>
        <a:sx n="33" d="100"/>
        <a:sy n="33" d="100"/>
      </p:scale>
      <p:origin x="0" y="0"/>
    </p:cViewPr>
  </p:sorterViewPr>
  <p:gridSpacing cx="72010" cy="7201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3.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font" Target="fonts/font2.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tableStyles" Target="tableStyles.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5504234661081E-2"/>
          <c:y val="4.9250027883595199E-2"/>
          <c:w val="0.91976836233472115"/>
          <c:h val="0.58843942279283634"/>
        </c:manualLayout>
      </c:layout>
      <c:lineChart>
        <c:grouping val="standard"/>
        <c:varyColors val="0"/>
        <c:ser>
          <c:idx val="0"/>
          <c:order val="0"/>
          <c:tx>
            <c:strRef>
              <c:f>Sheet1!$B$1</c:f>
              <c:strCache>
                <c:ptCount val="1"/>
                <c:pt idx="0">
                  <c:v>Mundo</c:v>
                </c:pt>
              </c:strCache>
            </c:strRef>
          </c:tx>
          <c:marker>
            <c:symbol val="circle"/>
            <c:size val="7"/>
          </c:marker>
          <c:cat>
            <c:strRef>
              <c:f>Sheet1!$A$2:$A$15</c:f>
              <c:strCache>
                <c:ptCount val="14"/>
                <c:pt idx="0">
                  <c:v>1950 - 1955</c:v>
                </c:pt>
                <c:pt idx="1">
                  <c:v>1955 - 1960</c:v>
                </c:pt>
                <c:pt idx="2">
                  <c:v>1960 - 1965</c:v>
                </c:pt>
                <c:pt idx="3">
                  <c:v>1965 - 1970</c:v>
                </c:pt>
                <c:pt idx="4">
                  <c:v>1970 - 1975</c:v>
                </c:pt>
                <c:pt idx="5">
                  <c:v>1975 - 1980</c:v>
                </c:pt>
                <c:pt idx="6">
                  <c:v>1980 - 1985</c:v>
                </c:pt>
                <c:pt idx="7">
                  <c:v>1985 - 1990</c:v>
                </c:pt>
                <c:pt idx="8">
                  <c:v>1990 - 1995</c:v>
                </c:pt>
                <c:pt idx="9">
                  <c:v>1995 - 2000</c:v>
                </c:pt>
                <c:pt idx="10">
                  <c:v>2000 - 2005</c:v>
                </c:pt>
                <c:pt idx="11">
                  <c:v>2005 - 2010</c:v>
                </c:pt>
                <c:pt idx="12">
                  <c:v>2010 - 2015</c:v>
                </c:pt>
                <c:pt idx="13">
                  <c:v>2015 - 2020</c:v>
                </c:pt>
              </c:strCache>
            </c:strRef>
          </c:cat>
          <c:val>
            <c:numRef>
              <c:f>Sheet1!$B$2:$B$15</c:f>
              <c:numCache>
                <c:formatCode>General</c:formatCode>
                <c:ptCount val="14"/>
                <c:pt idx="0">
                  <c:v>46.959109827315899</c:v>
                </c:pt>
                <c:pt idx="1">
                  <c:v>49.3653805463764</c:v>
                </c:pt>
                <c:pt idx="2">
                  <c:v>51.184065886633697</c:v>
                </c:pt>
                <c:pt idx="3">
                  <c:v>55.432488630709102</c:v>
                </c:pt>
                <c:pt idx="4">
                  <c:v>58.085879037414003</c:v>
                </c:pt>
                <c:pt idx="5">
                  <c:v>60.273490941936302</c:v>
                </c:pt>
                <c:pt idx="6">
                  <c:v>62.0715288757658</c:v>
                </c:pt>
                <c:pt idx="7">
                  <c:v>63.711484866271299</c:v>
                </c:pt>
                <c:pt idx="8">
                  <c:v>64.561470825488897</c:v>
                </c:pt>
                <c:pt idx="9">
                  <c:v>65.630886256057195</c:v>
                </c:pt>
                <c:pt idx="10">
                  <c:v>67.045538869030594</c:v>
                </c:pt>
                <c:pt idx="11">
                  <c:v>68.919050033540003</c:v>
                </c:pt>
                <c:pt idx="12">
                  <c:v>70.876301474524496</c:v>
                </c:pt>
                <c:pt idx="13">
                  <c:v>72.280912228360094</c:v>
                </c:pt>
              </c:numCache>
            </c:numRef>
          </c:val>
          <c:smooth val="0"/>
          <c:extLst>
            <c:ext xmlns:c16="http://schemas.microsoft.com/office/drawing/2014/chart" uri="{C3380CC4-5D6E-409C-BE32-E72D297353CC}">
              <c16:uniqueId val="{00000000-7E30-48F0-95BD-E0DF2C5D9C69}"/>
            </c:ext>
          </c:extLst>
        </c:ser>
        <c:ser>
          <c:idx val="1"/>
          <c:order val="1"/>
          <c:tx>
            <c:strRef>
              <c:f>Sheet1!$C$1</c:f>
              <c:strCache>
                <c:ptCount val="1"/>
                <c:pt idx="0">
                  <c:v>Países desarrollados</c:v>
                </c:pt>
              </c:strCache>
            </c:strRef>
          </c:tx>
          <c:marker>
            <c:symbol val="circle"/>
            <c:size val="7"/>
          </c:marker>
          <c:cat>
            <c:strRef>
              <c:f>Sheet1!$A$2:$A$15</c:f>
              <c:strCache>
                <c:ptCount val="14"/>
                <c:pt idx="0">
                  <c:v>1950 - 1955</c:v>
                </c:pt>
                <c:pt idx="1">
                  <c:v>1955 - 1960</c:v>
                </c:pt>
                <c:pt idx="2">
                  <c:v>1960 - 1965</c:v>
                </c:pt>
                <c:pt idx="3">
                  <c:v>1965 - 1970</c:v>
                </c:pt>
                <c:pt idx="4">
                  <c:v>1970 - 1975</c:v>
                </c:pt>
                <c:pt idx="5">
                  <c:v>1975 - 1980</c:v>
                </c:pt>
                <c:pt idx="6">
                  <c:v>1980 - 1985</c:v>
                </c:pt>
                <c:pt idx="7">
                  <c:v>1985 - 1990</c:v>
                </c:pt>
                <c:pt idx="8">
                  <c:v>1990 - 1995</c:v>
                </c:pt>
                <c:pt idx="9">
                  <c:v>1995 - 2000</c:v>
                </c:pt>
                <c:pt idx="10">
                  <c:v>2000 - 2005</c:v>
                </c:pt>
                <c:pt idx="11">
                  <c:v>2005 - 2010</c:v>
                </c:pt>
                <c:pt idx="12">
                  <c:v>2010 - 2015</c:v>
                </c:pt>
                <c:pt idx="13">
                  <c:v>2015 - 2020</c:v>
                </c:pt>
              </c:strCache>
            </c:strRef>
          </c:cat>
          <c:val>
            <c:numRef>
              <c:f>Sheet1!$C$2:$C$15</c:f>
              <c:numCache>
                <c:formatCode>General</c:formatCode>
                <c:ptCount val="14"/>
                <c:pt idx="0">
                  <c:v>64.825546574653302</c:v>
                </c:pt>
                <c:pt idx="1">
                  <c:v>67.732151880838202</c:v>
                </c:pt>
                <c:pt idx="2">
                  <c:v>69.489651140927606</c:v>
                </c:pt>
                <c:pt idx="3">
                  <c:v>70.328423865451498</c:v>
                </c:pt>
                <c:pt idx="4">
                  <c:v>71.133687425377602</c:v>
                </c:pt>
                <c:pt idx="5">
                  <c:v>72.023032306517706</c:v>
                </c:pt>
                <c:pt idx="6">
                  <c:v>72.858442108436705</c:v>
                </c:pt>
                <c:pt idx="7">
                  <c:v>73.950582267248905</c:v>
                </c:pt>
                <c:pt idx="8">
                  <c:v>74.162624746059095</c:v>
                </c:pt>
                <c:pt idx="9">
                  <c:v>74.800495744330206</c:v>
                </c:pt>
                <c:pt idx="10">
                  <c:v>75.596746748671293</c:v>
                </c:pt>
                <c:pt idx="11">
                  <c:v>76.934765704521098</c:v>
                </c:pt>
                <c:pt idx="12">
                  <c:v>78.433015394262</c:v>
                </c:pt>
                <c:pt idx="13">
                  <c:v>79.244770439494204</c:v>
                </c:pt>
              </c:numCache>
            </c:numRef>
          </c:val>
          <c:smooth val="0"/>
          <c:extLst>
            <c:ext xmlns:c16="http://schemas.microsoft.com/office/drawing/2014/chart" uri="{C3380CC4-5D6E-409C-BE32-E72D297353CC}">
              <c16:uniqueId val="{00000001-7E30-48F0-95BD-E0DF2C5D9C69}"/>
            </c:ext>
          </c:extLst>
        </c:ser>
        <c:dLbls>
          <c:showLegendKey val="0"/>
          <c:showVal val="0"/>
          <c:showCatName val="0"/>
          <c:showSerName val="0"/>
          <c:showPercent val="0"/>
          <c:showBubbleSize val="0"/>
        </c:dLbls>
        <c:marker val="1"/>
        <c:smooth val="0"/>
        <c:axId val="351043584"/>
        <c:axId val="351045120"/>
      </c:lineChart>
      <c:catAx>
        <c:axId val="351043584"/>
        <c:scaling>
          <c:orientation val="minMax"/>
        </c:scaling>
        <c:delete val="0"/>
        <c:axPos val="b"/>
        <c:numFmt formatCode="General" sourceLinked="0"/>
        <c:majorTickMark val="none"/>
        <c:minorTickMark val="none"/>
        <c:tickLblPos val="nextTo"/>
        <c:txPr>
          <a:bodyPr rot="-2700000"/>
          <a:lstStyle/>
          <a:p>
            <a:pPr>
              <a:defRPr sz="1400"/>
            </a:pPr>
            <a:endParaRPr lang="en-US"/>
          </a:p>
        </c:txPr>
        <c:crossAx val="351045120"/>
        <c:crosses val="autoZero"/>
        <c:auto val="1"/>
        <c:lblAlgn val="ctr"/>
        <c:lblOffset val="100"/>
        <c:noMultiLvlLbl val="0"/>
      </c:catAx>
      <c:valAx>
        <c:axId val="351045120"/>
        <c:scaling>
          <c:orientation val="minMax"/>
          <c:max val="85"/>
          <c:min val="45"/>
        </c:scaling>
        <c:delete val="0"/>
        <c:axPos val="l"/>
        <c:majorGridlines>
          <c:spPr>
            <a:ln>
              <a:solidFill>
                <a:schemeClr val="bg1">
                  <a:lumMod val="75000"/>
                </a:schemeClr>
              </a:solidFill>
              <a:prstDash val="solid"/>
            </a:ln>
          </c:spPr>
        </c:majorGridlines>
        <c:numFmt formatCode="General" sourceLinked="1"/>
        <c:majorTickMark val="none"/>
        <c:minorTickMark val="none"/>
        <c:tickLblPos val="nextTo"/>
        <c:spPr>
          <a:ln w="9525">
            <a:noFill/>
          </a:ln>
        </c:spPr>
        <c:crossAx val="351043584"/>
        <c:crosses val="autoZero"/>
        <c:crossBetween val="between"/>
      </c:valAx>
    </c:plotArea>
    <c:legend>
      <c:legendPos val="b"/>
      <c:overlay val="0"/>
    </c:legend>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Esperanza de Vida (2019</a:t>
            </a:r>
            <a:r>
              <a:rPr lang="es-ES" noProof="0" dirty="0"/>
              <a:t>) al nacer,</a:t>
            </a:r>
            <a:r>
              <a:rPr lang="es-ES" baseline="0" noProof="0" dirty="0"/>
              <a:t> en años</a:t>
            </a:r>
            <a:r>
              <a:rPr lang="es-ES" noProof="0" dirty="0"/>
              <a:t> - mejores 50 país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LE_2019_sorted_clean!$C$1</c:f>
              <c:strCache>
                <c:ptCount val="1"/>
                <c:pt idx="0">
                  <c:v>Life Expectancy (years)</c:v>
                </c:pt>
              </c:strCache>
            </c:strRef>
          </c:tx>
          <c:spPr>
            <a:solidFill>
              <a:schemeClr val="accent1"/>
            </a:solidFill>
            <a:ln>
              <a:solidFill>
                <a:schemeClr val="accent1"/>
              </a:solidFill>
            </a:ln>
            <a:effectLst/>
          </c:spPr>
          <c:invertIfNegative val="0"/>
          <c:dPt>
            <c:idx val="0"/>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1-2B95-44B9-AB96-5844BED1AD13}"/>
              </c:ext>
            </c:extLst>
          </c:dPt>
          <c:dPt>
            <c:idx val="1"/>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3-2B95-44B9-AB96-5844BED1AD13}"/>
              </c:ext>
            </c:extLst>
          </c:dPt>
          <c:dPt>
            <c:idx val="2"/>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3D-2B95-44B9-AB96-5844BED1AD13}"/>
              </c:ext>
            </c:extLst>
          </c:dPt>
          <c:dPt>
            <c:idx val="3"/>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5-2B95-44B9-AB96-5844BED1AD13}"/>
              </c:ext>
            </c:extLst>
          </c:dPt>
          <c:dPt>
            <c:idx val="4"/>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7-2B95-44B9-AB96-5844BED1AD13}"/>
              </c:ext>
            </c:extLst>
          </c:dPt>
          <c:dPt>
            <c:idx val="5"/>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9-2B95-44B9-AB96-5844BED1AD13}"/>
              </c:ext>
            </c:extLst>
          </c:dPt>
          <c:dPt>
            <c:idx val="6"/>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3E-2B95-44B9-AB96-5844BED1AD13}"/>
              </c:ext>
            </c:extLst>
          </c:dPt>
          <c:dPt>
            <c:idx val="7"/>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B-2B95-44B9-AB96-5844BED1AD13}"/>
              </c:ext>
            </c:extLst>
          </c:dPt>
          <c:dPt>
            <c:idx val="8"/>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D-2B95-44B9-AB96-5844BED1AD13}"/>
              </c:ext>
            </c:extLst>
          </c:dPt>
          <c:dPt>
            <c:idx val="9"/>
            <c:invertIfNegative val="0"/>
            <c:bubble3D val="0"/>
            <c:spPr>
              <a:solidFill>
                <a:schemeClr val="accent3"/>
              </a:solidFill>
              <a:ln>
                <a:solidFill>
                  <a:schemeClr val="accent3"/>
                </a:solidFill>
              </a:ln>
              <a:effectLst/>
            </c:spPr>
            <c:extLst>
              <c:ext xmlns:c16="http://schemas.microsoft.com/office/drawing/2014/chart" uri="{C3380CC4-5D6E-409C-BE32-E72D297353CC}">
                <c16:uniqueId val="{0000000F-2B95-44B9-AB96-5844BED1AD13}"/>
              </c:ext>
            </c:extLst>
          </c:dPt>
          <c:dPt>
            <c:idx val="12"/>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11-2B95-44B9-AB96-5844BED1AD13}"/>
              </c:ext>
            </c:extLst>
          </c:dPt>
          <c:dPt>
            <c:idx val="13"/>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13-2B95-44B9-AB96-5844BED1AD13}"/>
              </c:ext>
            </c:extLst>
          </c:dPt>
          <c:dPt>
            <c:idx val="14"/>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46-2B95-44B9-AB96-5844BED1AD13}"/>
              </c:ext>
            </c:extLst>
          </c:dPt>
          <c:dPt>
            <c:idx val="15"/>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47-2B95-44B9-AB96-5844BED1AD13}"/>
              </c:ext>
            </c:extLst>
          </c:dPt>
          <c:dPt>
            <c:idx val="18"/>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15-2B95-44B9-AB96-5844BED1AD13}"/>
              </c:ext>
            </c:extLst>
          </c:dPt>
          <c:dPt>
            <c:idx val="19"/>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17-2B95-44B9-AB96-5844BED1AD13}"/>
              </c:ext>
            </c:extLst>
          </c:dPt>
          <c:dPt>
            <c:idx val="20"/>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19-2B95-44B9-AB96-5844BED1AD13}"/>
              </c:ext>
            </c:extLst>
          </c:dPt>
          <c:dPt>
            <c:idx val="21"/>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1B-2B95-44B9-AB96-5844BED1AD13}"/>
              </c:ext>
            </c:extLst>
          </c:dPt>
          <c:dPt>
            <c:idx val="23"/>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48-2B95-44B9-AB96-5844BED1AD13}"/>
              </c:ext>
            </c:extLst>
          </c:dPt>
          <c:dPt>
            <c:idx val="25"/>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3F-2B95-44B9-AB96-5844BED1AD13}"/>
              </c:ext>
            </c:extLst>
          </c:dPt>
          <c:dPt>
            <c:idx val="26"/>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1D-2B95-44B9-AB96-5844BED1AD13}"/>
              </c:ext>
            </c:extLst>
          </c:dPt>
          <c:dPt>
            <c:idx val="27"/>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1F-2B95-44B9-AB96-5844BED1AD13}"/>
              </c:ext>
            </c:extLst>
          </c:dPt>
          <c:dPt>
            <c:idx val="28"/>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40-2B95-44B9-AB96-5844BED1AD13}"/>
              </c:ext>
            </c:extLst>
          </c:dPt>
          <c:dPt>
            <c:idx val="29"/>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21-2B95-44B9-AB96-5844BED1AD13}"/>
              </c:ext>
            </c:extLst>
          </c:dPt>
          <c:dPt>
            <c:idx val="30"/>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23-2B95-44B9-AB96-5844BED1AD13}"/>
              </c:ext>
            </c:extLst>
          </c:dPt>
          <c:dPt>
            <c:idx val="31"/>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41-2B95-44B9-AB96-5844BED1AD13}"/>
              </c:ext>
            </c:extLst>
          </c:dPt>
          <c:dPt>
            <c:idx val="32"/>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25-2B95-44B9-AB96-5844BED1AD13}"/>
              </c:ext>
            </c:extLst>
          </c:dPt>
          <c:dPt>
            <c:idx val="33"/>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42-2B95-44B9-AB96-5844BED1AD13}"/>
              </c:ext>
            </c:extLst>
          </c:dPt>
          <c:dPt>
            <c:idx val="34"/>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27-2B95-44B9-AB96-5844BED1AD13}"/>
              </c:ext>
            </c:extLst>
          </c:dPt>
          <c:dPt>
            <c:idx val="35"/>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29-2B95-44B9-AB96-5844BED1AD13}"/>
              </c:ext>
            </c:extLst>
          </c:dPt>
          <c:dPt>
            <c:idx val="36"/>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44-2B95-44B9-AB96-5844BED1AD13}"/>
              </c:ext>
            </c:extLst>
          </c:dPt>
          <c:dPt>
            <c:idx val="37"/>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45-2B95-44B9-AB96-5844BED1AD13}"/>
              </c:ext>
            </c:extLst>
          </c:dPt>
          <c:dPt>
            <c:idx val="38"/>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2B-2B95-44B9-AB96-5844BED1AD13}"/>
              </c:ext>
            </c:extLst>
          </c:dPt>
          <c:dPt>
            <c:idx val="39"/>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2D-2B95-44B9-AB96-5844BED1AD13}"/>
              </c:ext>
            </c:extLst>
          </c:dPt>
          <c:dPt>
            <c:idx val="40"/>
            <c:invertIfNegative val="0"/>
            <c:bubble3D val="0"/>
            <c:spPr>
              <a:solidFill>
                <a:schemeClr val="accent3"/>
              </a:solidFill>
              <a:ln>
                <a:solidFill>
                  <a:schemeClr val="accent3"/>
                </a:solidFill>
              </a:ln>
              <a:effectLst/>
            </c:spPr>
            <c:extLst>
              <c:ext xmlns:c16="http://schemas.microsoft.com/office/drawing/2014/chart" uri="{C3380CC4-5D6E-409C-BE32-E72D297353CC}">
                <c16:uniqueId val="{0000002F-2B95-44B9-AB96-5844BED1AD13}"/>
              </c:ext>
            </c:extLst>
          </c:dPt>
          <c:dPt>
            <c:idx val="41"/>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43-2B95-44B9-AB96-5844BED1AD13}"/>
              </c:ext>
            </c:extLst>
          </c:dPt>
          <c:dPt>
            <c:idx val="42"/>
            <c:invertIfNegative val="0"/>
            <c:bubble3D val="0"/>
            <c:spPr>
              <a:solidFill>
                <a:schemeClr val="accent3"/>
              </a:solidFill>
              <a:ln>
                <a:solidFill>
                  <a:schemeClr val="accent3"/>
                </a:solidFill>
              </a:ln>
              <a:effectLst/>
            </c:spPr>
            <c:extLst>
              <c:ext xmlns:c16="http://schemas.microsoft.com/office/drawing/2014/chart" uri="{C3380CC4-5D6E-409C-BE32-E72D297353CC}">
                <c16:uniqueId val="{00000000-1251-4F44-9363-1FD33DD8D4BE}"/>
              </c:ext>
            </c:extLst>
          </c:dPt>
          <c:dPt>
            <c:idx val="43"/>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31-2B95-44B9-AB96-5844BED1AD13}"/>
              </c:ext>
            </c:extLst>
          </c:dPt>
          <c:dPt>
            <c:idx val="44"/>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33-2B95-44B9-AB96-5844BED1AD13}"/>
              </c:ext>
            </c:extLst>
          </c:dPt>
          <c:dPt>
            <c:idx val="46"/>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35-2B95-44B9-AB96-5844BED1AD13}"/>
              </c:ext>
            </c:extLst>
          </c:dPt>
          <c:dPt>
            <c:idx val="47"/>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37-2B95-44B9-AB96-5844BED1AD13}"/>
              </c:ext>
            </c:extLst>
          </c:dPt>
          <c:dPt>
            <c:idx val="48"/>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39-2B95-44B9-AB96-5844BED1AD13}"/>
              </c:ext>
            </c:extLst>
          </c:dPt>
          <c:dPt>
            <c:idx val="49"/>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3B-2B95-44B9-AB96-5844BED1AD13}"/>
              </c:ext>
            </c:extLst>
          </c:dPt>
          <c:cat>
            <c:strRef>
              <c:f>LE_2019_sorted_clean!$B$2:$B$51</c:f>
              <c:strCache>
                <c:ptCount val="50"/>
                <c:pt idx="0">
                  <c:v>Monaco</c:v>
                </c:pt>
                <c:pt idx="1">
                  <c:v>San Marino</c:v>
                </c:pt>
                <c:pt idx="2">
                  <c:v>Hong Kong</c:v>
                </c:pt>
                <c:pt idx="3">
                  <c:v>Japan</c:v>
                </c:pt>
                <c:pt idx="4">
                  <c:v>Macao</c:v>
                </c:pt>
                <c:pt idx="5">
                  <c:v>Cayman Islands</c:v>
                </c:pt>
                <c:pt idx="6">
                  <c:v>Switzerland</c:v>
                </c:pt>
                <c:pt idx="7">
                  <c:v>Andorra</c:v>
                </c:pt>
                <c:pt idx="8">
                  <c:v>Singapore</c:v>
                </c:pt>
                <c:pt idx="9">
                  <c:v>Spain</c:v>
                </c:pt>
                <c:pt idx="10">
                  <c:v>Italy</c:v>
                </c:pt>
                <c:pt idx="11">
                  <c:v>Australia</c:v>
                </c:pt>
                <c:pt idx="12">
                  <c:v>Channel Islands</c:v>
                </c:pt>
                <c:pt idx="13">
                  <c:v>South Korea</c:v>
                </c:pt>
                <c:pt idx="14">
                  <c:v>Iceland</c:v>
                </c:pt>
                <c:pt idx="15">
                  <c:v>Israel</c:v>
                </c:pt>
                <c:pt idx="16">
                  <c:v>Sweden</c:v>
                </c:pt>
                <c:pt idx="17">
                  <c:v>France</c:v>
                </c:pt>
                <c:pt idx="18">
                  <c:v>Bermuda</c:v>
                </c:pt>
                <c:pt idx="19">
                  <c:v>Martinique</c:v>
                </c:pt>
                <c:pt idx="20">
                  <c:v>Malta</c:v>
                </c:pt>
                <c:pt idx="21">
                  <c:v>Liechtenstein</c:v>
                </c:pt>
                <c:pt idx="22">
                  <c:v>Canada</c:v>
                </c:pt>
                <c:pt idx="23">
                  <c:v>Norway</c:v>
                </c:pt>
                <c:pt idx="24">
                  <c:v>Ireland</c:v>
                </c:pt>
                <c:pt idx="25">
                  <c:v>New Zealand</c:v>
                </c:pt>
                <c:pt idx="26">
                  <c:v>Netherlands</c:v>
                </c:pt>
                <c:pt idx="27">
                  <c:v>Luxembourg</c:v>
                </c:pt>
                <c:pt idx="28">
                  <c:v>Greece</c:v>
                </c:pt>
                <c:pt idx="29">
                  <c:v>Guadeloupe</c:v>
                </c:pt>
                <c:pt idx="30">
                  <c:v>Saint Martin (French part)</c:v>
                </c:pt>
                <c:pt idx="31">
                  <c:v>Portugal</c:v>
                </c:pt>
                <c:pt idx="32">
                  <c:v>Saint Barthlemy</c:v>
                </c:pt>
                <c:pt idx="33">
                  <c:v>Finland</c:v>
                </c:pt>
                <c:pt idx="34">
                  <c:v>Anguilla</c:v>
                </c:pt>
                <c:pt idx="35">
                  <c:v>Tokelau</c:v>
                </c:pt>
                <c:pt idx="36">
                  <c:v>Belgium</c:v>
                </c:pt>
                <c:pt idx="37">
                  <c:v>Austria</c:v>
                </c:pt>
                <c:pt idx="38">
                  <c:v>Falkland Islands</c:v>
                </c:pt>
                <c:pt idx="39">
                  <c:v>Isle of Man</c:v>
                </c:pt>
                <c:pt idx="40">
                  <c:v>Germany</c:v>
                </c:pt>
                <c:pt idx="41">
                  <c:v>Slovenia</c:v>
                </c:pt>
                <c:pt idx="42">
                  <c:v>United Kingdom</c:v>
                </c:pt>
                <c:pt idx="43">
                  <c:v>Saint Pierre and Miquelon</c:v>
                </c:pt>
                <c:pt idx="44">
                  <c:v>Cyprus</c:v>
                </c:pt>
                <c:pt idx="45">
                  <c:v>Denmark</c:v>
                </c:pt>
                <c:pt idx="46">
                  <c:v>Faeroe Islands</c:v>
                </c:pt>
                <c:pt idx="47">
                  <c:v>United States Virgin Islands</c:v>
                </c:pt>
                <c:pt idx="48">
                  <c:v>Saint Helena</c:v>
                </c:pt>
                <c:pt idx="49">
                  <c:v>Reunion</c:v>
                </c:pt>
              </c:strCache>
            </c:strRef>
          </c:cat>
          <c:val>
            <c:numRef>
              <c:f>LE_2019_sorted_clean!$C$2:$C$51</c:f>
              <c:numCache>
                <c:formatCode>General</c:formatCode>
                <c:ptCount val="50"/>
                <c:pt idx="0">
                  <c:v>86.751000000000005</c:v>
                </c:pt>
                <c:pt idx="1">
                  <c:v>84.971999999999994</c:v>
                </c:pt>
                <c:pt idx="2">
                  <c:v>84.856999999999999</c:v>
                </c:pt>
                <c:pt idx="3">
                  <c:v>84.629000000000005</c:v>
                </c:pt>
                <c:pt idx="4">
                  <c:v>84.244</c:v>
                </c:pt>
                <c:pt idx="5">
                  <c:v>83.924000000000007</c:v>
                </c:pt>
                <c:pt idx="6">
                  <c:v>83.778999999999996</c:v>
                </c:pt>
                <c:pt idx="7">
                  <c:v>83.731999999999999</c:v>
                </c:pt>
                <c:pt idx="8">
                  <c:v>83.62</c:v>
                </c:pt>
                <c:pt idx="9">
                  <c:v>83.564999999999998</c:v>
                </c:pt>
                <c:pt idx="10">
                  <c:v>83.512</c:v>
                </c:pt>
                <c:pt idx="11">
                  <c:v>83.436000000000007</c:v>
                </c:pt>
                <c:pt idx="12">
                  <c:v>83.085999999999999</c:v>
                </c:pt>
                <c:pt idx="13">
                  <c:v>83.033000000000001</c:v>
                </c:pt>
                <c:pt idx="14">
                  <c:v>82.992999999999995</c:v>
                </c:pt>
                <c:pt idx="15">
                  <c:v>82.971999999999994</c:v>
                </c:pt>
                <c:pt idx="16">
                  <c:v>82.796999999999997</c:v>
                </c:pt>
                <c:pt idx="17">
                  <c:v>82.659000000000006</c:v>
                </c:pt>
                <c:pt idx="18">
                  <c:v>82.593000000000004</c:v>
                </c:pt>
                <c:pt idx="19">
                  <c:v>82.545000000000002</c:v>
                </c:pt>
                <c:pt idx="20">
                  <c:v>82.53</c:v>
                </c:pt>
                <c:pt idx="21">
                  <c:v>82.494</c:v>
                </c:pt>
                <c:pt idx="22">
                  <c:v>82.433999999999997</c:v>
                </c:pt>
                <c:pt idx="23">
                  <c:v>82.403999999999996</c:v>
                </c:pt>
                <c:pt idx="24">
                  <c:v>82.305000000000007</c:v>
                </c:pt>
                <c:pt idx="25">
                  <c:v>82.287999999999997</c:v>
                </c:pt>
                <c:pt idx="26">
                  <c:v>82.283000000000001</c:v>
                </c:pt>
                <c:pt idx="27">
                  <c:v>82.25</c:v>
                </c:pt>
                <c:pt idx="28">
                  <c:v>82.239000000000004</c:v>
                </c:pt>
                <c:pt idx="29">
                  <c:v>82.138000000000005</c:v>
                </c:pt>
                <c:pt idx="30">
                  <c:v>82.075999999999993</c:v>
                </c:pt>
                <c:pt idx="31">
                  <c:v>82.049000000000007</c:v>
                </c:pt>
                <c:pt idx="32">
                  <c:v>82.022999999999996</c:v>
                </c:pt>
                <c:pt idx="33">
                  <c:v>81.908000000000001</c:v>
                </c:pt>
                <c:pt idx="34">
                  <c:v>81.876999999999995</c:v>
                </c:pt>
                <c:pt idx="35">
                  <c:v>81.86</c:v>
                </c:pt>
                <c:pt idx="36">
                  <c:v>81.628</c:v>
                </c:pt>
                <c:pt idx="37">
                  <c:v>81.543999999999997</c:v>
                </c:pt>
                <c:pt idx="38">
                  <c:v>81.441999999999993</c:v>
                </c:pt>
                <c:pt idx="39">
                  <c:v>81.396000000000001</c:v>
                </c:pt>
                <c:pt idx="40">
                  <c:v>81.325999999999993</c:v>
                </c:pt>
                <c:pt idx="41">
                  <c:v>81.323999999999998</c:v>
                </c:pt>
                <c:pt idx="42">
                  <c:v>81.320999999999998</c:v>
                </c:pt>
                <c:pt idx="43">
                  <c:v>81.067999999999998</c:v>
                </c:pt>
                <c:pt idx="44">
                  <c:v>80.981999999999999</c:v>
                </c:pt>
                <c:pt idx="45">
                  <c:v>80.897999999999996</c:v>
                </c:pt>
                <c:pt idx="46">
                  <c:v>80.665999999999997</c:v>
                </c:pt>
                <c:pt idx="47">
                  <c:v>80.582999999999998</c:v>
                </c:pt>
                <c:pt idx="48">
                  <c:v>80.558000000000007</c:v>
                </c:pt>
                <c:pt idx="49">
                  <c:v>80.483999999999995</c:v>
                </c:pt>
              </c:numCache>
            </c:numRef>
          </c:val>
          <c:extLst>
            <c:ext xmlns:c16="http://schemas.microsoft.com/office/drawing/2014/chart" uri="{C3380CC4-5D6E-409C-BE32-E72D297353CC}">
              <c16:uniqueId val="{0000003C-2B95-44B9-AB96-5844BED1AD13}"/>
            </c:ext>
          </c:extLst>
        </c:ser>
        <c:dLbls>
          <c:showLegendKey val="0"/>
          <c:showVal val="0"/>
          <c:showCatName val="0"/>
          <c:showSerName val="0"/>
          <c:showPercent val="0"/>
          <c:showBubbleSize val="0"/>
        </c:dLbls>
        <c:gapWidth val="219"/>
        <c:overlap val="-27"/>
        <c:axId val="604992032"/>
        <c:axId val="604986128"/>
      </c:barChart>
      <c:catAx>
        <c:axId val="604992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4986128"/>
        <c:crosses val="autoZero"/>
        <c:auto val="1"/>
        <c:lblAlgn val="ctr"/>
        <c:lblOffset val="100"/>
        <c:noMultiLvlLbl val="0"/>
      </c:catAx>
      <c:valAx>
        <c:axId val="6049861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4992032"/>
        <c:crosses val="autoZero"/>
        <c:crossBetween val="between"/>
      </c:valAx>
      <c:spPr>
        <a:noFill/>
        <a:ln>
          <a:noFill/>
        </a:ln>
        <a:effectLst/>
      </c:spPr>
    </c:plotArea>
    <c:plotVisOnly val="1"/>
    <c:dispBlanksAs val="gap"/>
    <c:showDLblsOverMax val="0"/>
  </c:chart>
  <c:spPr>
    <a:noFill/>
    <a:ln w="9525" cap="flat" cmpd="sng" algn="ctr">
      <a:solidFill>
        <a:srgbClr val="D3CFCA"/>
      </a:solidFill>
      <a:prstDash val="solid"/>
      <a:round/>
      <a:headEnd type="none" w="med" len="med"/>
      <a:tailEnd type="none" w="med" len="me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3A55103-49D6-4490-807C-BE48AE28BED5}"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s-ES"/>
        </a:p>
      </dgm:t>
    </dgm:pt>
    <dgm:pt modelId="{5F0785DF-DB87-4526-8260-BFEFACDB924E}">
      <dgm:prSet phldrT="[Text]" custT="1"/>
      <dgm:spPr>
        <a:solidFill>
          <a:schemeClr val="accent1"/>
        </a:solidFill>
        <a:ln>
          <a:solidFill>
            <a:schemeClr val="accent1"/>
          </a:solidFill>
        </a:ln>
      </dgm:spPr>
      <dgm:t>
        <a:bodyPr/>
        <a:lstStyle/>
        <a:p>
          <a:r>
            <a:rPr kumimoji="0" lang="es-AR" sz="1800" b="1" i="0" u="none" strike="noStrike" cap="none" spc="0" normalizeH="0" baseline="0" dirty="0">
              <a:ln>
                <a:noFill/>
              </a:ln>
              <a:solidFill>
                <a:schemeClr val="bg1"/>
              </a:solidFill>
              <a:effectLst/>
              <a:uLnTx/>
              <a:uFillTx/>
              <a:latin typeface="+mj-lt"/>
            </a:rPr>
            <a:t>Sistemas Expertos</a:t>
          </a:r>
          <a:endParaRPr lang="es-ES" sz="1800" b="1" dirty="0">
            <a:solidFill>
              <a:schemeClr val="bg1"/>
            </a:solidFill>
          </a:endParaRPr>
        </a:p>
      </dgm:t>
    </dgm:pt>
    <dgm:pt modelId="{F542A827-A5A1-45F1-B71A-82975559E3D7}" type="parTrans" cxnId="{BB032206-3582-490A-9D38-3C5711A3A681}">
      <dgm:prSet/>
      <dgm:spPr/>
      <dgm:t>
        <a:bodyPr/>
        <a:lstStyle/>
        <a:p>
          <a:endParaRPr lang="es-ES"/>
        </a:p>
      </dgm:t>
    </dgm:pt>
    <dgm:pt modelId="{A64A8A5D-57C4-4123-A751-1EED96FEF230}" type="sibTrans" cxnId="{BB032206-3582-490A-9D38-3C5711A3A681}">
      <dgm:prSet/>
      <dgm:spPr/>
      <dgm:t>
        <a:bodyPr/>
        <a:lstStyle/>
        <a:p>
          <a:endParaRPr lang="es-ES"/>
        </a:p>
      </dgm:t>
    </dgm:pt>
    <dgm:pt modelId="{0E46F93D-4BBD-4FA4-90BD-C9A124E4069E}">
      <dgm:prSet phldrT="[Text]" custT="1"/>
      <dgm:spPr>
        <a:solidFill>
          <a:schemeClr val="accent1"/>
        </a:solidFill>
        <a:ln>
          <a:solidFill>
            <a:schemeClr val="accent1"/>
          </a:solidFill>
        </a:ln>
      </dgm:spPr>
      <dgm:t>
        <a:bodyPr/>
        <a:lstStyle/>
        <a:p>
          <a:r>
            <a:rPr kumimoji="0" lang="es-AR" sz="1800" b="1" i="0" u="none" strike="noStrike" cap="none" spc="0" normalizeH="0" baseline="0" dirty="0">
              <a:ln>
                <a:noFill/>
              </a:ln>
              <a:solidFill>
                <a:schemeClr val="bg1"/>
              </a:solidFill>
              <a:effectLst/>
              <a:uLnTx/>
              <a:uFillTx/>
              <a:latin typeface="+mj-lt"/>
            </a:rPr>
            <a:t>Aprendizaje Automático </a:t>
          </a:r>
          <a:endParaRPr lang="es-ES" sz="1800" b="1" dirty="0">
            <a:solidFill>
              <a:schemeClr val="bg1"/>
            </a:solidFill>
          </a:endParaRPr>
        </a:p>
      </dgm:t>
    </dgm:pt>
    <dgm:pt modelId="{D6484E6A-065A-4418-A9A9-E2815F1069E9}" type="parTrans" cxnId="{AED31D1D-98E7-4A18-8B98-A8DECFB0AF8B}">
      <dgm:prSet/>
      <dgm:spPr/>
      <dgm:t>
        <a:bodyPr/>
        <a:lstStyle/>
        <a:p>
          <a:endParaRPr lang="es-ES"/>
        </a:p>
      </dgm:t>
    </dgm:pt>
    <dgm:pt modelId="{C006CC2A-01CF-4854-8D8C-36A9CF84BC7D}" type="sibTrans" cxnId="{AED31D1D-98E7-4A18-8B98-A8DECFB0AF8B}">
      <dgm:prSet/>
      <dgm:spPr/>
      <dgm:t>
        <a:bodyPr/>
        <a:lstStyle/>
        <a:p>
          <a:endParaRPr lang="es-ES"/>
        </a:p>
      </dgm:t>
    </dgm:pt>
    <dgm:pt modelId="{11B8A074-D728-4965-9B44-1910AFE567A7}">
      <dgm:prSet phldrT="[Text]" custT="1"/>
      <dgm:spPr>
        <a:solidFill>
          <a:schemeClr val="accent1"/>
        </a:solidFill>
        <a:ln>
          <a:solidFill>
            <a:schemeClr val="accent1"/>
          </a:solidFill>
        </a:ln>
      </dgm:spPr>
      <dgm:t>
        <a:bodyPr/>
        <a:lstStyle/>
        <a:p>
          <a:pPr>
            <a:buClr>
              <a:srgbClr val="005192"/>
            </a:buClr>
            <a:buSzTx/>
            <a:buFontTx/>
            <a:buNone/>
          </a:pPr>
          <a:r>
            <a:rPr lang="es-AR" sz="1800" b="1" i="0" noProof="0" dirty="0">
              <a:solidFill>
                <a:schemeClr val="bg1"/>
              </a:solidFill>
              <a:effectLst/>
              <a:latin typeface="+mj-lt"/>
            </a:rPr>
            <a:t>IA </a:t>
          </a:r>
          <a:br>
            <a:rPr lang="es-AR" sz="1800" b="1" i="0" noProof="0" dirty="0">
              <a:solidFill>
                <a:schemeClr val="bg1"/>
              </a:solidFill>
              <a:effectLst/>
              <a:latin typeface="+mj-lt"/>
            </a:rPr>
          </a:br>
          <a:r>
            <a:rPr lang="es-AR" sz="1800" b="1" i="0" noProof="0" dirty="0">
              <a:solidFill>
                <a:schemeClr val="bg1"/>
              </a:solidFill>
              <a:effectLst/>
              <a:latin typeface="+mj-lt"/>
            </a:rPr>
            <a:t>Generativa</a:t>
          </a:r>
          <a:endParaRPr lang="es-AR" sz="1800" b="1" noProof="0" dirty="0">
            <a:solidFill>
              <a:schemeClr val="bg1"/>
            </a:solidFill>
          </a:endParaRPr>
        </a:p>
      </dgm:t>
    </dgm:pt>
    <dgm:pt modelId="{B413DC30-A88A-4A5B-A4CD-DD069E5D985D}" type="parTrans" cxnId="{F585A649-B908-4918-A847-D5C901ABE8FB}">
      <dgm:prSet/>
      <dgm:spPr/>
      <dgm:t>
        <a:bodyPr/>
        <a:lstStyle/>
        <a:p>
          <a:endParaRPr lang="es-ES"/>
        </a:p>
      </dgm:t>
    </dgm:pt>
    <dgm:pt modelId="{08EE720B-7AEA-4412-8C8B-DA3A3F9B9319}" type="sibTrans" cxnId="{F585A649-B908-4918-A847-D5C901ABE8FB}">
      <dgm:prSet/>
      <dgm:spPr/>
      <dgm:t>
        <a:bodyPr/>
        <a:lstStyle/>
        <a:p>
          <a:endParaRPr lang="es-ES"/>
        </a:p>
      </dgm:t>
    </dgm:pt>
    <dgm:pt modelId="{4C012DEB-2ED1-4DF4-B4EF-81BA682A2EA0}" type="pres">
      <dgm:prSet presAssocID="{43A55103-49D6-4490-807C-BE48AE28BED5}" presName="linearFlow" presStyleCnt="0">
        <dgm:presLayoutVars>
          <dgm:dir/>
          <dgm:animLvl val="lvl"/>
          <dgm:resizeHandles val="exact"/>
        </dgm:presLayoutVars>
      </dgm:prSet>
      <dgm:spPr/>
    </dgm:pt>
    <dgm:pt modelId="{73305AEE-DD0F-4E42-B221-B6F6B3ACBCE8}" type="pres">
      <dgm:prSet presAssocID="{5F0785DF-DB87-4526-8260-BFEFACDB924E}" presName="composite" presStyleCnt="0"/>
      <dgm:spPr/>
    </dgm:pt>
    <dgm:pt modelId="{827C2A26-DC86-4EB0-A64F-37E62384BBEA}" type="pres">
      <dgm:prSet presAssocID="{5F0785DF-DB87-4526-8260-BFEFACDB924E}" presName="parentText" presStyleLbl="alignNode1" presStyleIdx="0" presStyleCnt="3">
        <dgm:presLayoutVars>
          <dgm:chMax val="1"/>
          <dgm:bulletEnabled val="1"/>
        </dgm:presLayoutVars>
      </dgm:prSet>
      <dgm:spPr/>
    </dgm:pt>
    <dgm:pt modelId="{840A1973-ADEE-475A-BB3F-4C3F3E895622}" type="pres">
      <dgm:prSet presAssocID="{5F0785DF-DB87-4526-8260-BFEFACDB924E}" presName="descendantText" presStyleLbl="alignAcc1" presStyleIdx="0" presStyleCnt="3">
        <dgm:presLayoutVars>
          <dgm:bulletEnabled val="1"/>
        </dgm:presLayoutVars>
      </dgm:prSet>
      <dgm:spPr>
        <a:noFill/>
        <a:ln>
          <a:noFill/>
        </a:ln>
      </dgm:spPr>
    </dgm:pt>
    <dgm:pt modelId="{20A69FB6-CDBE-417C-B2A3-796D45A5E5CB}" type="pres">
      <dgm:prSet presAssocID="{A64A8A5D-57C4-4123-A751-1EED96FEF230}" presName="sp" presStyleCnt="0"/>
      <dgm:spPr/>
    </dgm:pt>
    <dgm:pt modelId="{95214D2C-FFD3-4C5E-95CA-EC71CEB91648}" type="pres">
      <dgm:prSet presAssocID="{0E46F93D-4BBD-4FA4-90BD-C9A124E4069E}" presName="composite" presStyleCnt="0"/>
      <dgm:spPr/>
    </dgm:pt>
    <dgm:pt modelId="{4E8CA766-3252-4062-9BB2-493653493E82}" type="pres">
      <dgm:prSet presAssocID="{0E46F93D-4BBD-4FA4-90BD-C9A124E4069E}" presName="parentText" presStyleLbl="alignNode1" presStyleIdx="1" presStyleCnt="3" custLinFactNeighborY="-15784">
        <dgm:presLayoutVars>
          <dgm:chMax val="1"/>
          <dgm:bulletEnabled val="1"/>
        </dgm:presLayoutVars>
      </dgm:prSet>
      <dgm:spPr/>
    </dgm:pt>
    <dgm:pt modelId="{80743271-DED6-47C0-91EA-F855FEDE9C86}" type="pres">
      <dgm:prSet presAssocID="{0E46F93D-4BBD-4FA4-90BD-C9A124E4069E}" presName="descendantText" presStyleLbl="alignAcc1" presStyleIdx="1" presStyleCnt="3">
        <dgm:presLayoutVars>
          <dgm:bulletEnabled val="1"/>
        </dgm:presLayoutVars>
      </dgm:prSet>
      <dgm:spPr>
        <a:noFill/>
        <a:ln>
          <a:noFill/>
        </a:ln>
      </dgm:spPr>
    </dgm:pt>
    <dgm:pt modelId="{8388CF17-019F-4A8D-A02B-A9B22E08DA4D}" type="pres">
      <dgm:prSet presAssocID="{C006CC2A-01CF-4854-8D8C-36A9CF84BC7D}" presName="sp" presStyleCnt="0"/>
      <dgm:spPr/>
    </dgm:pt>
    <dgm:pt modelId="{AF623879-3019-4DC9-9226-BE4EEB528469}" type="pres">
      <dgm:prSet presAssocID="{11B8A074-D728-4965-9B44-1910AFE567A7}" presName="composite" presStyleCnt="0"/>
      <dgm:spPr/>
    </dgm:pt>
    <dgm:pt modelId="{5D118F8E-F01B-402E-9917-021E912D836F}" type="pres">
      <dgm:prSet presAssocID="{11B8A074-D728-4965-9B44-1910AFE567A7}" presName="parentText" presStyleLbl="alignNode1" presStyleIdx="2" presStyleCnt="3" custLinFactNeighborX="-939" custLinFactNeighborY="-32882">
        <dgm:presLayoutVars>
          <dgm:chMax val="1"/>
          <dgm:bulletEnabled val="1"/>
        </dgm:presLayoutVars>
      </dgm:prSet>
      <dgm:spPr/>
    </dgm:pt>
    <dgm:pt modelId="{A4BCC065-0556-4CBE-BA43-156F2E08E52B}" type="pres">
      <dgm:prSet presAssocID="{11B8A074-D728-4965-9B44-1910AFE567A7}" presName="descendantText" presStyleLbl="alignAcc1" presStyleIdx="2" presStyleCnt="3">
        <dgm:presLayoutVars>
          <dgm:bulletEnabled val="1"/>
        </dgm:presLayoutVars>
      </dgm:prSet>
      <dgm:spPr>
        <a:noFill/>
        <a:ln>
          <a:noFill/>
        </a:ln>
      </dgm:spPr>
    </dgm:pt>
  </dgm:ptLst>
  <dgm:cxnLst>
    <dgm:cxn modelId="{BB032206-3582-490A-9D38-3C5711A3A681}" srcId="{43A55103-49D6-4490-807C-BE48AE28BED5}" destId="{5F0785DF-DB87-4526-8260-BFEFACDB924E}" srcOrd="0" destOrd="0" parTransId="{F542A827-A5A1-45F1-B71A-82975559E3D7}" sibTransId="{A64A8A5D-57C4-4123-A751-1EED96FEF230}"/>
    <dgm:cxn modelId="{4CB7641C-B894-4716-BD8F-3C2AEDC141D2}" type="presOf" srcId="{11B8A074-D728-4965-9B44-1910AFE567A7}" destId="{5D118F8E-F01B-402E-9917-021E912D836F}" srcOrd="0" destOrd="0" presId="urn:microsoft.com/office/officeart/2005/8/layout/chevron2"/>
    <dgm:cxn modelId="{AED31D1D-98E7-4A18-8B98-A8DECFB0AF8B}" srcId="{43A55103-49D6-4490-807C-BE48AE28BED5}" destId="{0E46F93D-4BBD-4FA4-90BD-C9A124E4069E}" srcOrd="1" destOrd="0" parTransId="{D6484E6A-065A-4418-A9A9-E2815F1069E9}" sibTransId="{C006CC2A-01CF-4854-8D8C-36A9CF84BC7D}"/>
    <dgm:cxn modelId="{F585A649-B908-4918-A847-D5C901ABE8FB}" srcId="{43A55103-49D6-4490-807C-BE48AE28BED5}" destId="{11B8A074-D728-4965-9B44-1910AFE567A7}" srcOrd="2" destOrd="0" parTransId="{B413DC30-A88A-4A5B-A4CD-DD069E5D985D}" sibTransId="{08EE720B-7AEA-4412-8C8B-DA3A3F9B9319}"/>
    <dgm:cxn modelId="{4E2DB054-31FE-40D9-A4D4-70E1F22CE4E0}" type="presOf" srcId="{0E46F93D-4BBD-4FA4-90BD-C9A124E4069E}" destId="{4E8CA766-3252-4062-9BB2-493653493E82}" srcOrd="0" destOrd="0" presId="urn:microsoft.com/office/officeart/2005/8/layout/chevron2"/>
    <dgm:cxn modelId="{E36D47A5-9258-4868-B266-D77D2F9E66A5}" type="presOf" srcId="{43A55103-49D6-4490-807C-BE48AE28BED5}" destId="{4C012DEB-2ED1-4DF4-B4EF-81BA682A2EA0}" srcOrd="0" destOrd="0" presId="urn:microsoft.com/office/officeart/2005/8/layout/chevron2"/>
    <dgm:cxn modelId="{40418DFA-DDAD-473E-AB74-364328C0757E}" type="presOf" srcId="{5F0785DF-DB87-4526-8260-BFEFACDB924E}" destId="{827C2A26-DC86-4EB0-A64F-37E62384BBEA}" srcOrd="0" destOrd="0" presId="urn:microsoft.com/office/officeart/2005/8/layout/chevron2"/>
    <dgm:cxn modelId="{56CA9EEA-2460-4CC6-958B-317AFF8F7B3E}" type="presParOf" srcId="{4C012DEB-2ED1-4DF4-B4EF-81BA682A2EA0}" destId="{73305AEE-DD0F-4E42-B221-B6F6B3ACBCE8}" srcOrd="0" destOrd="0" presId="urn:microsoft.com/office/officeart/2005/8/layout/chevron2"/>
    <dgm:cxn modelId="{CEDDAE36-C7D0-4507-907C-7DA3E02DF899}" type="presParOf" srcId="{73305AEE-DD0F-4E42-B221-B6F6B3ACBCE8}" destId="{827C2A26-DC86-4EB0-A64F-37E62384BBEA}" srcOrd="0" destOrd="0" presId="urn:microsoft.com/office/officeart/2005/8/layout/chevron2"/>
    <dgm:cxn modelId="{C3A7EC6D-4EBC-4BB6-BF8D-C8192BAFC44A}" type="presParOf" srcId="{73305AEE-DD0F-4E42-B221-B6F6B3ACBCE8}" destId="{840A1973-ADEE-475A-BB3F-4C3F3E895622}" srcOrd="1" destOrd="0" presId="urn:microsoft.com/office/officeart/2005/8/layout/chevron2"/>
    <dgm:cxn modelId="{8A4D8AC2-4D74-4611-AA2B-02A7C6065011}" type="presParOf" srcId="{4C012DEB-2ED1-4DF4-B4EF-81BA682A2EA0}" destId="{20A69FB6-CDBE-417C-B2A3-796D45A5E5CB}" srcOrd="1" destOrd="0" presId="urn:microsoft.com/office/officeart/2005/8/layout/chevron2"/>
    <dgm:cxn modelId="{D5AA4880-9FDA-47E2-9DA4-0E443E71D395}" type="presParOf" srcId="{4C012DEB-2ED1-4DF4-B4EF-81BA682A2EA0}" destId="{95214D2C-FFD3-4C5E-95CA-EC71CEB91648}" srcOrd="2" destOrd="0" presId="urn:microsoft.com/office/officeart/2005/8/layout/chevron2"/>
    <dgm:cxn modelId="{103EF9E2-E913-499F-A8FB-46B28895BA97}" type="presParOf" srcId="{95214D2C-FFD3-4C5E-95CA-EC71CEB91648}" destId="{4E8CA766-3252-4062-9BB2-493653493E82}" srcOrd="0" destOrd="0" presId="urn:microsoft.com/office/officeart/2005/8/layout/chevron2"/>
    <dgm:cxn modelId="{8D5F6A29-490F-41E7-86EB-51356F397344}" type="presParOf" srcId="{95214D2C-FFD3-4C5E-95CA-EC71CEB91648}" destId="{80743271-DED6-47C0-91EA-F855FEDE9C86}" srcOrd="1" destOrd="0" presId="urn:microsoft.com/office/officeart/2005/8/layout/chevron2"/>
    <dgm:cxn modelId="{5891A1A1-8B42-481C-8D22-6FD31DA28684}" type="presParOf" srcId="{4C012DEB-2ED1-4DF4-B4EF-81BA682A2EA0}" destId="{8388CF17-019F-4A8D-A02B-A9B22E08DA4D}" srcOrd="3" destOrd="0" presId="urn:microsoft.com/office/officeart/2005/8/layout/chevron2"/>
    <dgm:cxn modelId="{4385AC65-4FDD-4C06-B89E-CCD32D5DC8B8}" type="presParOf" srcId="{4C012DEB-2ED1-4DF4-B4EF-81BA682A2EA0}" destId="{AF623879-3019-4DC9-9226-BE4EEB528469}" srcOrd="4" destOrd="0" presId="urn:microsoft.com/office/officeart/2005/8/layout/chevron2"/>
    <dgm:cxn modelId="{71B6CCA4-AE00-4DE8-999B-7E4E17296924}" type="presParOf" srcId="{AF623879-3019-4DC9-9226-BE4EEB528469}" destId="{5D118F8E-F01B-402E-9917-021E912D836F}" srcOrd="0" destOrd="0" presId="urn:microsoft.com/office/officeart/2005/8/layout/chevron2"/>
    <dgm:cxn modelId="{275E4A82-4762-4BA8-A193-F85A0C668DF3}" type="presParOf" srcId="{AF623879-3019-4DC9-9226-BE4EEB528469}" destId="{A4BCC065-0556-4CBE-BA43-156F2E08E52B}"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7C2A26-DC86-4EB0-A64F-37E62384BBEA}">
      <dsp:nvSpPr>
        <dsp:cNvPr id="0" name=""/>
        <dsp:cNvSpPr/>
      </dsp:nvSpPr>
      <dsp:spPr>
        <a:xfrm rot="5400000">
          <a:off x="-289718" y="292805"/>
          <a:ext cx="1931458" cy="1352020"/>
        </a:xfrm>
        <a:prstGeom prst="chevron">
          <a:avLst/>
        </a:prstGeom>
        <a:solidFill>
          <a:schemeClr val="accent1"/>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kumimoji="0" lang="es-AR" sz="1800" b="1" i="0" u="none" strike="noStrike" kern="1200" cap="none" spc="0" normalizeH="0" baseline="0" dirty="0">
              <a:ln>
                <a:noFill/>
              </a:ln>
              <a:solidFill>
                <a:schemeClr val="bg1"/>
              </a:solidFill>
              <a:effectLst/>
              <a:uLnTx/>
              <a:uFillTx/>
              <a:latin typeface="+mj-lt"/>
            </a:rPr>
            <a:t>Sistemas Expertos</a:t>
          </a:r>
          <a:endParaRPr lang="es-ES" sz="1800" b="1" kern="1200" dirty="0">
            <a:solidFill>
              <a:schemeClr val="bg1"/>
            </a:solidFill>
          </a:endParaRPr>
        </a:p>
      </dsp:txBody>
      <dsp:txXfrm rot="-5400000">
        <a:off x="1" y="679096"/>
        <a:ext cx="1352020" cy="579438"/>
      </dsp:txXfrm>
    </dsp:sp>
    <dsp:sp modelId="{840A1973-ADEE-475A-BB3F-4C3F3E895622}">
      <dsp:nvSpPr>
        <dsp:cNvPr id="0" name=""/>
        <dsp:cNvSpPr/>
      </dsp:nvSpPr>
      <dsp:spPr>
        <a:xfrm rot="5400000">
          <a:off x="2656923" y="-1301816"/>
          <a:ext cx="1255447" cy="3865254"/>
        </a:xfrm>
        <a:prstGeom prst="round2Same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4E8CA766-3252-4062-9BB2-493653493E82}">
      <dsp:nvSpPr>
        <dsp:cNvPr id="0" name=""/>
        <dsp:cNvSpPr/>
      </dsp:nvSpPr>
      <dsp:spPr>
        <a:xfrm rot="5400000">
          <a:off x="-289718" y="1728461"/>
          <a:ext cx="1931458" cy="1352020"/>
        </a:xfrm>
        <a:prstGeom prst="chevron">
          <a:avLst/>
        </a:prstGeom>
        <a:solidFill>
          <a:schemeClr val="accent1"/>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kumimoji="0" lang="es-AR" sz="1800" b="1" i="0" u="none" strike="noStrike" kern="1200" cap="none" spc="0" normalizeH="0" baseline="0" dirty="0">
              <a:ln>
                <a:noFill/>
              </a:ln>
              <a:solidFill>
                <a:schemeClr val="bg1"/>
              </a:solidFill>
              <a:effectLst/>
              <a:uLnTx/>
              <a:uFillTx/>
              <a:latin typeface="+mj-lt"/>
            </a:rPr>
            <a:t>Aprendizaje Automático </a:t>
          </a:r>
          <a:endParaRPr lang="es-ES" sz="1800" b="1" kern="1200" dirty="0">
            <a:solidFill>
              <a:schemeClr val="bg1"/>
            </a:solidFill>
          </a:endParaRPr>
        </a:p>
      </dsp:txBody>
      <dsp:txXfrm rot="-5400000">
        <a:off x="1" y="2114752"/>
        <a:ext cx="1352020" cy="579438"/>
      </dsp:txXfrm>
    </dsp:sp>
    <dsp:sp modelId="{80743271-DED6-47C0-91EA-F855FEDE9C86}">
      <dsp:nvSpPr>
        <dsp:cNvPr id="0" name=""/>
        <dsp:cNvSpPr/>
      </dsp:nvSpPr>
      <dsp:spPr>
        <a:xfrm rot="5400000">
          <a:off x="2656923" y="438701"/>
          <a:ext cx="1255447" cy="3865254"/>
        </a:xfrm>
        <a:prstGeom prst="round2Same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5D118F8E-F01B-402E-9917-021E912D836F}">
      <dsp:nvSpPr>
        <dsp:cNvPr id="0" name=""/>
        <dsp:cNvSpPr/>
      </dsp:nvSpPr>
      <dsp:spPr>
        <a:xfrm rot="5400000">
          <a:off x="-289718" y="3138738"/>
          <a:ext cx="1931458" cy="1352020"/>
        </a:xfrm>
        <a:prstGeom prst="chevron">
          <a:avLst/>
        </a:prstGeom>
        <a:solidFill>
          <a:schemeClr val="accent1"/>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Clr>
              <a:srgbClr val="005192"/>
            </a:buClr>
            <a:buSzTx/>
            <a:buFontTx/>
            <a:buNone/>
          </a:pPr>
          <a:r>
            <a:rPr lang="es-AR" sz="1800" b="1" i="0" kern="1200" noProof="0" dirty="0">
              <a:solidFill>
                <a:schemeClr val="bg1"/>
              </a:solidFill>
              <a:effectLst/>
              <a:latin typeface="+mj-lt"/>
            </a:rPr>
            <a:t>IA </a:t>
          </a:r>
          <a:br>
            <a:rPr lang="es-AR" sz="1800" b="1" i="0" kern="1200" noProof="0" dirty="0">
              <a:solidFill>
                <a:schemeClr val="bg1"/>
              </a:solidFill>
              <a:effectLst/>
              <a:latin typeface="+mj-lt"/>
            </a:rPr>
          </a:br>
          <a:r>
            <a:rPr lang="es-AR" sz="1800" b="1" i="0" kern="1200" noProof="0" dirty="0">
              <a:solidFill>
                <a:schemeClr val="bg1"/>
              </a:solidFill>
              <a:effectLst/>
              <a:latin typeface="+mj-lt"/>
            </a:rPr>
            <a:t>Generativa</a:t>
          </a:r>
          <a:endParaRPr lang="es-AR" sz="1800" b="1" kern="1200" noProof="0" dirty="0">
            <a:solidFill>
              <a:schemeClr val="bg1"/>
            </a:solidFill>
          </a:endParaRPr>
        </a:p>
      </dsp:txBody>
      <dsp:txXfrm rot="-5400000">
        <a:off x="1" y="3525029"/>
        <a:ext cx="1352020" cy="579438"/>
      </dsp:txXfrm>
    </dsp:sp>
    <dsp:sp modelId="{A4BCC065-0556-4CBE-BA43-156F2E08E52B}">
      <dsp:nvSpPr>
        <dsp:cNvPr id="0" name=""/>
        <dsp:cNvSpPr/>
      </dsp:nvSpPr>
      <dsp:spPr>
        <a:xfrm rot="5400000">
          <a:off x="2656923" y="2179219"/>
          <a:ext cx="1255447" cy="3865254"/>
        </a:xfrm>
        <a:prstGeom prst="round2Same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F0EC70-21AB-423C-AE32-8B2933218E66}" type="datetimeFigureOut">
              <a:rPr lang="de-DE" smtClean="0"/>
              <a:t>25.09.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547354-5CE1-459A-8327-96A6A5B2147C}" type="slidenum">
              <a:rPr lang="de-DE" smtClean="0"/>
              <a:t>‹Nº›</a:t>
            </a:fld>
            <a:endParaRPr lang="de-DE"/>
          </a:p>
        </p:txBody>
      </p:sp>
    </p:spTree>
    <p:extLst>
      <p:ext uri="{BB962C8B-B14F-4D97-AF65-F5344CB8AC3E}">
        <p14:creationId xmlns:p14="http://schemas.microsoft.com/office/powerpoint/2010/main" val="1384661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en-GB" smtClean="0"/>
              <a:t>1</a:t>
            </a:fld>
            <a:endParaRPr lang="en-GB" dirty="0"/>
          </a:p>
        </p:txBody>
      </p:sp>
    </p:spTree>
    <p:extLst>
      <p:ext uri="{BB962C8B-B14F-4D97-AF65-F5344CB8AC3E}">
        <p14:creationId xmlns:p14="http://schemas.microsoft.com/office/powerpoint/2010/main" val="2761215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B7547354-5CE1-459A-8327-96A6A5B2147C}" type="slidenum">
              <a:rPr lang="de-DE" smtClean="0"/>
              <a:t>14</a:t>
            </a:fld>
            <a:endParaRPr lang="de-DE"/>
          </a:p>
        </p:txBody>
      </p:sp>
    </p:spTree>
    <p:extLst>
      <p:ext uri="{BB962C8B-B14F-4D97-AF65-F5344CB8AC3E}">
        <p14:creationId xmlns:p14="http://schemas.microsoft.com/office/powerpoint/2010/main" val="42541863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15</a:t>
            </a:fld>
            <a:endParaRPr lang="de-DE"/>
          </a:p>
        </p:txBody>
      </p:sp>
    </p:spTree>
    <p:extLst>
      <p:ext uri="{BB962C8B-B14F-4D97-AF65-F5344CB8AC3E}">
        <p14:creationId xmlns:p14="http://schemas.microsoft.com/office/powerpoint/2010/main" val="31168664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17</a:t>
            </a:fld>
            <a:endParaRPr lang="de-DE"/>
          </a:p>
        </p:txBody>
      </p:sp>
    </p:spTree>
    <p:extLst>
      <p:ext uri="{BB962C8B-B14F-4D97-AF65-F5344CB8AC3E}">
        <p14:creationId xmlns:p14="http://schemas.microsoft.com/office/powerpoint/2010/main" val="10733211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18</a:t>
            </a:fld>
            <a:endParaRPr lang="de-DE"/>
          </a:p>
        </p:txBody>
      </p:sp>
    </p:spTree>
    <p:extLst>
      <p:ext uri="{BB962C8B-B14F-4D97-AF65-F5344CB8AC3E}">
        <p14:creationId xmlns:p14="http://schemas.microsoft.com/office/powerpoint/2010/main" val="6202134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19</a:t>
            </a:fld>
            <a:endParaRPr lang="de-DE"/>
          </a:p>
        </p:txBody>
      </p:sp>
    </p:spTree>
    <p:extLst>
      <p:ext uri="{BB962C8B-B14F-4D97-AF65-F5344CB8AC3E}">
        <p14:creationId xmlns:p14="http://schemas.microsoft.com/office/powerpoint/2010/main" val="1181114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80A412-8BE6-9F92-9382-1FFEBE5EE9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1D061E-A920-2874-7A16-28A247746A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182B42-7F06-3AF7-820B-B24A6115AFBA}"/>
              </a:ext>
            </a:extLst>
          </p:cNvPr>
          <p:cNvSpPr>
            <a:spLocks noGrp="1"/>
          </p:cNvSpPr>
          <p:nvPr>
            <p:ph type="body" idx="1"/>
          </p:nvPr>
        </p:nvSpPr>
        <p:spPr/>
        <p:txBody>
          <a:bodyPr/>
          <a:lstStyle/>
          <a:p>
            <a:r>
              <a:rPr lang="en-GB" dirty="0"/>
              <a:t>https://www.gsb.stanford.edu/insights/andrew-ng-why-ai-new-electricity</a:t>
            </a:r>
          </a:p>
          <a:p>
            <a:r>
              <a:rPr lang="en-GB" sz="1200" b="0" i="0" kern="1200" dirty="0">
                <a:solidFill>
                  <a:schemeClr val="tx1"/>
                </a:solidFill>
                <a:effectLst/>
                <a:latin typeface="+mn-lt"/>
                <a:ea typeface="+mn-ea"/>
                <a:cs typeface="+mn-cs"/>
              </a:rPr>
              <a:t>“Just as electricity transformed almost everything 100 years ago, today I actually have a hard time thinking of an industry that I don’t think AI will transform in the next several years.”</a:t>
            </a:r>
            <a:endParaRPr lang="en-GB" dirty="0"/>
          </a:p>
        </p:txBody>
      </p:sp>
      <p:sp>
        <p:nvSpPr>
          <p:cNvPr id="4" name="Slide Number Placeholder 3">
            <a:extLst>
              <a:ext uri="{FF2B5EF4-FFF2-40B4-BE49-F238E27FC236}">
                <a16:creationId xmlns:a16="http://schemas.microsoft.com/office/drawing/2014/main" id="{41D52606-BFE8-2A01-D157-D9CE028AA7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fld id="{B7547354-5CE1-459A-8327-96A6A5B2147C}" type="slidenum">
              <a:rPr kumimoji="0" lang="de-DE" sz="1200" b="1" i="0" u="none" strike="noStrike" kern="1200" cap="none" spc="0" normalizeH="0" baseline="0" noProof="0" smtClean="0">
                <a:ln>
                  <a:noFill/>
                </a:ln>
                <a:solidFill>
                  <a:srgbClr val="44546A"/>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t>4</a:t>
            </a:fld>
            <a:endParaRPr kumimoji="0" lang="de-DE" sz="1200" b="1" i="0" u="none" strike="noStrike" kern="1200" cap="none" spc="0" normalizeH="0" baseline="0" noProof="0">
              <a:ln>
                <a:noFill/>
              </a:ln>
              <a:solidFill>
                <a:srgbClr val="44546A"/>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534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80A1C9-8CCA-ED92-B93F-C4503275E0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07192A-1853-0432-843B-FFAD4A6C78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92583B-EBE7-E7F9-267D-8A4E9248C29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3186FA06-EE16-46D6-EC57-EAE14DA2E3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fld id="{B7547354-5CE1-459A-8327-96A6A5B2147C}" type="slidenum">
              <a:rPr kumimoji="0" lang="de-DE" sz="1200" b="1" i="0" u="none" strike="noStrike" kern="1200" cap="none" spc="0" normalizeH="0" baseline="0" noProof="0" smtClean="0">
                <a:ln>
                  <a:noFill/>
                </a:ln>
                <a:solidFill>
                  <a:srgbClr val="44546A"/>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t>5</a:t>
            </a:fld>
            <a:endParaRPr kumimoji="0" lang="de-DE" sz="1200" b="1" i="0" u="none" strike="noStrike" kern="1200" cap="none" spc="0" normalizeH="0" baseline="0" noProof="0">
              <a:ln>
                <a:noFill/>
              </a:ln>
              <a:solidFill>
                <a:srgbClr val="44546A"/>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47188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fld id="{B7547354-5CE1-459A-8327-96A6A5B2147C}" type="slidenum">
              <a:rPr kumimoji="0" lang="de-DE" sz="1200" b="1" i="0" u="none" strike="noStrike" kern="1200" cap="none" spc="0" normalizeH="0" baseline="0" noProof="0" smtClean="0">
                <a:ln>
                  <a:noFill/>
                </a:ln>
                <a:solidFill>
                  <a:srgbClr val="44546A"/>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t>6</a:t>
            </a:fld>
            <a:endParaRPr kumimoji="0" lang="de-DE" sz="1200" b="1" i="0" u="none" strike="noStrike" kern="1200" cap="none" spc="0" normalizeH="0" baseline="0" noProof="0">
              <a:ln>
                <a:noFill/>
              </a:ln>
              <a:solidFill>
                <a:srgbClr val="44546A"/>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14420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547354-5CE1-459A-8327-96A6A5B2147C}" type="slidenum">
              <a:rPr lang="de-DE" smtClean="0"/>
              <a:t>7</a:t>
            </a:fld>
            <a:endParaRPr lang="de-DE"/>
          </a:p>
        </p:txBody>
      </p:sp>
    </p:spTree>
    <p:extLst>
      <p:ext uri="{BB962C8B-B14F-4D97-AF65-F5344CB8AC3E}">
        <p14:creationId xmlns:p14="http://schemas.microsoft.com/office/powerpoint/2010/main" val="2301957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F7B2CD5-244B-4115-BC59-F7FF58425DA3}" type="slidenum">
              <a:rPr lang="de-DE"/>
              <a:pPr/>
              <a:t>9</a:t>
            </a:fld>
            <a:endParaRPr lang="de-DE"/>
          </a:p>
        </p:txBody>
      </p:sp>
      <p:sp>
        <p:nvSpPr>
          <p:cNvPr id="506882" name="Rectangle 2"/>
          <p:cNvSpPr>
            <a:spLocks noGrp="1" noRot="1" noChangeAspect="1" noChangeArrowheads="1" noTextEdit="1"/>
          </p:cNvSpPr>
          <p:nvPr>
            <p:ph type="sldImg"/>
          </p:nvPr>
        </p:nvSpPr>
        <p:spPr>
          <a:xfrm>
            <a:off x="431800" y="692150"/>
            <a:ext cx="6146800" cy="3457575"/>
          </a:xfrm>
          <a:ln/>
        </p:spPr>
      </p:sp>
      <p:sp>
        <p:nvSpPr>
          <p:cNvPr id="506883" name="Rectangle 3"/>
          <p:cNvSpPr>
            <a:spLocks noGrp="1" noChangeArrowheads="1"/>
          </p:cNvSpPr>
          <p:nvPr>
            <p:ph type="body" idx="1"/>
          </p:nvPr>
        </p:nvSpPr>
        <p:spPr/>
        <p:txBody>
          <a:bodyPr/>
          <a:lstStyle/>
          <a:p>
            <a:endParaRPr lang="en-GB"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b="1" baseline="0" dirty="0"/>
          </a:p>
        </p:txBody>
      </p:sp>
      <p:sp>
        <p:nvSpPr>
          <p:cNvPr id="4" name="Slide Number Placeholder 3"/>
          <p:cNvSpPr>
            <a:spLocks noGrp="1"/>
          </p:cNvSpPr>
          <p:nvPr>
            <p:ph type="sldNum" sz="quarter" idx="10"/>
          </p:nvPr>
        </p:nvSpPr>
        <p:spPr/>
        <p:txBody>
          <a:bodyPr/>
          <a:lstStyle/>
          <a:p>
            <a:pPr algn="l"/>
            <a:fld id="{F4EEDB6A-38C4-4996-A5FD-5E909304D8B3}" type="slidenum">
              <a:rPr lang="de-DE" sz="800" smtClean="0"/>
              <a:pPr algn="l"/>
              <a:t>10</a:t>
            </a:fld>
            <a:endParaRPr lang="de-DE" sz="800" dirty="0"/>
          </a:p>
        </p:txBody>
      </p:sp>
    </p:spTree>
    <p:extLst>
      <p:ext uri="{BB962C8B-B14F-4D97-AF65-F5344CB8AC3E}">
        <p14:creationId xmlns:p14="http://schemas.microsoft.com/office/powerpoint/2010/main" val="14326739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sz="9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lgn="l"/>
            <a:fld id="{F4EEDB6A-38C4-4996-A5FD-5E909304D8B3}" type="slidenum">
              <a:rPr lang="de-DE" sz="800" smtClean="0"/>
              <a:pPr algn="l"/>
              <a:t>11</a:t>
            </a:fld>
            <a:endParaRPr lang="de-DE" sz="800" dirty="0"/>
          </a:p>
        </p:txBody>
      </p:sp>
    </p:spTree>
    <p:extLst>
      <p:ext uri="{BB962C8B-B14F-4D97-AF65-F5344CB8AC3E}">
        <p14:creationId xmlns:p14="http://schemas.microsoft.com/office/powerpoint/2010/main" val="27667187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lgn="l"/>
            <a:fld id="{F4EEDB6A-38C4-4996-A5FD-5E909304D8B3}" type="slidenum">
              <a:rPr lang="de-DE" sz="800" smtClean="0"/>
              <a:pPr algn="l"/>
              <a:t>12</a:t>
            </a:fld>
            <a:endParaRPr lang="de-DE" sz="800" dirty="0"/>
          </a:p>
        </p:txBody>
      </p:sp>
    </p:spTree>
    <p:extLst>
      <p:ext uri="{BB962C8B-B14F-4D97-AF65-F5344CB8AC3E}">
        <p14:creationId xmlns:p14="http://schemas.microsoft.com/office/powerpoint/2010/main" val="23074615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tx2"/>
                </a:solidFill>
              </a:defRPr>
            </a:lvl1pPr>
          </a:lstStyle>
          <a:p>
            <a:r>
              <a:rPr lang="en-US" dirty="0"/>
              <a:t>Click to edit Master title style</a:t>
            </a:r>
            <a:endParaRPr lang="en-US"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525" y="3024913"/>
            <a:ext cx="5310000" cy="1800000"/>
          </a:xfrm>
        </p:spPr>
        <p:txBody>
          <a:bodyPr tIns="259200"/>
          <a:lstStyle>
            <a:lvl1pPr marL="0" indent="0" algn="l">
              <a:lnSpc>
                <a:spcPct val="100000"/>
              </a:lnSpc>
              <a:spcAft>
                <a:spcPts val="1600"/>
              </a:spcAft>
              <a:buNone/>
              <a:defRPr sz="1400">
                <a:solidFill>
                  <a:schemeClr val="tx2"/>
                </a:solidFill>
              </a:defRPr>
            </a:lvl1pPr>
            <a:lvl2pPr marL="0" indent="0" algn="l">
              <a:lnSpc>
                <a:spcPct val="100000"/>
              </a:lnSpc>
              <a:spcAft>
                <a:spcPts val="0"/>
              </a:spcAft>
              <a:buNone/>
              <a:defRPr sz="1400"/>
            </a:lvl2pPr>
            <a:lvl3pPr marL="0" indent="0" algn="l">
              <a:lnSpc>
                <a:spcPct val="100000"/>
              </a:lnSpc>
              <a:spcAft>
                <a:spcPts val="0"/>
              </a:spcAft>
              <a:buNone/>
              <a:defRPr sz="1400"/>
            </a:lvl3pPr>
            <a:lvl4pPr marL="0" indent="0" algn="l">
              <a:lnSpc>
                <a:spcPct val="100000"/>
              </a:lnSpc>
              <a:spcAft>
                <a:spcPts val="0"/>
              </a:spcAft>
              <a:buNone/>
              <a:defRPr sz="1400" b="0"/>
            </a:lvl4pPr>
            <a:lvl5pPr marL="0" indent="0" algn="l">
              <a:lnSpc>
                <a:spcPct val="100000"/>
              </a:lnSpc>
              <a:spcAft>
                <a:spcPts val="0"/>
              </a:spcAft>
              <a:buNone/>
              <a:defRPr sz="1400"/>
            </a:lvl5pPr>
            <a:lvl6pPr marL="0" indent="0" algn="l">
              <a:lnSpc>
                <a:spcPct val="100000"/>
              </a:lnSpc>
              <a:spcAft>
                <a:spcPts val="0"/>
              </a:spcAft>
              <a:buNone/>
              <a:defRPr sz="1400"/>
            </a:lvl6pPr>
            <a:lvl7pPr marL="0" indent="0" algn="l">
              <a:lnSpc>
                <a:spcPct val="100000"/>
              </a:lnSpc>
              <a:buNone/>
              <a:defRPr sz="1400"/>
            </a:lvl7pPr>
            <a:lvl8pPr marL="0" indent="0" algn="l">
              <a:lnSpc>
                <a:spcPct val="100000"/>
              </a:lnSpc>
              <a:buNone/>
              <a:defRPr sz="1400"/>
            </a:lvl8pPr>
            <a:lvl9pPr marL="0" indent="0" algn="l">
              <a:lnSpc>
                <a:spcPct val="100000"/>
              </a:lnSpc>
              <a:buNone/>
              <a:defRPr sz="1400"/>
            </a:lvl9pPr>
          </a:lstStyle>
          <a:p>
            <a:pPr lvl="0"/>
            <a:r>
              <a:rPr lang="en-US" dirty="0"/>
              <a:t>Click to edit Master subtitle style</a:t>
            </a:r>
          </a:p>
          <a:p>
            <a:pPr lvl="1"/>
            <a:r>
              <a:rPr lang="en-US" dirty="0"/>
              <a:t>Second level</a:t>
            </a: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338" y="283377"/>
            <a:ext cx="2311200"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A68FFC5-B3C2-494C-58EE-8E70F9FDCA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315" y="6440208"/>
            <a:ext cx="1515600" cy="166761"/>
          </a:xfrm>
          <a:prstGeom prst="rect">
            <a:avLst/>
          </a:prstGeom>
        </p:spPr>
      </p:pic>
      <p:sp>
        <p:nvSpPr>
          <p:cNvPr id="4" name="Abgerundete rechteckige Legende 10">
            <a:extLst>
              <a:ext uri="{FF2B5EF4-FFF2-40B4-BE49-F238E27FC236}">
                <a16:creationId xmlns:a16="http://schemas.microsoft.com/office/drawing/2014/main" id="{41C74EA6-8036-D227-4CF2-09CAD4BFB4EC}"/>
              </a:ext>
            </a:extLst>
          </p:cNvPr>
          <p:cNvSpPr/>
          <p:nvPr userDrawn="1"/>
        </p:nvSpPr>
        <p:spPr>
          <a:xfrm>
            <a:off x="-2808000" y="21074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resentation title with multiple lines, please keep as short as possible</a:t>
            </a:r>
          </a:p>
        </p:txBody>
      </p:sp>
      <p:sp>
        <p:nvSpPr>
          <p:cNvPr id="5" name="Abgerundete rechteckige Legende 10">
            <a:extLst>
              <a:ext uri="{FF2B5EF4-FFF2-40B4-BE49-F238E27FC236}">
                <a16:creationId xmlns:a16="http://schemas.microsoft.com/office/drawing/2014/main" id="{ECD2E06B-17EC-5D4B-1476-9873BF4E0337}"/>
              </a:ext>
            </a:extLst>
          </p:cNvPr>
          <p:cNvSpPr/>
          <p:nvPr userDrawn="1"/>
        </p:nvSpPr>
        <p:spPr>
          <a:xfrm>
            <a:off x="-2808000" y="3095159"/>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only one line long, move this text frame up and align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three lines long, move this text frame down and align it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econd list level is used for name, position, event and date.</a:t>
            </a:r>
          </a:p>
        </p:txBody>
      </p:sp>
    </p:spTree>
    <p:extLst>
      <p:ext uri="{BB962C8B-B14F-4D97-AF65-F5344CB8AC3E}">
        <p14:creationId xmlns:p14="http://schemas.microsoft.com/office/powerpoint/2010/main" val="1399166130"/>
      </p:ext>
    </p:extLst>
  </p:cSld>
  <p:clrMapOvr>
    <a:masterClrMapping/>
  </p:clrMapOvr>
  <p:extLst>
    <p:ext uri="{DCECCB84-F9BA-43D5-87BE-67443E8EF086}">
      <p15:sldGuideLst xmlns:p15="http://schemas.microsoft.com/office/powerpoint/2012/main">
        <p15:guide id="1" orient="horz" pos="1496">
          <p15:clr>
            <a:srgbClr val="FBAE40"/>
          </p15:clr>
        </p15:guide>
        <p15:guide id="2" pos="3840">
          <p15:clr>
            <a:srgbClr val="FBAE40"/>
          </p15:clr>
        </p15:guide>
        <p15:guide id="5" pos="352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ighlight light, Line light">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73BB6D4A-38C5-FF3A-907F-A2ABCFAD17EF}"/>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4007680656"/>
      </p:ext>
    </p:extLst>
  </p:cSld>
  <p:clrMapOvr>
    <a:masterClrMapping/>
  </p:clrMapOvr>
  <p:extLst>
    <p:ext uri="{DCECCB84-F9BA-43D5-87BE-67443E8EF086}">
      <p15:sldGuideLst xmlns:p15="http://schemas.microsoft.com/office/powerpoint/2012/main">
        <p15:guide id="1" orient="horz" pos="869">
          <p15:clr>
            <a:srgbClr val="FBAE40"/>
          </p15:clr>
        </p15:guide>
        <p15:guide id="2" pos="49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ighlight dark, Line dark">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lvl1pPr>
              <a:defRPr>
                <a:solidFill>
                  <a:schemeClr val="bg1"/>
                </a:solidFill>
              </a:defRPr>
            </a:lvl1p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7"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3" name="Rectangle 12">
            <a:extLst>
              <a:ext uri="{FF2B5EF4-FFF2-40B4-BE49-F238E27FC236}">
                <a16:creationId xmlns:a16="http://schemas.microsoft.com/office/drawing/2014/main" id="{C87C8480-EFC8-037D-4492-0D1A3CE0AEF3}"/>
              </a:ext>
            </a:extLst>
          </p:cNvPr>
          <p:cNvSpPr/>
          <p:nvPr userDrawn="1"/>
        </p:nvSpPr>
        <p:spPr>
          <a:xfrm>
            <a:off x="288000" y="1036800"/>
            <a:ext cx="7617600" cy="25200"/>
          </a:xfrm>
          <a:prstGeom prst="rect">
            <a:avLst/>
          </a:prstGeom>
          <a:solidFill>
            <a:srgbClr val="003C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ooter Placeholder 6">
            <a:extLst>
              <a:ext uri="{FF2B5EF4-FFF2-40B4-BE49-F238E27FC236}">
                <a16:creationId xmlns:a16="http://schemas.microsoft.com/office/drawing/2014/main" id="{DA0B6A31-3801-382C-595A-81D616D6F04B}"/>
              </a:ext>
            </a:extLst>
          </p:cNvPr>
          <p:cNvSpPr>
            <a:spLocks noGrp="1"/>
          </p:cNvSpPr>
          <p:nvPr>
            <p:ph type="ftr" sz="quarter" idx="15"/>
          </p:nvPr>
        </p:nvSpPr>
        <p:spPr/>
        <p:txBody>
          <a:bodyPr/>
          <a:lstStyle>
            <a:lvl1pPr>
              <a:defRPr>
                <a:solidFill>
                  <a:schemeClr val="bg1"/>
                </a:solidFill>
              </a:defRPr>
            </a:lvl1pPr>
          </a:lstStyle>
          <a:p>
            <a:r>
              <a:rPr lang="en-US" dirty="0"/>
              <a:t>Footer</a:t>
            </a:r>
          </a:p>
        </p:txBody>
      </p:sp>
      <p:sp>
        <p:nvSpPr>
          <p:cNvPr id="10" name="Slide Number Placeholder 9">
            <a:extLst>
              <a:ext uri="{FF2B5EF4-FFF2-40B4-BE49-F238E27FC236}">
                <a16:creationId xmlns:a16="http://schemas.microsoft.com/office/drawing/2014/main" id="{E64D8672-5055-FE0F-0F41-09B11E1D86F0}"/>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Nº›</a:t>
            </a:fld>
            <a:endParaRPr lang="en-US" dirty="0"/>
          </a:p>
        </p:txBody>
      </p:sp>
      <p:sp>
        <p:nvSpPr>
          <p:cNvPr id="11" name="Online Image Placeholder 9">
            <a:extLst>
              <a:ext uri="{FF2B5EF4-FFF2-40B4-BE49-F238E27FC236}">
                <a16:creationId xmlns:a16="http://schemas.microsoft.com/office/drawing/2014/main" id="{57CE4A4F-10F9-B148-2F78-CB04D918C50B}"/>
              </a:ext>
            </a:extLst>
          </p:cNvPr>
          <p:cNvSpPr>
            <a:spLocks noGrp="1"/>
          </p:cNvSpPr>
          <p:nvPr>
            <p:ph type="clipArt" sz="quarter" idx="21" hasCustomPrompt="1"/>
          </p:nvPr>
        </p:nvSpPr>
        <p:spPr>
          <a:xfrm>
            <a:off x="10751366" y="1036800"/>
            <a:ext cx="1440634" cy="25200"/>
          </a:xfrm>
          <a:solidFill>
            <a:srgbClr val="003C70"/>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191D0990-55FB-EAE2-32AE-8D738402C923}"/>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489566473"/>
      </p:ext>
    </p:extLst>
  </p:cSld>
  <p:clrMapOvr>
    <a:masterClrMapping/>
  </p:clrMapOvr>
  <p:extLst>
    <p:ext uri="{DCECCB84-F9BA-43D5-87BE-67443E8EF086}">
      <p15:sldGuideLst xmlns:p15="http://schemas.microsoft.com/office/powerpoint/2012/main">
        <p15:guide id="1" orient="horz" pos="869">
          <p15:clr>
            <a:srgbClr val="FBAE40"/>
          </p15:clr>
        </p15:guide>
        <p15:guide id="2" pos="49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ext, Picture">
    <p:bg>
      <p:bgPr>
        <a:solidFill>
          <a:srgbClr val="003C70"/>
        </a:solidFill>
        <a:effectLst/>
      </p:bgPr>
    </p:bg>
    <p:spTree>
      <p:nvGrpSpPr>
        <p:cNvPr id="1" name=""/>
        <p:cNvGrpSpPr/>
        <p:nvPr/>
      </p:nvGrpSpPr>
      <p:grpSpPr>
        <a:xfrm>
          <a:off x="0" y="0"/>
          <a:ext cx="0" cy="0"/>
          <a:chOff x="0" y="0"/>
          <a:chExt cx="0" cy="0"/>
        </a:xfrm>
      </p:grpSpPr>
      <p:pic>
        <p:nvPicPr>
          <p:cNvPr id="5" name="Grafik 10">
            <a:extLst>
              <a:ext uri="{FF2B5EF4-FFF2-40B4-BE49-F238E27FC236}">
                <a16:creationId xmlns:a16="http://schemas.microsoft.com/office/drawing/2014/main" id="{7FA45EF1-65E8-7C9F-0BDF-ED75C2AABE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50904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n-US" noProof="0"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88000" y="1379538"/>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Online Image Placeholder 9">
            <a:extLst>
              <a:ext uri="{FF2B5EF4-FFF2-40B4-BE49-F238E27FC236}">
                <a16:creationId xmlns:a16="http://schemas.microsoft.com/office/drawing/2014/main" id="{3E5E6F4D-EF63-9880-3600-81A3735826A7}"/>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6" name="Abgerundete rechteckige Legende 10">
            <a:extLst>
              <a:ext uri="{FF2B5EF4-FFF2-40B4-BE49-F238E27FC236}">
                <a16:creationId xmlns:a16="http://schemas.microsoft.com/office/drawing/2014/main" id="{CD740958-1A36-43B9-1DD4-0BAD4348FB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2144118275"/>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s with Background Grey 95">
    <p:bg>
      <p:bgPr>
        <a:solidFill>
          <a:srgbClr val="F1F1F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n-US" noProof="0" dirty="0"/>
              <a:t>Footer</a:t>
            </a:r>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Nº›</a:t>
            </a:fld>
            <a:endParaRPr lang="en-US" noProof="0" dirty="0"/>
          </a:p>
        </p:txBody>
      </p:sp>
    </p:spTree>
    <p:extLst>
      <p:ext uri="{BB962C8B-B14F-4D97-AF65-F5344CB8AC3E}">
        <p14:creationId xmlns:p14="http://schemas.microsoft.com/office/powerpoint/2010/main" val="1138411262"/>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pos="4112">
          <p15:clr>
            <a:srgbClr val="FBAE40"/>
          </p15:clr>
        </p15:guide>
        <p15:guide id="4" pos="3840">
          <p15:clr>
            <a:srgbClr val="FBAE40"/>
          </p15:clr>
        </p15:guide>
        <p15:guide id="5" pos="731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Blue 25">
    <p:bg>
      <p:bgPr>
        <a:solidFill>
          <a:srgbClr val="003C70"/>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n-US" noProof="0" dirty="0"/>
              <a:t>Footer</a:t>
            </a:r>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Nº›</a:t>
            </a:fld>
            <a:endParaRPr lang="en-US" noProof="0" dirty="0"/>
          </a:p>
        </p:txBody>
      </p:sp>
      <p:pic>
        <p:nvPicPr>
          <p:cNvPr id="5" name="Grafik 10">
            <a:extLst>
              <a:ext uri="{FF2B5EF4-FFF2-40B4-BE49-F238E27FC236}">
                <a16:creationId xmlns:a16="http://schemas.microsoft.com/office/drawing/2014/main" id="{75BCEC29-2BC5-3234-39D0-FC2D17F5E4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4031104918"/>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pos="4112">
          <p15:clr>
            <a:srgbClr val="FBAE40"/>
          </p15:clr>
        </p15:guide>
        <p15:guide id="4" pos="3840">
          <p15:clr>
            <a:srgbClr val="FBAE40"/>
          </p15:clr>
        </p15:guide>
        <p15:guide id="5" pos="731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light">
    <p:bg>
      <p:bgPr>
        <a:solidFill>
          <a:schemeClr val="accent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n-US" noProof="0" dirty="0"/>
              <a:t>Footer</a:t>
            </a:r>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Nº›</a:t>
            </a:fld>
            <a:endParaRPr lang="en-US" noProof="0" dirty="0"/>
          </a:p>
        </p:txBody>
      </p:sp>
      <p:pic>
        <p:nvPicPr>
          <p:cNvPr id="5" name="Grafik 10">
            <a:extLst>
              <a:ext uri="{FF2B5EF4-FFF2-40B4-BE49-F238E27FC236}">
                <a16:creationId xmlns:a16="http://schemas.microsoft.com/office/drawing/2014/main" id="{DCBA62C2-C7B7-87CF-008A-31AD89387C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496965214"/>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pos="4112">
          <p15:clr>
            <a:srgbClr val="FBAE40"/>
          </p15:clr>
        </p15:guide>
        <p15:guide id="4" pos="3840">
          <p15:clr>
            <a:srgbClr val="FBAE40"/>
          </p15:clr>
        </p15:guide>
        <p15:guide id="5" pos="731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p:txBody>
          <a:bodyPr/>
          <a:lstStyle/>
          <a:p>
            <a:r>
              <a:rPr lang="en-US" noProof="0" dirty="0"/>
              <a:t>Click to edit Master title style</a:t>
            </a:r>
          </a:p>
        </p:txBody>
      </p:sp>
      <p:sp>
        <p:nvSpPr>
          <p:cNvPr id="10" name="Content Placeholder 9">
            <a:extLst>
              <a:ext uri="{FF2B5EF4-FFF2-40B4-BE49-F238E27FC236}">
                <a16:creationId xmlns:a16="http://schemas.microsoft.com/office/drawing/2014/main" id="{BA56E249-7AEA-83D1-24C6-550B472E2D47}"/>
              </a:ext>
            </a:extLst>
          </p:cNvPr>
          <p:cNvSpPr>
            <a:spLocks noGrp="1"/>
          </p:cNvSpPr>
          <p:nvPr>
            <p:ph sz="quarter" idx="14"/>
          </p:nvPr>
        </p:nvSpPr>
        <p:spPr>
          <a:xfrm>
            <a:off x="287338" y="1378800"/>
            <a:ext cx="11615737" cy="49032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r>
              <a:rPr lang="en-US" noProof="0" dirty="0"/>
              <a:t>Footer</a:t>
            </a:r>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Tree>
    <p:extLst>
      <p:ext uri="{BB962C8B-B14F-4D97-AF65-F5344CB8AC3E}">
        <p14:creationId xmlns:p14="http://schemas.microsoft.com/office/powerpoint/2010/main" val="3450177339"/>
      </p:ext>
    </p:extLst>
  </p:cSld>
  <p:clrMapOvr>
    <a:masterClrMapping/>
  </p:clrMapOvr>
  <p:extLst>
    <p:ext uri="{DCECCB84-F9BA-43D5-87BE-67443E8EF086}">
      <p15:sldGuideLst xmlns:p15="http://schemas.microsoft.com/office/powerpoint/2012/main">
        <p15:guide id="1" orient="horz" pos="86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236672" y="1378800"/>
            <a:ext cx="56700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6700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1885B91D-4685-5F58-F0CF-68DFC8CADE20}"/>
              </a:ext>
            </a:extLst>
          </p:cNvPr>
          <p:cNvSpPr>
            <a:spLocks noGrp="1"/>
          </p:cNvSpPr>
          <p:nvPr>
            <p:ph type="ftr" sz="quarter" idx="15"/>
          </p:nvPr>
        </p:nvSpPr>
        <p:spPr/>
        <p:txBody>
          <a:bodyPr/>
          <a:lstStyle/>
          <a:p>
            <a:r>
              <a:rPr lang="en-US" noProof="0" dirty="0"/>
              <a:t>Footer</a:t>
            </a:r>
          </a:p>
        </p:txBody>
      </p:sp>
      <p:sp>
        <p:nvSpPr>
          <p:cNvPr id="8" name="Slide Number Placeholder 7">
            <a:extLst>
              <a:ext uri="{FF2B5EF4-FFF2-40B4-BE49-F238E27FC236}">
                <a16:creationId xmlns:a16="http://schemas.microsoft.com/office/drawing/2014/main" id="{CB309E67-4CCB-C781-B73D-ABA1E30E8E54}"/>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Tree>
    <p:extLst>
      <p:ext uri="{BB962C8B-B14F-4D97-AF65-F5344CB8AC3E}">
        <p14:creationId xmlns:p14="http://schemas.microsoft.com/office/powerpoint/2010/main" val="4155973429"/>
      </p:ext>
    </p:extLst>
  </p:cSld>
  <p:clrMapOvr>
    <a:masterClrMapping/>
  </p:clrMapOvr>
  <p:extLst>
    <p:ext uri="{DCECCB84-F9BA-43D5-87BE-67443E8EF086}">
      <p15:sldGuideLst xmlns:p15="http://schemas.microsoft.com/office/powerpoint/2012/main">
        <p15:guide id="1" orient="horz" pos="869">
          <p15:clr>
            <a:srgbClr val="FBAE40"/>
          </p15:clr>
        </p15:guide>
        <p15:guide id="2" pos="3754">
          <p15:clr>
            <a:srgbClr val="FBAE40"/>
          </p15:clr>
        </p15:guide>
        <p15:guide id="3" pos="392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7" name="Rectangle 16">
            <a:extLst>
              <a:ext uri="{FF2B5EF4-FFF2-40B4-BE49-F238E27FC236}">
                <a16:creationId xmlns:a16="http://schemas.microsoft.com/office/drawing/2014/main" id="{1F0F0774-A736-B58B-3457-888B317F237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9">
            <a:extLst>
              <a:ext uri="{FF2B5EF4-FFF2-40B4-BE49-F238E27FC236}">
                <a16:creationId xmlns:a16="http://schemas.microsoft.com/office/drawing/2014/main" id="{00E0E6CC-1586-9C98-0538-5FE2A981A44A}"/>
              </a:ext>
            </a:extLst>
          </p:cNvPr>
          <p:cNvSpPr>
            <a:spLocks noGrp="1"/>
          </p:cNvSpPr>
          <p:nvPr>
            <p:ph sz="quarter" idx="14"/>
          </p:nvPr>
        </p:nvSpPr>
        <p:spPr>
          <a:xfrm>
            <a:off x="287337" y="1378800"/>
            <a:ext cx="3684588"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9">
            <a:extLst>
              <a:ext uri="{FF2B5EF4-FFF2-40B4-BE49-F238E27FC236}">
                <a16:creationId xmlns:a16="http://schemas.microsoft.com/office/drawing/2014/main" id="{93B3071F-F438-DCFD-E005-F4E2F754048B}"/>
              </a:ext>
            </a:extLst>
          </p:cNvPr>
          <p:cNvSpPr>
            <a:spLocks noGrp="1"/>
          </p:cNvSpPr>
          <p:nvPr>
            <p:ph sz="quarter" idx="16"/>
          </p:nvPr>
        </p:nvSpPr>
        <p:spPr>
          <a:xfrm>
            <a:off x="8216674" y="1378800"/>
            <a:ext cx="3686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Inhaltsplatzhalter 3">
            <a:extLst>
              <a:ext uri="{FF2B5EF4-FFF2-40B4-BE49-F238E27FC236}">
                <a16:creationId xmlns:a16="http://schemas.microsoft.com/office/drawing/2014/main" id="{9410BB89-0101-18E6-2EF2-6C91E8F158F7}"/>
              </a:ext>
            </a:extLst>
          </p:cNvPr>
          <p:cNvSpPr>
            <a:spLocks noGrp="1"/>
          </p:cNvSpPr>
          <p:nvPr>
            <p:ph sz="half" idx="17"/>
          </p:nvPr>
        </p:nvSpPr>
        <p:spPr>
          <a:xfrm>
            <a:off x="4260850" y="1378800"/>
            <a:ext cx="3686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Footer Placeholder 8">
            <a:extLst>
              <a:ext uri="{FF2B5EF4-FFF2-40B4-BE49-F238E27FC236}">
                <a16:creationId xmlns:a16="http://schemas.microsoft.com/office/drawing/2014/main" id="{6F467332-8CFF-A83D-77AC-88AA3D45B718}"/>
              </a:ext>
            </a:extLst>
          </p:cNvPr>
          <p:cNvSpPr>
            <a:spLocks noGrp="1"/>
          </p:cNvSpPr>
          <p:nvPr>
            <p:ph type="ftr" sz="quarter" idx="18"/>
          </p:nvPr>
        </p:nvSpPr>
        <p:spPr/>
        <p:txBody>
          <a:bodyPr/>
          <a:lstStyle/>
          <a:p>
            <a:r>
              <a:rPr lang="en-US" noProof="0" dirty="0"/>
              <a:t>Footer</a:t>
            </a:r>
          </a:p>
        </p:txBody>
      </p:sp>
      <p:sp>
        <p:nvSpPr>
          <p:cNvPr id="10" name="Slide Number Placeholder 9">
            <a:extLst>
              <a:ext uri="{FF2B5EF4-FFF2-40B4-BE49-F238E27FC236}">
                <a16:creationId xmlns:a16="http://schemas.microsoft.com/office/drawing/2014/main" id="{C350C5DF-5065-DC79-B6C0-C48D4B2C6CB0}"/>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Tree>
    <p:extLst>
      <p:ext uri="{BB962C8B-B14F-4D97-AF65-F5344CB8AC3E}">
        <p14:creationId xmlns:p14="http://schemas.microsoft.com/office/powerpoint/2010/main" val="3064877628"/>
      </p:ext>
    </p:extLst>
  </p:cSld>
  <p:clrMapOvr>
    <a:masterClrMapping/>
  </p:clrMapOvr>
  <p:extLst>
    <p:ext uri="{DCECCB84-F9BA-43D5-87BE-67443E8EF086}">
      <p15:sldGuideLst xmlns:p15="http://schemas.microsoft.com/office/powerpoint/2012/main">
        <p15:guide id="1" orient="horz" pos="869">
          <p15:clr>
            <a:srgbClr val="FBAE40"/>
          </p15:clr>
        </p15:guide>
        <p15:guide id="8" pos="2502">
          <p15:clr>
            <a:srgbClr val="FBAE40"/>
          </p15:clr>
        </p15:guide>
        <p15:guide id="9" pos="2684">
          <p15:clr>
            <a:srgbClr val="FBAE40"/>
          </p15:clr>
        </p15:guide>
        <p15:guide id="10" pos="4995">
          <p15:clr>
            <a:srgbClr val="FBAE40"/>
          </p15:clr>
        </p15:guide>
        <p15:guide id="11" pos="51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92178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9">
            <a:extLst>
              <a:ext uri="{FF2B5EF4-FFF2-40B4-BE49-F238E27FC236}">
                <a16:creationId xmlns:a16="http://schemas.microsoft.com/office/drawing/2014/main" id="{60CD936A-5C06-33D9-1B52-E475F551E9A3}"/>
              </a:ext>
            </a:extLst>
          </p:cNvPr>
          <p:cNvSpPr>
            <a:spLocks noGrp="1"/>
          </p:cNvSpPr>
          <p:nvPr>
            <p:ph sz="quarter" idx="16"/>
          </p:nvPr>
        </p:nvSpPr>
        <p:spPr>
          <a:xfrm>
            <a:off x="62352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3">
            <a:extLst>
              <a:ext uri="{FF2B5EF4-FFF2-40B4-BE49-F238E27FC236}">
                <a16:creationId xmlns:a16="http://schemas.microsoft.com/office/drawing/2014/main" id="{A3DA6D5A-A339-4B79-2219-AE17A2290611}"/>
              </a:ext>
            </a:extLst>
          </p:cNvPr>
          <p:cNvSpPr>
            <a:spLocks noGrp="1"/>
          </p:cNvSpPr>
          <p:nvPr>
            <p:ph sz="half" idx="17"/>
          </p:nvPr>
        </p:nvSpPr>
        <p:spPr>
          <a:xfrm>
            <a:off x="3269938"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Tree>
    <p:extLst>
      <p:ext uri="{BB962C8B-B14F-4D97-AF65-F5344CB8AC3E}">
        <p14:creationId xmlns:p14="http://schemas.microsoft.com/office/powerpoint/2010/main" val="192653074"/>
      </p:ext>
    </p:extLst>
  </p:cSld>
  <p:clrMapOvr>
    <a:masterClrMapping/>
  </p:clrMapOvr>
  <p:extLst>
    <p:ext uri="{DCECCB84-F9BA-43D5-87BE-67443E8EF086}">
      <p15:sldGuideLst xmlns:p15="http://schemas.microsoft.com/office/powerpoint/2012/main">
        <p15:guide id="1" orient="horz" pos="869">
          <p15:clr>
            <a:srgbClr val="FBAE40"/>
          </p15:clr>
        </p15:guide>
        <p15:guide id="2" pos="3754">
          <p15:clr>
            <a:srgbClr val="FBAE40"/>
          </p15:clr>
        </p15:guide>
        <p15:guide id="3" pos="3926">
          <p15:clr>
            <a:srgbClr val="FBAE40"/>
          </p15:clr>
        </p15:guide>
        <p15:guide id="4" pos="1875">
          <p15:clr>
            <a:srgbClr val="FBAE40"/>
          </p15:clr>
        </p15:guide>
        <p15:guide id="5" pos="2058">
          <p15:clr>
            <a:srgbClr val="FBAE40"/>
          </p15:clr>
        </p15:guide>
        <p15:guide id="6" pos="5622">
          <p15:clr>
            <a:srgbClr val="FBAE40"/>
          </p15:clr>
        </p15:guide>
        <p15:guide id="7" pos="580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dark">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bg1"/>
                </a:solidFill>
              </a:defRPr>
            </a:lvl1pPr>
          </a:lstStyle>
          <a:p>
            <a:r>
              <a:rPr lang="en-US" dirty="0"/>
              <a:t>Click to edit Master title style</a:t>
            </a:r>
            <a:endParaRPr lang="en-US"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336" y="3024000"/>
            <a:ext cx="5310000" cy="1800000"/>
          </a:xfrm>
        </p:spPr>
        <p:txBody>
          <a:bodyPr tIns="259200"/>
          <a:lstStyle>
            <a:lvl1pPr marL="0" indent="0" algn="l">
              <a:spcAft>
                <a:spcPts val="1600"/>
              </a:spcAft>
              <a:buNone/>
              <a:defRPr sz="1400">
                <a:solidFill>
                  <a:schemeClr val="bg1"/>
                </a:solidFill>
              </a:defRPr>
            </a:lvl1pPr>
            <a:lvl2pPr marL="0" indent="0" algn="l">
              <a:spcAft>
                <a:spcPts val="0"/>
              </a:spcAft>
              <a:buNone/>
              <a:defRPr sz="1400">
                <a:solidFill>
                  <a:schemeClr val="bg1"/>
                </a:solidFill>
              </a:defRPr>
            </a:lvl2pPr>
            <a:lvl3pPr marL="0" indent="0" algn="l">
              <a:spcAft>
                <a:spcPts val="0"/>
              </a:spcAft>
              <a:buNone/>
              <a:defRPr sz="1400">
                <a:solidFill>
                  <a:schemeClr val="bg1"/>
                </a:solidFill>
              </a:defRPr>
            </a:lvl3pPr>
            <a:lvl4pPr marL="0" indent="0" algn="l">
              <a:spcAft>
                <a:spcPts val="0"/>
              </a:spcAft>
              <a:buNone/>
              <a:defRPr sz="1400" b="0">
                <a:solidFill>
                  <a:schemeClr val="bg1"/>
                </a:solidFill>
              </a:defRPr>
            </a:lvl4pPr>
            <a:lvl5pPr marL="0" indent="0" algn="l">
              <a:spcAft>
                <a:spcPts val="0"/>
              </a:spcAft>
              <a:buNone/>
              <a:defRPr sz="1400">
                <a:solidFill>
                  <a:schemeClr val="bg1"/>
                </a:solidFill>
              </a:defRPr>
            </a:lvl5pPr>
            <a:lvl6pPr marL="0" indent="0" algn="l">
              <a:spcAft>
                <a:spcPts val="0"/>
              </a:spcAft>
              <a:buNone/>
              <a:defRPr sz="1400">
                <a:solidFill>
                  <a:schemeClr val="bg1"/>
                </a:solidFill>
              </a:defRPr>
            </a:lvl6pPr>
            <a:lvl7pPr marL="0" indent="0" algn="l">
              <a:lnSpc>
                <a:spcPct val="100000"/>
              </a:lnSpc>
              <a:buNone/>
              <a:defRPr sz="1400">
                <a:solidFill>
                  <a:schemeClr val="bg1"/>
                </a:solidFill>
              </a:defRPr>
            </a:lvl7pPr>
            <a:lvl8pPr marL="0" indent="0" algn="l">
              <a:lnSpc>
                <a:spcPct val="100000"/>
              </a:lnSpc>
              <a:buNone/>
              <a:defRPr sz="1400">
                <a:solidFill>
                  <a:schemeClr val="bg1"/>
                </a:solidFill>
              </a:defRPr>
            </a:lvl8pPr>
            <a:lvl9pPr marL="0" indent="0" algn="l">
              <a:lnSpc>
                <a:spcPct val="100000"/>
              </a:lnSpc>
              <a:buNone/>
              <a:defRPr sz="1400">
                <a:solidFill>
                  <a:schemeClr val="bg1"/>
                </a:solidFill>
              </a:defRPr>
            </a:lvl9pPr>
          </a:lstStyle>
          <a:p>
            <a:r>
              <a:rPr lang="en-US" dirty="0"/>
              <a:t>Click to edit Master subtitle style</a:t>
            </a:r>
          </a:p>
          <a:p>
            <a:pPr lvl="1"/>
            <a:r>
              <a:rPr lang="en-US" dirty="0">
                <a:solidFill>
                  <a:schemeClr val="bg1"/>
                </a:solidFill>
              </a:rPr>
              <a:t>Second level</a:t>
            </a: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90096" y="283377"/>
            <a:ext cx="2305683"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DB840ED-5D5E-5D88-FCF7-2D2ABA7BB02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90315" y="6440208"/>
            <a:ext cx="1515600" cy="166760"/>
          </a:xfrm>
          <a:prstGeom prst="rect">
            <a:avLst/>
          </a:prstGeom>
        </p:spPr>
      </p:pic>
      <p:sp>
        <p:nvSpPr>
          <p:cNvPr id="4" name="Abgerundete rechteckige Legende 10">
            <a:extLst>
              <a:ext uri="{FF2B5EF4-FFF2-40B4-BE49-F238E27FC236}">
                <a16:creationId xmlns:a16="http://schemas.microsoft.com/office/drawing/2014/main" id="{478E00B4-9DEB-7BFA-02D6-1A57BDCCE3A9}"/>
              </a:ext>
            </a:extLst>
          </p:cNvPr>
          <p:cNvSpPr/>
          <p:nvPr userDrawn="1"/>
        </p:nvSpPr>
        <p:spPr>
          <a:xfrm>
            <a:off x="-2808000" y="21074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resentation title with multiple lines, please keep as short as possible</a:t>
            </a:r>
          </a:p>
        </p:txBody>
      </p:sp>
      <p:sp>
        <p:nvSpPr>
          <p:cNvPr id="5" name="Abgerundete rechteckige Legende 10">
            <a:extLst>
              <a:ext uri="{FF2B5EF4-FFF2-40B4-BE49-F238E27FC236}">
                <a16:creationId xmlns:a16="http://schemas.microsoft.com/office/drawing/2014/main" id="{9FA1DB77-CFFC-50A2-44D5-AFF434240524}"/>
              </a:ext>
            </a:extLst>
          </p:cNvPr>
          <p:cNvSpPr/>
          <p:nvPr userDrawn="1"/>
        </p:nvSpPr>
        <p:spPr>
          <a:xfrm>
            <a:off x="-2808000" y="3095159"/>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only one line long, move this text frame up and align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three lines long, move this text frame down and align it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econd list level is used for name, position, event and date.</a:t>
            </a:r>
          </a:p>
        </p:txBody>
      </p:sp>
    </p:spTree>
    <p:extLst>
      <p:ext uri="{BB962C8B-B14F-4D97-AF65-F5344CB8AC3E}">
        <p14:creationId xmlns:p14="http://schemas.microsoft.com/office/powerpoint/2010/main" val="4294354897"/>
      </p:ext>
    </p:extLst>
  </p:cSld>
  <p:clrMapOvr>
    <a:masterClrMapping/>
  </p:clrMapOvr>
  <p:extLst>
    <p:ext uri="{DCECCB84-F9BA-43D5-87BE-67443E8EF086}">
      <p15:sldGuideLst xmlns:p15="http://schemas.microsoft.com/office/powerpoint/2012/main">
        <p15:guide id="1" orient="horz" pos="1496">
          <p15:clr>
            <a:srgbClr val="FBAE40"/>
          </p15:clr>
        </p15:guide>
        <p15:guide id="2" pos="3840">
          <p15:clr>
            <a:srgbClr val="FBAE40"/>
          </p15:clr>
        </p15:guide>
        <p15:guide id="5" pos="352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Picture (3: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9216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7999" y="1378800"/>
            <a:ext cx="863692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Abgerundete rechteckige Legende 10">
            <a:extLst>
              <a:ext uri="{FF2B5EF4-FFF2-40B4-BE49-F238E27FC236}">
                <a16:creationId xmlns:a16="http://schemas.microsoft.com/office/drawing/2014/main" id="{3ED52294-B01F-13EA-3A82-142AFC78342F}"/>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276943177"/>
      </p:ext>
    </p:extLst>
  </p:cSld>
  <p:clrMapOvr>
    <a:masterClrMapping/>
  </p:clrMapOvr>
  <p:extLst>
    <p:ext uri="{DCECCB84-F9BA-43D5-87BE-67443E8EF086}">
      <p15:sldGuideLst xmlns:p15="http://schemas.microsoft.com/office/powerpoint/2012/main">
        <p15:guide id="1" orient="horz" pos="869">
          <p15:clr>
            <a:srgbClr val="FBAE40"/>
          </p15:clr>
        </p15:guide>
        <p15:guide id="6" pos="5622">
          <p15:clr>
            <a:srgbClr val="FBAE40"/>
          </p15:clr>
        </p15:guide>
        <p15:guide id="7" pos="580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Text (1:3)">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288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3266149" y="1378800"/>
            <a:ext cx="863692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Abgerundete rechteckige Legende 10">
            <a:extLst>
              <a:ext uri="{FF2B5EF4-FFF2-40B4-BE49-F238E27FC236}">
                <a16:creationId xmlns:a16="http://schemas.microsoft.com/office/drawing/2014/main" id="{A367B669-35C2-3CA2-5416-ADB4B5AD549C}"/>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42992248"/>
      </p:ext>
    </p:extLst>
  </p:cSld>
  <p:clrMapOvr>
    <a:masterClrMapping/>
  </p:clrMapOvr>
  <p:extLst>
    <p:ext uri="{DCECCB84-F9BA-43D5-87BE-67443E8EF086}">
      <p15:sldGuideLst xmlns:p15="http://schemas.microsoft.com/office/powerpoint/2012/main">
        <p15:guide id="1" orient="horz" pos="869">
          <p15:clr>
            <a:srgbClr val="FBAE40"/>
          </p15:clr>
        </p15:guide>
        <p15:guide id="4" pos="1875">
          <p15:clr>
            <a:srgbClr val="FBAE40"/>
          </p15:clr>
        </p15:guide>
        <p15:guide id="5" pos="205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Picture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6231732"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567147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Abgerundete rechteckige Legende 10">
            <a:extLst>
              <a:ext uri="{FF2B5EF4-FFF2-40B4-BE49-F238E27FC236}">
                <a16:creationId xmlns:a16="http://schemas.microsoft.com/office/drawing/2014/main" id="{1805CF94-FE17-9230-DCCC-89FF05560935}"/>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4214407548"/>
      </p:ext>
    </p:extLst>
  </p:cSld>
  <p:clrMapOvr>
    <a:masterClrMapping/>
  </p:clrMapOvr>
  <p:extLst>
    <p:ext uri="{DCECCB84-F9BA-43D5-87BE-67443E8EF086}">
      <p15:sldGuideLst xmlns:p15="http://schemas.microsoft.com/office/powerpoint/2012/main">
        <p15:guide id="1" orient="horz" pos="869">
          <p15:clr>
            <a:srgbClr val="FBAE40"/>
          </p15:clr>
        </p15:guide>
        <p15:guide id="2" pos="3754">
          <p15:clr>
            <a:srgbClr val="FBAE40"/>
          </p15:clr>
        </p15:guide>
        <p15:guide id="3" pos="392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Text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288000"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6231600" y="1378800"/>
            <a:ext cx="567147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Abgerundete rechteckige Legende 10">
            <a:extLst>
              <a:ext uri="{FF2B5EF4-FFF2-40B4-BE49-F238E27FC236}">
                <a16:creationId xmlns:a16="http://schemas.microsoft.com/office/drawing/2014/main" id="{CDB40201-C61D-0920-C074-E6A86E218167}"/>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080095292"/>
      </p:ext>
    </p:extLst>
  </p:cSld>
  <p:clrMapOvr>
    <a:masterClrMapping/>
  </p:clrMapOvr>
  <p:extLst>
    <p:ext uri="{DCECCB84-F9BA-43D5-87BE-67443E8EF086}">
      <p15:sldGuideLst xmlns:p15="http://schemas.microsoft.com/office/powerpoint/2012/main">
        <p15:guide id="1" orient="horz" pos="869">
          <p15:clr>
            <a:srgbClr val="FBAE40"/>
          </p15:clr>
        </p15:guide>
        <p15:guide id="2" pos="3754">
          <p15:clr>
            <a:srgbClr val="FBAE40"/>
          </p15:clr>
        </p15:guide>
        <p15:guide id="3" pos="392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Picture (1: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a:extLst>
              <a:ext uri="{FF2B5EF4-FFF2-40B4-BE49-F238E27FC236}">
                <a16:creationId xmlns:a16="http://schemas.microsoft.com/office/drawing/2014/main" id="{3D9C72D0-9C75-B7FA-B88A-327B8440D377}"/>
              </a:ext>
            </a:extLst>
          </p:cNvPr>
          <p:cNvSpPr>
            <a:spLocks noGrp="1"/>
          </p:cNvSpPr>
          <p:nvPr>
            <p:ph type="pic" sz="quarter" idx="23"/>
          </p:nvPr>
        </p:nvSpPr>
        <p:spPr>
          <a:xfrm>
            <a:off x="3265200"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7" name="Abgerundete rechteckige Legende 10">
            <a:extLst>
              <a:ext uri="{FF2B5EF4-FFF2-40B4-BE49-F238E27FC236}">
                <a16:creationId xmlns:a16="http://schemas.microsoft.com/office/drawing/2014/main" id="{BD40C23B-4547-5650-806A-66D2ACFDC3B7}"/>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058031760"/>
      </p:ext>
    </p:extLst>
  </p:cSld>
  <p:clrMapOvr>
    <a:masterClrMapping/>
  </p:clrMapOvr>
  <p:extLst>
    <p:ext uri="{DCECCB84-F9BA-43D5-87BE-67443E8EF086}">
      <p15:sldGuideLst xmlns:p15="http://schemas.microsoft.com/office/powerpoint/2012/main">
        <p15:guide id="1" orient="horz" pos="869">
          <p15:clr>
            <a:srgbClr val="FBAE40"/>
          </p15:clr>
        </p15:guide>
        <p15:guide id="4" pos="1875">
          <p15:clr>
            <a:srgbClr val="FBAE40"/>
          </p15:clr>
        </p15:guide>
        <p15:guide id="5" pos="205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Text (3: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92196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9">
            <a:extLst>
              <a:ext uri="{FF2B5EF4-FFF2-40B4-BE49-F238E27FC236}">
                <a16:creationId xmlns:a16="http://schemas.microsoft.com/office/drawing/2014/main" id="{FEE23C52-6DAD-95DC-ED98-591B9334BBEE}"/>
              </a:ext>
            </a:extLst>
          </p:cNvPr>
          <p:cNvSpPr>
            <a:spLocks noGrp="1"/>
          </p:cNvSpPr>
          <p:nvPr>
            <p:ph type="pic" sz="quarter" idx="21"/>
          </p:nvPr>
        </p:nvSpPr>
        <p:spPr>
          <a:xfrm>
            <a:off x="287338"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endParaRPr lang="en-US" dirty="0"/>
          </a:p>
        </p:txBody>
      </p:sp>
      <p:sp>
        <p:nvSpPr>
          <p:cNvPr id="5" name="Abgerundete rechteckige Legende 10">
            <a:extLst>
              <a:ext uri="{FF2B5EF4-FFF2-40B4-BE49-F238E27FC236}">
                <a16:creationId xmlns:a16="http://schemas.microsoft.com/office/drawing/2014/main" id="{6D057797-A263-E907-9FA6-6DE2C8F31C3B}"/>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408400883"/>
      </p:ext>
    </p:extLst>
  </p:cSld>
  <p:clrMapOvr>
    <a:masterClrMapping/>
  </p:clrMapOvr>
  <p:extLst>
    <p:ext uri="{DCECCB84-F9BA-43D5-87BE-67443E8EF086}">
      <p15:sldGuideLst xmlns:p15="http://schemas.microsoft.com/office/powerpoint/2012/main">
        <p15:guide id="1" orient="horz" pos="869">
          <p15:clr>
            <a:srgbClr val="FBAE40"/>
          </p15:clr>
        </p15:guide>
        <p15:guide id="6" pos="5622">
          <p15:clr>
            <a:srgbClr val="FBAE40"/>
          </p15:clr>
        </p15:guide>
        <p15:guide id="7" pos="580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full widt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5" name="Picture Placeholder 4">
            <a:extLst>
              <a:ext uri="{FF2B5EF4-FFF2-40B4-BE49-F238E27FC236}">
                <a16:creationId xmlns:a16="http://schemas.microsoft.com/office/drawing/2014/main" id="{84F0F322-EA25-ACAE-609C-DC51DE703108}"/>
              </a:ext>
            </a:extLst>
          </p:cNvPr>
          <p:cNvSpPr>
            <a:spLocks noGrp="1"/>
          </p:cNvSpPr>
          <p:nvPr>
            <p:ph type="pic" sz="quarter" idx="22"/>
          </p:nvPr>
        </p:nvSpPr>
        <p:spPr>
          <a:xfrm>
            <a:off x="287337" y="1378800"/>
            <a:ext cx="11615736" cy="4903787"/>
          </a:xfrm>
          <a:custGeom>
            <a:avLst/>
            <a:gdLst>
              <a:gd name="connsiteX0" fmla="*/ 3245194 w 11615736"/>
              <a:gd name="connsiteY0" fmla="*/ 0 h 4903787"/>
              <a:gd name="connsiteX1" fmla="*/ 11348690 w 11615736"/>
              <a:gd name="connsiteY1" fmla="*/ 0 h 4903787"/>
              <a:gd name="connsiteX2" fmla="*/ 11396664 w 11615736"/>
              <a:gd name="connsiteY2" fmla="*/ 4836 h 4903787"/>
              <a:gd name="connsiteX3" fmla="*/ 11615736 w 11615736"/>
              <a:gd name="connsiteY3" fmla="*/ 273629 h 4903787"/>
              <a:gd name="connsiteX4" fmla="*/ 11615736 w 11615736"/>
              <a:gd name="connsiteY4" fmla="*/ 4628682 h 4903787"/>
              <a:gd name="connsiteX5" fmla="*/ 11341369 w 11615736"/>
              <a:gd name="connsiteY5" fmla="*/ 4903049 h 4903787"/>
              <a:gd name="connsiteX6" fmla="*/ 8375123 w 11615736"/>
              <a:gd name="connsiteY6" fmla="*/ 4903049 h 4903787"/>
              <a:gd name="connsiteX7" fmla="*/ 8370541 w 11615736"/>
              <a:gd name="connsiteY7" fmla="*/ 4903049 h 4903787"/>
              <a:gd name="connsiteX8" fmla="*/ 8363220 w 11615736"/>
              <a:gd name="connsiteY8" fmla="*/ 4903787 h 4903787"/>
              <a:gd name="connsiteX9" fmla="*/ 5396974 w 11615736"/>
              <a:gd name="connsiteY9" fmla="*/ 4903787 h 4903787"/>
              <a:gd name="connsiteX10" fmla="*/ 3240612 w 11615736"/>
              <a:gd name="connsiteY10" fmla="*/ 4903787 h 4903787"/>
              <a:gd name="connsiteX11" fmla="*/ 274366 w 11615736"/>
              <a:gd name="connsiteY11" fmla="*/ 4903787 h 4903787"/>
              <a:gd name="connsiteX12" fmla="*/ 21560 w 11615736"/>
              <a:gd name="connsiteY12" fmla="*/ 4736216 h 4903787"/>
              <a:gd name="connsiteX13" fmla="*/ 0 w 11615736"/>
              <a:gd name="connsiteY13" fmla="*/ 4629425 h 4903787"/>
              <a:gd name="connsiteX14" fmla="*/ 0 w 11615736"/>
              <a:gd name="connsiteY14" fmla="*/ 274363 h 4903787"/>
              <a:gd name="connsiteX15" fmla="*/ 21560 w 11615736"/>
              <a:gd name="connsiteY15" fmla="*/ 167571 h 4903787"/>
              <a:gd name="connsiteX16" fmla="*/ 219071 w 11615736"/>
              <a:gd name="connsiteY16" fmla="*/ 5574 h 4903787"/>
              <a:gd name="connsiteX17" fmla="*/ 267045 w 11615736"/>
              <a:gd name="connsiteY17" fmla="*/ 738 h 4903787"/>
              <a:gd name="connsiteX18" fmla="*/ 3237874 w 11615736"/>
              <a:gd name="connsiteY18" fmla="*/ 738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15736" h="4903787">
                <a:moveTo>
                  <a:pt x="3245194" y="0"/>
                </a:moveTo>
                <a:lnTo>
                  <a:pt x="11348690" y="0"/>
                </a:lnTo>
                <a:lnTo>
                  <a:pt x="11396664" y="4836"/>
                </a:lnTo>
                <a:cubicBezTo>
                  <a:pt x="11521688" y="30420"/>
                  <a:pt x="11615736" y="141041"/>
                  <a:pt x="11615736" y="273629"/>
                </a:cubicBezTo>
                <a:lnTo>
                  <a:pt x="11615736" y="4628682"/>
                </a:lnTo>
                <a:cubicBezTo>
                  <a:pt x="11615736" y="4780211"/>
                  <a:pt x="11492898" y="4903049"/>
                  <a:pt x="11341369" y="4903049"/>
                </a:cubicBezTo>
                <a:lnTo>
                  <a:pt x="8375123" y="4903049"/>
                </a:lnTo>
                <a:lnTo>
                  <a:pt x="8370541" y="4903049"/>
                </a:lnTo>
                <a:lnTo>
                  <a:pt x="8363220" y="4903787"/>
                </a:lnTo>
                <a:lnTo>
                  <a:pt x="5396974" y="4903787"/>
                </a:lnTo>
                <a:lnTo>
                  <a:pt x="3240612" y="4903787"/>
                </a:lnTo>
                <a:lnTo>
                  <a:pt x="274366" y="4903787"/>
                </a:lnTo>
                <a:cubicBezTo>
                  <a:pt x="160719" y="4903787"/>
                  <a:pt x="63211" y="4834691"/>
                  <a:pt x="21560" y="4736216"/>
                </a:cubicBezTo>
                <a:lnTo>
                  <a:pt x="0" y="4629425"/>
                </a:lnTo>
                <a:lnTo>
                  <a:pt x="0" y="274363"/>
                </a:lnTo>
                <a:lnTo>
                  <a:pt x="21560" y="167571"/>
                </a:lnTo>
                <a:cubicBezTo>
                  <a:pt x="56270" y="85509"/>
                  <a:pt x="129768" y="23848"/>
                  <a:pt x="219071" y="5574"/>
                </a:cubicBezTo>
                <a:lnTo>
                  <a:pt x="267045" y="738"/>
                </a:lnTo>
                <a:lnTo>
                  <a:pt x="3237874" y="738"/>
                </a:lnTo>
                <a:close/>
              </a:path>
            </a:pathLst>
          </a:custGeom>
        </p:spPr>
        <p:txBody>
          <a:bodyPr wrap="square">
            <a:noAutofit/>
          </a:bodyPr>
          <a:lstStyle/>
          <a:p>
            <a:endParaRPr lang="en-US" dirty="0"/>
          </a:p>
        </p:txBody>
      </p:sp>
      <p:sp>
        <p:nvSpPr>
          <p:cNvPr id="4" name="Abgerundete rechteckige Legende 10">
            <a:extLst>
              <a:ext uri="{FF2B5EF4-FFF2-40B4-BE49-F238E27FC236}">
                <a16:creationId xmlns:a16="http://schemas.microsoft.com/office/drawing/2014/main" id="{28614153-6F76-F841-A3AA-B129FA966F36}"/>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1929553002"/>
      </p:ext>
    </p:extLst>
  </p:cSld>
  <p:clrMapOvr>
    <a:masterClrMapping/>
  </p:clrMapOvr>
  <p:extLst>
    <p:ext uri="{DCECCB84-F9BA-43D5-87BE-67443E8EF086}">
      <p15:sldGuideLst xmlns:p15="http://schemas.microsoft.com/office/powerpoint/2012/main">
        <p15:guide id="1" orient="horz" pos="86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arge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9AFD43-5FF5-07CF-598F-C6154BEE6A91}"/>
              </a:ext>
            </a:extLst>
          </p:cNvPr>
          <p:cNvSpPr>
            <a:spLocks noGrp="1"/>
          </p:cNvSpPr>
          <p:nvPr>
            <p:ph type="pic" sz="quarter" idx="23"/>
          </p:nvPr>
        </p:nvSpPr>
        <p:spPr>
          <a:xfrm>
            <a:off x="0" y="0"/>
            <a:ext cx="12192000" cy="6858000"/>
          </a:xfrm>
        </p:spPr>
        <p:txBody>
          <a:bodyPr/>
          <a:lstStyle/>
          <a:p>
            <a:endParaRPr lang="en-US" dirty="0"/>
          </a:p>
        </p:txBody>
      </p:sp>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n-US" dirty="0"/>
              <a:t>Footer</a:t>
            </a:r>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Nº›</a:t>
            </a:fld>
            <a:endParaRPr lang="en-US" dirty="0"/>
          </a:p>
        </p:txBody>
      </p:sp>
      <p:sp>
        <p:nvSpPr>
          <p:cNvPr id="2" name="Abgerundete rechteckige Legende 10">
            <a:extLst>
              <a:ext uri="{FF2B5EF4-FFF2-40B4-BE49-F238E27FC236}">
                <a16:creationId xmlns:a16="http://schemas.microsoft.com/office/drawing/2014/main" id="{06152B2D-3AB1-CE60-F401-149A55D40E0F}"/>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217752216"/>
      </p:ext>
    </p:extLst>
  </p:cSld>
  <p:clrMapOvr>
    <a:masterClrMapping/>
  </p:clrMapOvr>
  <p:extLst>
    <p:ext uri="{DCECCB84-F9BA-43D5-87BE-67443E8EF086}">
      <p15:sldGuideLst xmlns:p15="http://schemas.microsoft.com/office/powerpoint/2012/main">
        <p15:guide id="1" pos="626">
          <p15:clr>
            <a:srgbClr val="FBAE40"/>
          </p15:clr>
        </p15:guide>
        <p15:guide id="2" pos="808">
          <p15:clr>
            <a:srgbClr val="FBAE40"/>
          </p15:clr>
        </p15:guide>
        <p15:guide id="3" pos="1253">
          <p15:clr>
            <a:srgbClr val="FBAE40"/>
          </p15:clr>
        </p15:guide>
        <p15:guide id="4" pos="1432">
          <p15:clr>
            <a:srgbClr val="FBAE40"/>
          </p15:clr>
        </p15:guide>
        <p15:guide id="5" pos="1877">
          <p15:clr>
            <a:srgbClr val="FBAE40"/>
          </p15:clr>
        </p15:guide>
        <p15:guide id="6" pos="2056">
          <p15:clr>
            <a:srgbClr val="FBAE40"/>
          </p15:clr>
        </p15:guide>
        <p15:guide id="7" pos="2505">
          <p15:clr>
            <a:srgbClr val="FBAE40"/>
          </p15:clr>
        </p15:guide>
        <p15:guide id="8" pos="2683">
          <p15:clr>
            <a:srgbClr val="FBAE40"/>
          </p15:clr>
        </p15:guide>
        <p15:guide id="9" pos="3130">
          <p15:clr>
            <a:srgbClr val="FBAE40"/>
          </p15:clr>
        </p15:guide>
        <p15:guide id="10" pos="3308">
          <p15:clr>
            <a:srgbClr val="FBAE40"/>
          </p15:clr>
        </p15:guide>
        <p15:guide id="11" pos="3753">
          <p15:clr>
            <a:srgbClr val="FBAE40"/>
          </p15:clr>
        </p15:guide>
        <p15:guide id="12" pos="3926">
          <p15:clr>
            <a:srgbClr val="FBAE40"/>
          </p15:clr>
        </p15:guide>
        <p15:guide id="13" pos="4373">
          <p15:clr>
            <a:srgbClr val="FBAE40"/>
          </p15:clr>
        </p15:guide>
        <p15:guide id="14" pos="4551">
          <p15:clr>
            <a:srgbClr val="FBAE40"/>
          </p15:clr>
        </p15:guide>
        <p15:guide id="15" pos="4997">
          <p15:clr>
            <a:srgbClr val="FBAE40"/>
          </p15:clr>
        </p15:guide>
        <p15:guide id="16" pos="5176">
          <p15:clr>
            <a:srgbClr val="FBAE40"/>
          </p15:clr>
        </p15:guide>
        <p15:guide id="17" pos="5624">
          <p15:clr>
            <a:srgbClr val="FBAE40"/>
          </p15:clr>
        </p15:guide>
        <p15:guide id="18" pos="5804">
          <p15:clr>
            <a:srgbClr val="FBAE40"/>
          </p15:clr>
        </p15:guide>
        <p15:guide id="19" pos="6248">
          <p15:clr>
            <a:srgbClr val="FBAE40"/>
          </p15:clr>
        </p15:guide>
        <p15:guide id="20" pos="6427">
          <p15:clr>
            <a:srgbClr val="FBAE40"/>
          </p15:clr>
        </p15:guide>
        <p15:guide id="21" pos="6873">
          <p15:clr>
            <a:srgbClr val="FBAE40"/>
          </p15:clr>
        </p15:guide>
        <p15:guide id="22" pos="7053">
          <p15:clr>
            <a:srgbClr val="FBAE40"/>
          </p15:clr>
        </p15:guide>
        <p15:guide id="23" orient="horz" pos="86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ntents with 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13">
            <a:extLst>
              <a:ext uri="{FF2B5EF4-FFF2-40B4-BE49-F238E27FC236}">
                <a16:creationId xmlns:a16="http://schemas.microsoft.com/office/drawing/2014/main" id="{9BC6E3AB-0636-57B2-4C36-AC798D6B0659}"/>
              </a:ext>
            </a:extLst>
          </p:cNvPr>
          <p:cNvSpPr>
            <a:spLocks noGrp="1"/>
          </p:cNvSpPr>
          <p:nvPr>
            <p:ph type="body" sz="quarter" idx="18"/>
          </p:nvPr>
        </p:nvSpPr>
        <p:spPr>
          <a:xfrm>
            <a:off x="2880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1" name="Text Placeholder 20">
            <a:extLst>
              <a:ext uri="{FF2B5EF4-FFF2-40B4-BE49-F238E27FC236}">
                <a16:creationId xmlns:a16="http://schemas.microsoft.com/office/drawing/2014/main" id="{A5A7C009-966B-009A-E119-D98EDBB9609A}"/>
              </a:ext>
            </a:extLst>
          </p:cNvPr>
          <p:cNvSpPr>
            <a:spLocks noGrp="1"/>
          </p:cNvSpPr>
          <p:nvPr>
            <p:ph type="body" sz="quarter" idx="22"/>
          </p:nvPr>
        </p:nvSpPr>
        <p:spPr>
          <a:xfrm>
            <a:off x="2880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0">
            <a:extLst>
              <a:ext uri="{FF2B5EF4-FFF2-40B4-BE49-F238E27FC236}">
                <a16:creationId xmlns:a16="http://schemas.microsoft.com/office/drawing/2014/main" id="{7FCEF823-670B-2AD2-6E20-55B1F88A48E7}"/>
              </a:ext>
            </a:extLst>
          </p:cNvPr>
          <p:cNvSpPr>
            <a:spLocks noGrp="1"/>
          </p:cNvSpPr>
          <p:nvPr>
            <p:ph type="body" sz="quarter" idx="23"/>
          </p:nvPr>
        </p:nvSpPr>
        <p:spPr>
          <a:xfrm>
            <a:off x="32688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0">
            <a:extLst>
              <a:ext uri="{FF2B5EF4-FFF2-40B4-BE49-F238E27FC236}">
                <a16:creationId xmlns:a16="http://schemas.microsoft.com/office/drawing/2014/main" id="{2B4FBDE2-69A3-83BC-90B8-D68A711F9E74}"/>
              </a:ext>
            </a:extLst>
          </p:cNvPr>
          <p:cNvSpPr>
            <a:spLocks noGrp="1"/>
          </p:cNvSpPr>
          <p:nvPr>
            <p:ph type="body" sz="quarter" idx="24"/>
          </p:nvPr>
        </p:nvSpPr>
        <p:spPr>
          <a:xfrm>
            <a:off x="62352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0">
            <a:extLst>
              <a:ext uri="{FF2B5EF4-FFF2-40B4-BE49-F238E27FC236}">
                <a16:creationId xmlns:a16="http://schemas.microsoft.com/office/drawing/2014/main" id="{070E2F6E-F2A4-9A59-115B-08EEEAF78B03}"/>
              </a:ext>
            </a:extLst>
          </p:cNvPr>
          <p:cNvSpPr>
            <a:spLocks noGrp="1"/>
          </p:cNvSpPr>
          <p:nvPr>
            <p:ph type="body" sz="quarter" idx="25"/>
          </p:nvPr>
        </p:nvSpPr>
        <p:spPr>
          <a:xfrm>
            <a:off x="92196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3">
            <a:extLst>
              <a:ext uri="{FF2B5EF4-FFF2-40B4-BE49-F238E27FC236}">
                <a16:creationId xmlns:a16="http://schemas.microsoft.com/office/drawing/2014/main" id="{93BBFB66-7482-7164-A64A-968F6356FA57}"/>
              </a:ext>
            </a:extLst>
          </p:cNvPr>
          <p:cNvSpPr>
            <a:spLocks noGrp="1"/>
          </p:cNvSpPr>
          <p:nvPr>
            <p:ph type="body" sz="quarter" idx="26"/>
          </p:nvPr>
        </p:nvSpPr>
        <p:spPr>
          <a:xfrm>
            <a:off x="3270275"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7" name="Text Placeholder 13">
            <a:extLst>
              <a:ext uri="{FF2B5EF4-FFF2-40B4-BE49-F238E27FC236}">
                <a16:creationId xmlns:a16="http://schemas.microsoft.com/office/drawing/2014/main" id="{31F66869-8715-1AC4-BB36-53CF23C5B2E2}"/>
              </a:ext>
            </a:extLst>
          </p:cNvPr>
          <p:cNvSpPr>
            <a:spLocks noGrp="1"/>
          </p:cNvSpPr>
          <p:nvPr>
            <p:ph type="body" sz="quarter" idx="27"/>
          </p:nvPr>
        </p:nvSpPr>
        <p:spPr>
          <a:xfrm>
            <a:off x="62352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8" name="Text Placeholder 13">
            <a:extLst>
              <a:ext uri="{FF2B5EF4-FFF2-40B4-BE49-F238E27FC236}">
                <a16:creationId xmlns:a16="http://schemas.microsoft.com/office/drawing/2014/main" id="{C197165B-607C-959F-F199-34120D434673}"/>
              </a:ext>
            </a:extLst>
          </p:cNvPr>
          <p:cNvSpPr>
            <a:spLocks noGrp="1"/>
          </p:cNvSpPr>
          <p:nvPr>
            <p:ph type="body" sz="quarter" idx="28"/>
          </p:nvPr>
        </p:nvSpPr>
        <p:spPr>
          <a:xfrm>
            <a:off x="92196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n-US" noProof="0" dirty="0"/>
              <a:t>Footer</a:t>
            </a:r>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Nº›</a:t>
            </a:fld>
            <a:endParaRPr lang="en-US" noProof="0" dirty="0"/>
          </a:p>
        </p:txBody>
      </p:sp>
      <p:sp>
        <p:nvSpPr>
          <p:cNvPr id="5" name="Abgerundete rechteckige Legende 10">
            <a:extLst>
              <a:ext uri="{FF2B5EF4-FFF2-40B4-BE49-F238E27FC236}">
                <a16:creationId xmlns:a16="http://schemas.microsoft.com/office/drawing/2014/main" id="{41369B32-9D60-34D0-D34D-8D4BD7279FD0}"/>
              </a:ext>
            </a:extLst>
          </p:cNvPr>
          <p:cNvSpPr/>
          <p:nvPr userDrawn="1"/>
        </p:nvSpPr>
        <p:spPr>
          <a:xfrm>
            <a:off x="-2808000" y="1379539"/>
            <a:ext cx="2696941" cy="1471511"/>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subheading gets longer than one line, the bottom line moves down according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o keep the distance to the content below even, move the upper handle of the lower placeholder to the bottom of the line.</a:t>
            </a:r>
          </a:p>
        </p:txBody>
      </p:sp>
    </p:spTree>
    <p:extLst>
      <p:ext uri="{BB962C8B-B14F-4D97-AF65-F5344CB8AC3E}">
        <p14:creationId xmlns:p14="http://schemas.microsoft.com/office/powerpoint/2010/main" val="1815627584"/>
      </p:ext>
    </p:extLst>
  </p:cSld>
  <p:clrMapOvr>
    <a:masterClrMapping/>
  </p:clrMapOvr>
  <p:extLst>
    <p:ext uri="{DCECCB84-F9BA-43D5-87BE-67443E8EF086}">
      <p15:sldGuideLst xmlns:p15="http://schemas.microsoft.com/office/powerpoint/2012/main">
        <p15:guide id="1" orient="horz" pos="869">
          <p15:clr>
            <a:srgbClr val="FBAE40"/>
          </p15:clr>
        </p15:guide>
        <p15:guide id="2" pos="3754">
          <p15:clr>
            <a:srgbClr val="FBAE40"/>
          </p15:clr>
        </p15:guide>
        <p15:guide id="3" pos="3926">
          <p15:clr>
            <a:srgbClr val="FBAE40"/>
          </p15:clr>
        </p15:guide>
        <p15:guide id="4" pos="1875">
          <p15:clr>
            <a:srgbClr val="FBAE40"/>
          </p15:clr>
        </p15:guide>
        <p15:guide id="5" pos="2058">
          <p15:clr>
            <a:srgbClr val="FBAE40"/>
          </p15:clr>
        </p15:guide>
        <p15:guide id="6" pos="5622">
          <p15:clr>
            <a:srgbClr val="FBAE40"/>
          </p15:clr>
        </p15:guide>
        <p15:guide id="7" pos="580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ight Contents with Deposit">
    <p:spTree>
      <p:nvGrpSpPr>
        <p:cNvPr id="1" name=""/>
        <p:cNvGrpSpPr/>
        <p:nvPr/>
      </p:nvGrpSpPr>
      <p:grpSpPr>
        <a:xfrm>
          <a:off x="0" y="0"/>
          <a:ext cx="0" cy="0"/>
          <a:chOff x="0" y="0"/>
          <a:chExt cx="0" cy="0"/>
        </a:xfrm>
      </p:grpSpPr>
      <p:sp>
        <p:nvSpPr>
          <p:cNvPr id="54" name="Text Placeholder 53">
            <a:extLst>
              <a:ext uri="{FF2B5EF4-FFF2-40B4-BE49-F238E27FC236}">
                <a16:creationId xmlns:a16="http://schemas.microsoft.com/office/drawing/2014/main" id="{C1E507DF-D53B-3BE4-1A00-07C74C890A50}"/>
              </a:ext>
            </a:extLst>
          </p:cNvPr>
          <p:cNvSpPr>
            <a:spLocks noGrp="1"/>
          </p:cNvSpPr>
          <p:nvPr>
            <p:ph type="body" sz="quarter" idx="45"/>
          </p:nvPr>
        </p:nvSpPr>
        <p:spPr>
          <a:xfrm>
            <a:off x="288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bg2"/>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20" name="Picture Placeholder 19">
            <a:extLst>
              <a:ext uri="{FF2B5EF4-FFF2-40B4-BE49-F238E27FC236}">
                <a16:creationId xmlns:a16="http://schemas.microsoft.com/office/drawing/2014/main" id="{B81DD2EF-6E62-0069-4582-4CFA7F89136A}"/>
              </a:ext>
            </a:extLst>
          </p:cNvPr>
          <p:cNvSpPr>
            <a:spLocks noGrp="1"/>
          </p:cNvSpPr>
          <p:nvPr>
            <p:ph type="pic" sz="quarter" idx="32"/>
          </p:nvPr>
        </p:nvSpPr>
        <p:spPr>
          <a:xfrm>
            <a:off x="288000" y="3968525"/>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n-US" noProof="0" dirty="0"/>
              <a:t>Footer</a:t>
            </a:r>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Nº›</a:t>
            </a:fld>
            <a:endParaRPr lang="en-US" noProof="0" dirty="0"/>
          </a:p>
        </p:txBody>
      </p:sp>
      <p:sp>
        <p:nvSpPr>
          <p:cNvPr id="25" name="Picture Placeholder 24">
            <a:extLst>
              <a:ext uri="{FF2B5EF4-FFF2-40B4-BE49-F238E27FC236}">
                <a16:creationId xmlns:a16="http://schemas.microsoft.com/office/drawing/2014/main" id="{DAA20D63-B477-B8C1-E93C-EFEB50581D3B}"/>
              </a:ext>
            </a:extLst>
          </p:cNvPr>
          <p:cNvSpPr>
            <a:spLocks noGrp="1"/>
          </p:cNvSpPr>
          <p:nvPr>
            <p:ph type="pic" sz="quarter" idx="33"/>
          </p:nvPr>
        </p:nvSpPr>
        <p:spPr>
          <a:xfrm>
            <a:off x="6231600" y="1378800"/>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endParaRPr lang="en-US" dirty="0"/>
          </a:p>
        </p:txBody>
      </p:sp>
      <p:sp>
        <p:nvSpPr>
          <p:cNvPr id="55" name="Text Placeholder 54">
            <a:extLst>
              <a:ext uri="{FF2B5EF4-FFF2-40B4-BE49-F238E27FC236}">
                <a16:creationId xmlns:a16="http://schemas.microsoft.com/office/drawing/2014/main" id="{B8735F24-7570-5F03-F59D-0B5175E0FC14}"/>
              </a:ext>
            </a:extLst>
          </p:cNvPr>
          <p:cNvSpPr>
            <a:spLocks noGrp="1"/>
          </p:cNvSpPr>
          <p:nvPr>
            <p:ph type="body" sz="quarter" idx="46"/>
          </p:nvPr>
        </p:nvSpPr>
        <p:spPr>
          <a:xfrm>
            <a:off x="32688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C1D5FF"/>
          </a:solidFill>
        </p:spPr>
        <p:txBody>
          <a:bodyPr wrap="square" lIns="144000" tIns="144000" rIns="144000" bIns="144000" anchor="ctr" anchorCtr="0">
            <a:noAutofit/>
          </a:bodyPr>
          <a:lstStyle>
            <a:lvl1pPr algn="ctr">
              <a:defRPr>
                <a:solidFill>
                  <a:srgbClr val="003C70"/>
                </a:solidFill>
              </a:defRPr>
            </a:lvl1pPr>
            <a:lvl2pPr marL="0" indent="0" algn="ctr">
              <a:spcAft>
                <a:spcPts val="600"/>
              </a:spcAft>
              <a:buNone/>
              <a:defRPr sz="2000" b="1">
                <a:solidFill>
                  <a:srgbClr val="003C70"/>
                </a:solidFill>
              </a:defRPr>
            </a:lvl2pPr>
            <a:lvl3pPr marL="0" indent="0" algn="ctr">
              <a:spcAft>
                <a:spcPts val="600"/>
              </a:spcAft>
              <a:buNone/>
              <a:defRPr sz="3000" b="0">
                <a:solidFill>
                  <a:srgbClr val="003C70"/>
                </a:solidFill>
              </a:defRPr>
            </a:lvl3pPr>
            <a:lvl4pPr marL="0" indent="0" algn="ctr">
              <a:spcAft>
                <a:spcPts val="600"/>
              </a:spcAft>
              <a:buNone/>
              <a:defRPr sz="4800">
                <a:solidFill>
                  <a:srgbClr val="003C70"/>
                </a:solidFill>
              </a:defRPr>
            </a:lvl4pPr>
            <a:lvl5pPr>
              <a:spcAft>
                <a:spcPts val="600"/>
              </a:spcAft>
              <a:defRPr sz="1400">
                <a:solidFill>
                  <a:srgbClr val="003C70"/>
                </a:solidFill>
              </a:defRPr>
            </a:lvl5pPr>
            <a:lvl6pPr>
              <a:spcAft>
                <a:spcPts val="600"/>
              </a:spcAft>
              <a:defRPr sz="1400">
                <a:solidFill>
                  <a:srgbClr val="003C70"/>
                </a:solidFill>
              </a:defRPr>
            </a:lvl6pPr>
            <a:lvl7pPr>
              <a:spcAft>
                <a:spcPts val="600"/>
              </a:spcAft>
              <a:defRPr sz="1400">
                <a:solidFill>
                  <a:srgbClr val="003C70"/>
                </a:solidFill>
              </a:defRPr>
            </a:lvl7pPr>
            <a:lvl8pPr>
              <a:spcAft>
                <a:spcPts val="600"/>
              </a:spcAft>
              <a:defRPr sz="1400">
                <a:solidFill>
                  <a:srgbClr val="003C70"/>
                </a:solidFill>
              </a:defRPr>
            </a:lvl8pPr>
            <a:lvl9pPr>
              <a:defRPr>
                <a:solidFill>
                  <a:srgbClr val="003C70"/>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6" name="Text Placeholder 55">
            <a:extLst>
              <a:ext uri="{FF2B5EF4-FFF2-40B4-BE49-F238E27FC236}">
                <a16:creationId xmlns:a16="http://schemas.microsoft.com/office/drawing/2014/main" id="{0E93F332-4FA1-F307-866F-643689147FF1}"/>
              </a:ext>
            </a:extLst>
          </p:cNvPr>
          <p:cNvSpPr>
            <a:spLocks noGrp="1"/>
          </p:cNvSpPr>
          <p:nvPr>
            <p:ph type="body" sz="quarter" idx="47"/>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F1F1F1"/>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7" name="Text Placeholder 56">
            <a:extLst>
              <a:ext uri="{FF2B5EF4-FFF2-40B4-BE49-F238E27FC236}">
                <a16:creationId xmlns:a16="http://schemas.microsoft.com/office/drawing/2014/main" id="{70C187E0-20D0-F7FF-79B9-F04FD6912A4D}"/>
              </a:ext>
            </a:extLst>
          </p:cNvPr>
          <p:cNvSpPr>
            <a:spLocks noGrp="1"/>
          </p:cNvSpPr>
          <p:nvPr>
            <p:ph type="body" sz="quarter" idx="48"/>
          </p:nvPr>
        </p:nvSpPr>
        <p:spPr>
          <a:xfrm>
            <a:off x="32688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003C70"/>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8" name="Text Placeholder 57">
            <a:extLst>
              <a:ext uri="{FF2B5EF4-FFF2-40B4-BE49-F238E27FC236}">
                <a16:creationId xmlns:a16="http://schemas.microsoft.com/office/drawing/2014/main" id="{1BC731CC-642E-FB66-5FD0-1285316114EF}"/>
              </a:ext>
            </a:extLst>
          </p:cNvPr>
          <p:cNvSpPr>
            <a:spLocks noGrp="1"/>
          </p:cNvSpPr>
          <p:nvPr>
            <p:ph type="body" sz="quarter" idx="49"/>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9" name="Text Placeholder 58">
            <a:extLst>
              <a:ext uri="{FF2B5EF4-FFF2-40B4-BE49-F238E27FC236}">
                <a16:creationId xmlns:a16="http://schemas.microsoft.com/office/drawing/2014/main" id="{C83C8507-E210-DECE-2D86-30260E35228F}"/>
              </a:ext>
            </a:extLst>
          </p:cNvPr>
          <p:cNvSpPr>
            <a:spLocks noGrp="1"/>
          </p:cNvSpPr>
          <p:nvPr>
            <p:ph type="body" sz="quarter" idx="50"/>
          </p:nvPr>
        </p:nvSpPr>
        <p:spPr>
          <a:xfrm>
            <a:off x="6231600" y="3968525"/>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6" name="Abgerundete rechteckige Legende 10">
            <a:extLst>
              <a:ext uri="{FF2B5EF4-FFF2-40B4-BE49-F238E27FC236}">
                <a16:creationId xmlns:a16="http://schemas.microsoft.com/office/drawing/2014/main" id="{7A83FDD1-5D7F-AB43-7505-67B40F321B4D}"/>
              </a:ext>
            </a:extLst>
          </p:cNvPr>
          <p:cNvSpPr/>
          <p:nvPr userDrawn="1"/>
        </p:nvSpPr>
        <p:spPr>
          <a:xfrm>
            <a:off x="-2808000" y="1448049"/>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on’t change placeholder sizes!</a:t>
            </a:r>
          </a:p>
        </p:txBody>
      </p:sp>
    </p:spTree>
    <p:extLst>
      <p:ext uri="{BB962C8B-B14F-4D97-AF65-F5344CB8AC3E}">
        <p14:creationId xmlns:p14="http://schemas.microsoft.com/office/powerpoint/2010/main" val="685169203"/>
      </p:ext>
    </p:extLst>
  </p:cSld>
  <p:clrMapOvr>
    <a:masterClrMapping/>
  </p:clrMapOvr>
  <p:extLst>
    <p:ext uri="{DCECCB84-F9BA-43D5-87BE-67443E8EF086}">
      <p15:sldGuideLst xmlns:p15="http://schemas.microsoft.com/office/powerpoint/2012/main">
        <p15:guide id="1" orient="horz" pos="867">
          <p15:clr>
            <a:srgbClr val="FBAE40"/>
          </p15:clr>
        </p15:guide>
        <p15:guide id="2" pos="3754">
          <p15:clr>
            <a:srgbClr val="FBAE40"/>
          </p15:clr>
        </p15:guide>
        <p15:guide id="3" pos="3926">
          <p15:clr>
            <a:srgbClr val="FBAE40"/>
          </p15:clr>
        </p15:guide>
        <p15:guide id="4" pos="1875">
          <p15:clr>
            <a:srgbClr val="FBAE40"/>
          </p15:clr>
        </p15:guide>
        <p15:guide id="5" pos="2058">
          <p15:clr>
            <a:srgbClr val="FBAE40"/>
          </p15:clr>
        </p15:guide>
        <p15:guide id="6" pos="5622">
          <p15:clr>
            <a:srgbClr val="FBAE40"/>
          </p15:clr>
        </p15:guide>
        <p15:guide id="7" pos="5804">
          <p15:clr>
            <a:srgbClr val="FBAE40"/>
          </p15:clr>
        </p15:guide>
        <p15:guide id="8" orient="horz" pos="2327">
          <p15:clr>
            <a:srgbClr val="FBAE40"/>
          </p15:clr>
        </p15:guide>
        <p15:guide id="9" orient="horz" pos="249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with picture">
    <p:bg>
      <p:bgPr>
        <a:solidFill>
          <a:srgbClr val="003C70"/>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0DDA66E8-9E80-6F8E-3097-58A7888CC3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tx2"/>
                </a:solidFill>
              </a:defRPr>
            </a:lvl1pPr>
          </a:lstStyle>
          <a:p>
            <a:r>
              <a:rPr lang="en-US" dirty="0"/>
              <a:t>Click to edit Master title style</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n-US" dirty="0"/>
              <a:t>Footer</a:t>
            </a:r>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A7429042-57AB-06D1-342B-2011144DE143}"/>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US" dirty="0"/>
              <a:t>.</a:t>
            </a:r>
          </a:p>
        </p:txBody>
      </p:sp>
      <p:sp>
        <p:nvSpPr>
          <p:cNvPr id="5" name="Abgerundete rechteckige Legende 10">
            <a:extLst>
              <a:ext uri="{FF2B5EF4-FFF2-40B4-BE49-F238E27FC236}">
                <a16:creationId xmlns:a16="http://schemas.microsoft.com/office/drawing/2014/main" id="{461039C2-3991-4B3D-9032-6AC261ED599F}"/>
              </a:ext>
            </a:extLst>
          </p:cNvPr>
          <p:cNvSpPr/>
          <p:nvPr userDrawn="1"/>
        </p:nvSpPr>
        <p:spPr>
          <a:xfrm>
            <a:off x="-2808000" y="2418168"/>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itle for slide with picture</a:t>
            </a:r>
          </a:p>
        </p:txBody>
      </p:sp>
      <p:sp>
        <p:nvSpPr>
          <p:cNvPr id="6" name="Abgerundete rechteckige Legende 10">
            <a:extLst>
              <a:ext uri="{FF2B5EF4-FFF2-40B4-BE49-F238E27FC236}">
                <a16:creationId xmlns:a16="http://schemas.microsoft.com/office/drawing/2014/main" id="{8CF92884-A372-805E-4DCD-6F28DF8E53C8}"/>
              </a:ext>
            </a:extLst>
          </p:cNvPr>
          <p:cNvSpPr/>
          <p:nvPr userDrawn="1"/>
        </p:nvSpPr>
        <p:spPr>
          <a:xfrm>
            <a:off x="12312000" y="5663489"/>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484877119"/>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ight different Contents with Deposit">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F687EB98-B074-7A44-75A0-1471BA240A4A}"/>
              </a:ext>
            </a:extLst>
          </p:cNvPr>
          <p:cNvSpPr>
            <a:spLocks noGrp="1"/>
          </p:cNvSpPr>
          <p:nvPr>
            <p:ph type="pic" sz="quarter" idx="46"/>
          </p:nvPr>
        </p:nvSpPr>
        <p:spPr>
          <a:xfrm>
            <a:off x="288001" y="1379538"/>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n-US" noProof="0" dirty="0"/>
              <a:t>Footer</a:t>
            </a:r>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Nº›</a:t>
            </a:fld>
            <a:endParaRPr lang="en-US" noProof="0" dirty="0"/>
          </a:p>
        </p:txBody>
      </p:sp>
      <p:sp>
        <p:nvSpPr>
          <p:cNvPr id="28" name="Picture Placeholder 27">
            <a:extLst>
              <a:ext uri="{FF2B5EF4-FFF2-40B4-BE49-F238E27FC236}">
                <a16:creationId xmlns:a16="http://schemas.microsoft.com/office/drawing/2014/main" id="{D9EE9B09-12C0-5733-2DA6-5E041426680E}"/>
              </a:ext>
            </a:extLst>
          </p:cNvPr>
          <p:cNvSpPr>
            <a:spLocks noGrp="1"/>
          </p:cNvSpPr>
          <p:nvPr>
            <p:ph type="pic" sz="quarter" idx="47"/>
          </p:nvPr>
        </p:nvSpPr>
        <p:spPr>
          <a:xfrm>
            <a:off x="32688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29" name="Picture Placeholder 28">
            <a:extLst>
              <a:ext uri="{FF2B5EF4-FFF2-40B4-BE49-F238E27FC236}">
                <a16:creationId xmlns:a16="http://schemas.microsoft.com/office/drawing/2014/main" id="{0732F8AC-AEB3-A27F-8C44-736695E49607}"/>
              </a:ext>
            </a:extLst>
          </p:cNvPr>
          <p:cNvSpPr>
            <a:spLocks noGrp="1"/>
          </p:cNvSpPr>
          <p:nvPr>
            <p:ph type="pic" sz="quarter" idx="48"/>
          </p:nvPr>
        </p:nvSpPr>
        <p:spPr>
          <a:xfrm>
            <a:off x="62316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30" name="Text Placeholder 29">
            <a:extLst>
              <a:ext uri="{FF2B5EF4-FFF2-40B4-BE49-F238E27FC236}">
                <a16:creationId xmlns:a16="http://schemas.microsoft.com/office/drawing/2014/main" id="{A1AC30F5-0F2F-BFF5-D1BA-25A2F146EDF7}"/>
              </a:ext>
            </a:extLst>
          </p:cNvPr>
          <p:cNvSpPr>
            <a:spLocks noGrp="1"/>
          </p:cNvSpPr>
          <p:nvPr>
            <p:ph type="body" sz="quarter" idx="49"/>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003C70"/>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1" name="Text Placeholder 30">
            <a:extLst>
              <a:ext uri="{FF2B5EF4-FFF2-40B4-BE49-F238E27FC236}">
                <a16:creationId xmlns:a16="http://schemas.microsoft.com/office/drawing/2014/main" id="{203FA84C-056A-53BE-456B-CCD449F5A7DB}"/>
              </a:ext>
            </a:extLst>
          </p:cNvPr>
          <p:cNvSpPr>
            <a:spLocks noGrp="1"/>
          </p:cNvSpPr>
          <p:nvPr>
            <p:ph type="body" sz="quarter" idx="50"/>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003C70"/>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0">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8" name="Text Placeholder 37">
            <a:extLst>
              <a:ext uri="{FF2B5EF4-FFF2-40B4-BE49-F238E27FC236}">
                <a16:creationId xmlns:a16="http://schemas.microsoft.com/office/drawing/2014/main" id="{84754BB6-3C5A-A7FC-96F2-0712A88702E9}"/>
              </a:ext>
            </a:extLst>
          </p:cNvPr>
          <p:cNvSpPr>
            <a:spLocks noGrp="1"/>
          </p:cNvSpPr>
          <p:nvPr>
            <p:ph type="body" sz="quarter" idx="51"/>
          </p:nvPr>
        </p:nvSpPr>
        <p:spPr>
          <a:xfrm>
            <a:off x="2880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9" name="Text Placeholder 38">
            <a:extLst>
              <a:ext uri="{FF2B5EF4-FFF2-40B4-BE49-F238E27FC236}">
                <a16:creationId xmlns:a16="http://schemas.microsoft.com/office/drawing/2014/main" id="{E974E1D0-D962-84A4-9F54-83801EF3D47C}"/>
              </a:ext>
            </a:extLst>
          </p:cNvPr>
          <p:cNvSpPr>
            <a:spLocks noGrp="1"/>
          </p:cNvSpPr>
          <p:nvPr>
            <p:ph type="body" sz="quarter" idx="52"/>
          </p:nvPr>
        </p:nvSpPr>
        <p:spPr>
          <a:xfrm>
            <a:off x="32688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bg2"/>
          </a:solidFill>
        </p:spPr>
        <p:txBody>
          <a:bodyPr wrap="square" lIns="144000" tIns="144000" rIns="144000" bIns="144000" anchor="ctr" anchorCtr="0">
            <a:noAutofit/>
          </a:bodyPr>
          <a:lstStyle>
            <a:lvl1pPr algn="ctr">
              <a:defRPr>
                <a:solidFill>
                  <a:schemeClr val="tx2"/>
                </a:solidFill>
              </a:defRPr>
            </a:lvl1pPr>
            <a:lvl2pPr marL="0" indent="0" algn="ctr">
              <a:spcAft>
                <a:spcPts val="600"/>
              </a:spcAft>
              <a:buNone/>
              <a:defRPr sz="2000" b="1">
                <a:solidFill>
                  <a:schemeClr val="tx2"/>
                </a:solidFill>
              </a:defRPr>
            </a:lvl2pPr>
            <a:lvl3pPr marL="0" indent="0" algn="ctr">
              <a:spcAft>
                <a:spcPts val="600"/>
              </a:spcAft>
              <a:buNone/>
              <a:defRPr sz="3000" b="0">
                <a:solidFill>
                  <a:schemeClr val="tx2"/>
                </a:solidFill>
              </a:defRPr>
            </a:lvl3pPr>
            <a:lvl4pPr marL="0" indent="0" algn="ctr">
              <a:spcAft>
                <a:spcPts val="600"/>
              </a:spcAft>
              <a:buNone/>
              <a:defRPr sz="4800">
                <a:solidFill>
                  <a:schemeClr val="tx2"/>
                </a:solidFill>
              </a:defRPr>
            </a:lvl4pPr>
            <a:lvl5pPr>
              <a:spcAft>
                <a:spcPts val="600"/>
              </a:spcAft>
              <a:defRPr sz="1400">
                <a:solidFill>
                  <a:schemeClr val="tx2"/>
                </a:solidFill>
              </a:defRPr>
            </a:lvl5pPr>
            <a:lvl6pPr>
              <a:spcAft>
                <a:spcPts val="600"/>
              </a:spcAft>
              <a:defRPr sz="1400">
                <a:solidFill>
                  <a:schemeClr val="tx2"/>
                </a:solidFill>
              </a:defRPr>
            </a:lvl6pPr>
            <a:lvl7pPr>
              <a:spcAft>
                <a:spcPts val="600"/>
              </a:spcAft>
              <a:defRPr sz="1400">
                <a:solidFill>
                  <a:schemeClr val="tx2"/>
                </a:solidFill>
              </a:defRPr>
            </a:lvl7pPr>
            <a:lvl8pPr>
              <a:spcAft>
                <a:spcPts val="600"/>
              </a:spcAft>
              <a:defRPr sz="1400">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40" name="Text Placeholder 39">
            <a:extLst>
              <a:ext uri="{FF2B5EF4-FFF2-40B4-BE49-F238E27FC236}">
                <a16:creationId xmlns:a16="http://schemas.microsoft.com/office/drawing/2014/main" id="{A6BCC89B-09E3-E8EB-D377-C04935A26673}"/>
              </a:ext>
            </a:extLst>
          </p:cNvPr>
          <p:cNvSpPr>
            <a:spLocks noGrp="1"/>
          </p:cNvSpPr>
          <p:nvPr>
            <p:ph type="body" sz="quarter" idx="53"/>
          </p:nvPr>
        </p:nvSpPr>
        <p:spPr>
          <a:xfrm>
            <a:off x="62316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6" name="Abgerundete rechteckige Legende 10">
            <a:extLst>
              <a:ext uri="{FF2B5EF4-FFF2-40B4-BE49-F238E27FC236}">
                <a16:creationId xmlns:a16="http://schemas.microsoft.com/office/drawing/2014/main" id="{FE4DB7AE-57D2-C57D-EA41-DAD925BBFED8}"/>
              </a:ext>
            </a:extLst>
          </p:cNvPr>
          <p:cNvSpPr/>
          <p:nvPr userDrawn="1"/>
        </p:nvSpPr>
        <p:spPr>
          <a:xfrm>
            <a:off x="-2808000" y="1448049"/>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on’t change placeholder sizes!</a:t>
            </a:r>
          </a:p>
        </p:txBody>
      </p:sp>
    </p:spTree>
    <p:extLst>
      <p:ext uri="{BB962C8B-B14F-4D97-AF65-F5344CB8AC3E}">
        <p14:creationId xmlns:p14="http://schemas.microsoft.com/office/powerpoint/2010/main" val="2501182424"/>
      </p:ext>
    </p:extLst>
  </p:cSld>
  <p:clrMapOvr>
    <a:masterClrMapping/>
  </p:clrMapOvr>
  <p:extLst>
    <p:ext uri="{DCECCB84-F9BA-43D5-87BE-67443E8EF086}">
      <p15:sldGuideLst xmlns:p15="http://schemas.microsoft.com/office/powerpoint/2012/main">
        <p15:guide id="1" orient="horz" pos="867">
          <p15:clr>
            <a:srgbClr val="FBAE40"/>
          </p15:clr>
        </p15:guide>
        <p15:guide id="2" pos="3754">
          <p15:clr>
            <a:srgbClr val="FBAE40"/>
          </p15:clr>
        </p15:guide>
        <p15:guide id="3" pos="3926">
          <p15:clr>
            <a:srgbClr val="FBAE40"/>
          </p15:clr>
        </p15:guide>
        <p15:guide id="4" pos="1875">
          <p15:clr>
            <a:srgbClr val="FBAE40"/>
          </p15:clr>
        </p15:guide>
        <p15:guide id="5" pos="2058">
          <p15:clr>
            <a:srgbClr val="FBAE40"/>
          </p15:clr>
        </p15:guide>
        <p15:guide id="6" pos="5622">
          <p15:clr>
            <a:srgbClr val="FBAE40"/>
          </p15:clr>
        </p15:guide>
        <p15:guide id="7" pos="5804">
          <p15:clr>
            <a:srgbClr val="FBAE40"/>
          </p15:clr>
        </p15:guide>
        <p15:guide id="8" orient="horz" pos="2327">
          <p15:clr>
            <a:srgbClr val="FBAE40"/>
          </p15:clr>
        </p15:guide>
        <p15:guide id="9" orient="horz" pos="249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genda large light">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5" y="212400"/>
            <a:ext cx="8567739" cy="6073775"/>
          </a:xfrm>
        </p:spPr>
        <p:txBody>
          <a:bodyPr/>
          <a:lstStyle>
            <a:lvl1pPr>
              <a:defRPr sz="2000" b="0"/>
            </a:lvl1pPr>
          </a:lstStyle>
          <a:p>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pic>
        <p:nvPicPr>
          <p:cNvPr id="4" name="Grafik 10">
            <a:extLst>
              <a:ext uri="{FF2B5EF4-FFF2-40B4-BE49-F238E27FC236}">
                <a16:creationId xmlns:a16="http://schemas.microsoft.com/office/drawing/2014/main" id="{B581DD6D-83FF-0267-E76E-43ED8CE245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5" name="Abgerundete rechteckige Legende 10">
            <a:extLst>
              <a:ext uri="{FF2B5EF4-FFF2-40B4-BE49-F238E27FC236}">
                <a16:creationId xmlns:a16="http://schemas.microsoft.com/office/drawing/2014/main" id="{E065A6DC-EFCD-A20B-698B-B0343D60C4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723016256"/>
      </p:ext>
    </p:extLst>
  </p:cSld>
  <p:clrMapOvr>
    <a:masterClrMapping/>
  </p:clrMapOvr>
  <p:extLst>
    <p:ext uri="{DCECCB84-F9BA-43D5-87BE-67443E8EF086}">
      <p15:sldGuideLst xmlns:p15="http://schemas.microsoft.com/office/powerpoint/2012/main">
        <p15:guide id="2" pos="5159">
          <p15:clr>
            <a:srgbClr val="FBAE40"/>
          </p15:clr>
        </p15:guide>
        <p15:guide id="3" pos="5579">
          <p15:clr>
            <a:srgbClr val="FBAE40"/>
          </p15:clr>
        </p15:guide>
        <p15:guide id="4" pos="84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genda large dark">
    <p:bg>
      <p:bgPr>
        <a:solidFill>
          <a:srgbClr val="3C3E0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8" y="212400"/>
            <a:ext cx="8568000" cy="6073775"/>
          </a:xfrm>
        </p:spPr>
        <p:txBody>
          <a:bodyPr/>
          <a:lstStyle>
            <a:lvl1pPr>
              <a:defRPr sz="2000" b="0">
                <a:solidFill>
                  <a:schemeClr val="bg1"/>
                </a:solidFill>
              </a:defRPr>
            </a:lvl1pPr>
          </a:lstStyle>
          <a:p>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lvl1pPr>
              <a:defRPr>
                <a:solidFill>
                  <a:schemeClr val="bg1"/>
                </a:solidFill>
              </a:defRPr>
            </a:lvl1pPr>
          </a:lstStyle>
          <a:p>
            <a:r>
              <a:rPr lang="en-US" dirty="0"/>
              <a:t>Footer</a:t>
            </a:r>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Nº›</a:t>
            </a:fld>
            <a:endParaRPr lang="en-US" dirty="0"/>
          </a:p>
        </p:txBody>
      </p:sp>
      <p:pic>
        <p:nvPicPr>
          <p:cNvPr id="4" name="Grafik 10">
            <a:extLst>
              <a:ext uri="{FF2B5EF4-FFF2-40B4-BE49-F238E27FC236}">
                <a16:creationId xmlns:a16="http://schemas.microsoft.com/office/drawing/2014/main" id="{CAC3FDC3-BFBF-F503-C15E-859DD8CB74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a:solidFill>
            <a:srgbClr val="003C70"/>
          </a:solidFill>
        </p:spPr>
        <p:txBody>
          <a:bodyPr wrap="square" lIns="288000">
            <a:noAutofit/>
          </a:bodyPr>
          <a:lstStyle>
            <a:lvl1pPr>
              <a:defRPr>
                <a:solidFill>
                  <a:schemeClr val="bg1"/>
                </a:solidFill>
              </a:defRPr>
            </a:lvl1pPr>
          </a:lstStyle>
          <a:p>
            <a:endParaRPr lang="en-US" dirty="0"/>
          </a:p>
        </p:txBody>
      </p:sp>
      <p:sp>
        <p:nvSpPr>
          <p:cNvPr id="5" name="Abgerundete rechteckige Legende 10">
            <a:extLst>
              <a:ext uri="{FF2B5EF4-FFF2-40B4-BE49-F238E27FC236}">
                <a16:creationId xmlns:a16="http://schemas.microsoft.com/office/drawing/2014/main" id="{437FB8C9-FCA3-EE10-9158-56F19DB093D2}"/>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457227549"/>
      </p:ext>
    </p:extLst>
  </p:cSld>
  <p:clrMapOvr>
    <a:masterClrMapping/>
  </p:clrMapOvr>
  <p:extLst>
    <p:ext uri="{DCECCB84-F9BA-43D5-87BE-67443E8EF086}">
      <p15:sldGuideLst xmlns:p15="http://schemas.microsoft.com/office/powerpoint/2012/main">
        <p15:guide id="2" pos="5161">
          <p15:clr>
            <a:srgbClr val="FBAE40"/>
          </p15:clr>
        </p15:guide>
        <p15:guide id="3" pos="5579">
          <p15:clr>
            <a:srgbClr val="FBAE40"/>
          </p15:clr>
        </p15:guide>
        <p15:guide id="4" pos="84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genda small light">
    <p:bg>
      <p:bgPr>
        <a:solidFill>
          <a:srgbClr val="003C70"/>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9" name="Table Placeholder 14">
            <a:extLst>
              <a:ext uri="{FF2B5EF4-FFF2-40B4-BE49-F238E27FC236}">
                <a16:creationId xmlns:a16="http://schemas.microsoft.com/office/drawing/2014/main" id="{7BE4ABD4-8A17-D127-FE2B-06483E4EF321}"/>
              </a:ext>
            </a:extLst>
          </p:cNvPr>
          <p:cNvSpPr>
            <a:spLocks noGrp="1"/>
          </p:cNvSpPr>
          <p:nvPr>
            <p:ph type="tbl" sz="quarter" idx="24"/>
          </p:nvPr>
        </p:nvSpPr>
        <p:spPr>
          <a:xfrm>
            <a:off x="287338" y="212400"/>
            <a:ext cx="5356225" cy="6073775"/>
          </a:xfrm>
        </p:spPr>
        <p:txBody>
          <a:bodyPr/>
          <a:lstStyle>
            <a:lvl1pPr>
              <a:defRPr sz="2000" b="0"/>
            </a:lvl1pPr>
          </a:lstStyle>
          <a:p>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n-US" noProof="0"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pic>
        <p:nvPicPr>
          <p:cNvPr id="4" name="Grafik 10">
            <a:extLst>
              <a:ext uri="{FF2B5EF4-FFF2-40B4-BE49-F238E27FC236}">
                <a16:creationId xmlns:a16="http://schemas.microsoft.com/office/drawing/2014/main" id="{16741C30-F2D2-5A43-164C-4D6DA6BFA2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 name="Abgerundete rechteckige Legende 10">
            <a:extLst>
              <a:ext uri="{FF2B5EF4-FFF2-40B4-BE49-F238E27FC236}">
                <a16:creationId xmlns:a16="http://schemas.microsoft.com/office/drawing/2014/main" id="{51F8C44E-1146-FBE5-7960-A4903CC29DE4}"/>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1954819791"/>
      </p:ext>
    </p:extLst>
  </p:cSld>
  <p:clrMapOvr>
    <a:masterClrMapping/>
  </p:clrMapOvr>
  <p:extLst>
    <p:ext uri="{DCECCB84-F9BA-43D5-87BE-67443E8EF086}">
      <p15:sldGuideLst xmlns:p15="http://schemas.microsoft.com/office/powerpoint/2012/main">
        <p15:guide id="2" pos="355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with sub-poi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p:txBody>
          <a:bodyPr/>
          <a:lstStyle/>
          <a:p>
            <a:r>
              <a:rPr lang="en-US" noProof="0" dirty="0"/>
              <a:t>Click to edit Master title style</a:t>
            </a:r>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r>
              <a:rPr lang="en-US" noProof="0" dirty="0"/>
              <a:t>Footer</a:t>
            </a:r>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12" name="Table Placeholder 11">
            <a:extLst>
              <a:ext uri="{FF2B5EF4-FFF2-40B4-BE49-F238E27FC236}">
                <a16:creationId xmlns:a16="http://schemas.microsoft.com/office/drawing/2014/main" id="{19E379EB-7AC3-7232-E7ED-82AAD359758C}"/>
              </a:ext>
            </a:extLst>
          </p:cNvPr>
          <p:cNvSpPr>
            <a:spLocks noGrp="1"/>
          </p:cNvSpPr>
          <p:nvPr>
            <p:ph type="tbl" sz="quarter" idx="18"/>
          </p:nvPr>
        </p:nvSpPr>
        <p:spPr>
          <a:xfrm>
            <a:off x="287338" y="1378800"/>
            <a:ext cx="11617200" cy="4903200"/>
          </a:xfrm>
        </p:spPr>
        <p:txBody>
          <a:bodyPr/>
          <a:lstStyle>
            <a:lvl1pPr>
              <a:defRPr b="0"/>
            </a:lvl1pPr>
          </a:lstStyle>
          <a:p>
            <a:endParaRPr lang="en-US" dirty="0"/>
          </a:p>
        </p:txBody>
      </p:sp>
    </p:spTree>
    <p:extLst>
      <p:ext uri="{BB962C8B-B14F-4D97-AF65-F5344CB8AC3E}">
        <p14:creationId xmlns:p14="http://schemas.microsoft.com/office/powerpoint/2010/main" val="1376242980"/>
      </p:ext>
    </p:extLst>
  </p:cSld>
  <p:clrMapOvr>
    <a:masterClrMapping/>
  </p:clrMapOvr>
  <p:extLst>
    <p:ext uri="{DCECCB84-F9BA-43D5-87BE-67443E8EF086}">
      <p15:sldGuideLst xmlns:p15="http://schemas.microsoft.com/office/powerpoint/2012/main">
        <p15:guide id="1" orient="horz" pos="86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n-US" noProof="0"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fik 10">
            <a:extLst>
              <a:ext uri="{FF2B5EF4-FFF2-40B4-BE49-F238E27FC236}">
                <a16:creationId xmlns:a16="http://schemas.microsoft.com/office/drawing/2014/main" id="{49018480-D069-72D4-6596-EE4F4966719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7" name="Abgerundete rechteckige Legende 10">
            <a:extLst>
              <a:ext uri="{FF2B5EF4-FFF2-40B4-BE49-F238E27FC236}">
                <a16:creationId xmlns:a16="http://schemas.microsoft.com/office/drawing/2014/main" id="{17815FB8-BE65-43E5-C132-2A6BF4B82190}"/>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946D2E3D-7A80-AEAD-7A02-3C8ADA6D4CD1}"/>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1327847477"/>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orient="horz" pos="913">
          <p15:clr>
            <a:srgbClr val="FBAE40"/>
          </p15:clr>
        </p15:guide>
        <p15:guide id="4" pos="872">
          <p15:clr>
            <a:srgbClr val="FBAE40"/>
          </p15:clr>
        </p15:guide>
        <p15:guide id="5" orient="horz" pos="1911">
          <p15:clr>
            <a:srgbClr val="FBAE40"/>
          </p15:clr>
        </p15:guide>
        <p15:guide id="6" orient="horz" pos="290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act small light,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n-US" noProof="0"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Abgerundete rechteckige Legende 10">
            <a:extLst>
              <a:ext uri="{FF2B5EF4-FFF2-40B4-BE49-F238E27FC236}">
                <a16:creationId xmlns:a16="http://schemas.microsoft.com/office/drawing/2014/main" id="{D47EAAA7-B323-051A-3A9A-700216EC7912}"/>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7" name="Abgerundete rechteckige Legende 10">
            <a:extLst>
              <a:ext uri="{FF2B5EF4-FFF2-40B4-BE49-F238E27FC236}">
                <a16:creationId xmlns:a16="http://schemas.microsoft.com/office/drawing/2014/main" id="{6AA0F885-4F8F-E8FC-87E1-1BCBEA632984}"/>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709522168"/>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orient="horz" pos="913">
          <p15:clr>
            <a:srgbClr val="FBAE40"/>
          </p15:clr>
        </p15:guide>
        <p15:guide id="4" pos="872">
          <p15:clr>
            <a:srgbClr val="FBAE40"/>
          </p15:clr>
        </p15:guide>
        <p15:guide id="5" orient="horz" pos="1911">
          <p15:clr>
            <a:srgbClr val="FBAE40"/>
          </p15:clr>
        </p15:guide>
        <p15:guide id="6" orient="horz" pos="290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act large l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6" y="211525"/>
            <a:ext cx="7669213"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n-US" noProof="0"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59"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endParaRPr lang="en-US" dirty="0"/>
          </a:p>
        </p:txBody>
      </p:sp>
      <p:sp>
        <p:nvSpPr>
          <p:cNvPr id="5" name="Abgerundete rechteckige Legende 10">
            <a:extLst>
              <a:ext uri="{FF2B5EF4-FFF2-40B4-BE49-F238E27FC236}">
                <a16:creationId xmlns:a16="http://schemas.microsoft.com/office/drawing/2014/main" id="{B2DAF909-A1A2-E1E1-72DB-73022240E5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7A281D4B-EB59-DE9F-0273-5D689A5BB17B}"/>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2560581488"/>
      </p:ext>
    </p:extLst>
  </p:cSld>
  <p:clrMapOvr>
    <a:masterClrMapping/>
  </p:clrMapOvr>
  <p:extLst>
    <p:ext uri="{DCECCB84-F9BA-43D5-87BE-67443E8EF086}">
      <p15:sldGuideLst xmlns:p15="http://schemas.microsoft.com/office/powerpoint/2012/main">
        <p15:guide id="1" orient="horz" pos="869">
          <p15:clr>
            <a:srgbClr val="FBAE40"/>
          </p15:clr>
        </p15:guide>
        <p15:guide id="2" pos="2819">
          <p15:clr>
            <a:srgbClr val="FBAE40"/>
          </p15:clr>
        </p15:guide>
        <p15:guide id="3" orient="horz" pos="913">
          <p15:clr>
            <a:srgbClr val="FBAE40"/>
          </p15:clr>
        </p15:guide>
        <p15:guide id="4" pos="872">
          <p15:clr>
            <a:srgbClr val="FBAE40"/>
          </p15:clr>
        </p15:guide>
        <p15:guide id="5" orient="horz" pos="1911">
          <p15:clr>
            <a:srgbClr val="FBAE40"/>
          </p15:clr>
        </p15:guide>
        <p15:guide id="6" orient="horz" pos="2908">
          <p15:clr>
            <a:srgbClr val="FBAE40"/>
          </p15:clr>
        </p15:guide>
        <p15:guide id="7" pos="3512">
          <p15:clr>
            <a:srgbClr val="FBAE40"/>
          </p15:clr>
        </p15:guide>
        <p15:guide id="8" pos="501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 large dark">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7" name="Graphic 4">
            <a:extLst>
              <a:ext uri="{FF2B5EF4-FFF2-40B4-BE49-F238E27FC236}">
                <a16:creationId xmlns:a16="http://schemas.microsoft.com/office/drawing/2014/main" id="{18856E0D-BA88-5530-3929-C472EBBF987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tx2"/>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7668000" cy="612000"/>
          </a:xfrm>
        </p:spPr>
        <p:txBody>
          <a:bodyPr/>
          <a:lstStyle>
            <a:lvl1pPr>
              <a:defRPr>
                <a:solidFill>
                  <a:schemeClr val="bg1"/>
                </a:solidFill>
              </a:defRPr>
            </a:lvl1p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lvl1pPr>
              <a:defRPr>
                <a:solidFill>
                  <a:schemeClr val="bg1"/>
                </a:solidFill>
              </a:defRPr>
            </a:lvl1pPr>
          </a:lstStyle>
          <a:p>
            <a:r>
              <a:rPr lang="en-US"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Nº›</a:t>
            </a:fld>
            <a:endParaRPr lang="en-US"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60"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endParaRPr lang="en-US" dirty="0"/>
          </a:p>
        </p:txBody>
      </p:sp>
      <p:cxnSp>
        <p:nvCxnSpPr>
          <p:cNvPr id="17" name="Gerade Verbindung 61">
            <a:extLst>
              <a:ext uri="{FF2B5EF4-FFF2-40B4-BE49-F238E27FC236}">
                <a16:creationId xmlns:a16="http://schemas.microsoft.com/office/drawing/2014/main" id="{80C5D521-F036-9A83-0F87-2C8872A57862}"/>
              </a:ext>
            </a:extLst>
          </p:cNvPr>
          <p:cNvCxnSpPr>
            <a:cxnSpLocks/>
          </p:cNvCxnSpPr>
          <p:nvPr userDrawn="1"/>
        </p:nvCxnSpPr>
        <p:spPr>
          <a:xfrm>
            <a:off x="0" y="1036800"/>
            <a:ext cx="803583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Online Image Placeholder 45">
            <a:extLst>
              <a:ext uri="{FF2B5EF4-FFF2-40B4-BE49-F238E27FC236}">
                <a16:creationId xmlns:a16="http://schemas.microsoft.com/office/drawing/2014/main" id="{5316C3A1-F248-4622-463A-34208F436AF0}"/>
              </a:ext>
            </a:extLst>
          </p:cNvPr>
          <p:cNvSpPr>
            <a:spLocks noGrp="1"/>
          </p:cNvSpPr>
          <p:nvPr>
            <p:ph type="clipArt" sz="quarter" idx="36" hasCustomPrompt="1"/>
          </p:nvPr>
        </p:nvSpPr>
        <p:spPr>
          <a:xfrm>
            <a:off x="8211600" y="568800"/>
            <a:ext cx="3693600" cy="1234387"/>
          </a:xfrm>
          <a:custGeom>
            <a:avLst/>
            <a:gdLst>
              <a:gd name="connsiteX0" fmla="*/ 3669331 w 3693600"/>
              <a:gd name="connsiteY0" fmla="*/ 0 h 1234387"/>
              <a:gd name="connsiteX1" fmla="*/ 3693600 w 3693600"/>
              <a:gd name="connsiteY1" fmla="*/ 0 h 1234387"/>
              <a:gd name="connsiteX2" fmla="*/ 3693600 w 3693600"/>
              <a:gd name="connsiteY2" fmla="*/ 11828 h 1234387"/>
              <a:gd name="connsiteX3" fmla="*/ 3684966 w 3693600"/>
              <a:gd name="connsiteY3" fmla="*/ 97215 h 1234387"/>
              <a:gd name="connsiteX4" fmla="*/ 3211826 w 3693600"/>
              <a:gd name="connsiteY4" fmla="*/ 482976 h 1234387"/>
              <a:gd name="connsiteX5" fmla="*/ 482971 w 3693600"/>
              <a:gd name="connsiteY5" fmla="*/ 482976 h 1234387"/>
              <a:gd name="connsiteX6" fmla="*/ 25466 w 3693600"/>
              <a:gd name="connsiteY6" fmla="*/ 940487 h 1234387"/>
              <a:gd name="connsiteX7" fmla="*/ 25466 w 3693600"/>
              <a:gd name="connsiteY7" fmla="*/ 1234387 h 1234387"/>
              <a:gd name="connsiteX8" fmla="*/ 25465 w 3693600"/>
              <a:gd name="connsiteY8" fmla="*/ 1234387 h 1234387"/>
              <a:gd name="connsiteX9" fmla="*/ 0 w 3693600"/>
              <a:gd name="connsiteY9" fmla="*/ 1234387 h 1234387"/>
              <a:gd name="connsiteX10" fmla="*/ 0 w 3693600"/>
              <a:gd name="connsiteY10" fmla="*/ 940487 h 1234387"/>
              <a:gd name="connsiteX11" fmla="*/ 482970 w 3693600"/>
              <a:gd name="connsiteY11" fmla="*/ 457511 h 1234387"/>
              <a:gd name="connsiteX12" fmla="*/ 3211826 w 3693600"/>
              <a:gd name="connsiteY12" fmla="*/ 457511 h 1234387"/>
              <a:gd name="connsiteX13" fmla="*/ 3669331 w 3693600"/>
              <a:gd name="connsiteY13" fmla="*/ 0 h 123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93600" h="1234387">
                <a:moveTo>
                  <a:pt x="3669331" y="0"/>
                </a:moveTo>
                <a:lnTo>
                  <a:pt x="3693600" y="0"/>
                </a:lnTo>
                <a:lnTo>
                  <a:pt x="3693600" y="11828"/>
                </a:lnTo>
                <a:lnTo>
                  <a:pt x="3684966" y="97215"/>
                </a:lnTo>
                <a:cubicBezTo>
                  <a:pt x="3639855" y="317095"/>
                  <a:pt x="3444846" y="482976"/>
                  <a:pt x="3211826" y="482976"/>
                </a:cubicBezTo>
                <a:lnTo>
                  <a:pt x="482971" y="482976"/>
                </a:lnTo>
                <a:cubicBezTo>
                  <a:pt x="230699" y="482976"/>
                  <a:pt x="25466" y="688215"/>
                  <a:pt x="25466" y="940487"/>
                </a:cubicBezTo>
                <a:lnTo>
                  <a:pt x="25466" y="1234387"/>
                </a:lnTo>
                <a:lnTo>
                  <a:pt x="25465" y="1234387"/>
                </a:lnTo>
                <a:lnTo>
                  <a:pt x="0" y="1234387"/>
                </a:lnTo>
                <a:lnTo>
                  <a:pt x="0" y="940487"/>
                </a:lnTo>
                <a:cubicBezTo>
                  <a:pt x="0" y="674172"/>
                  <a:pt x="216661" y="457511"/>
                  <a:pt x="482970" y="457511"/>
                </a:cubicBezTo>
                <a:lnTo>
                  <a:pt x="3211826" y="457511"/>
                </a:lnTo>
                <a:cubicBezTo>
                  <a:pt x="3464098" y="457511"/>
                  <a:pt x="3669331" y="252271"/>
                  <a:pt x="3669331" y="0"/>
                </a:cubicBezTo>
                <a:close/>
              </a:path>
            </a:pathLst>
          </a:custGeom>
          <a:solidFill>
            <a:schemeClr val="accent1"/>
          </a:solidFill>
        </p:spPr>
        <p:txBody>
          <a:bodyPr wrap="square">
            <a:noAutofit/>
          </a:bodyPr>
          <a:lstStyle>
            <a:lvl1pPr>
              <a:defRPr sz="100" b="0"/>
            </a:lvl1pPr>
          </a:lstStyle>
          <a:p>
            <a:r>
              <a:rPr lang="en-US" dirty="0"/>
              <a:t>.</a:t>
            </a:r>
          </a:p>
        </p:txBody>
      </p:sp>
      <p:sp>
        <p:nvSpPr>
          <p:cNvPr id="5" name="Abgerundete rechteckige Legende 10">
            <a:extLst>
              <a:ext uri="{FF2B5EF4-FFF2-40B4-BE49-F238E27FC236}">
                <a16:creationId xmlns:a16="http://schemas.microsoft.com/office/drawing/2014/main" id="{D884BB73-4B88-0D28-EEBD-7D0F8108B708}"/>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9C1990D3-2136-F6AA-532B-6B2F9A159231}"/>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2184374770"/>
      </p:ext>
    </p:extLst>
  </p:cSld>
  <p:clrMapOvr>
    <a:masterClrMapping/>
  </p:clrMapOvr>
  <p:extLst>
    <p:ext uri="{DCECCB84-F9BA-43D5-87BE-67443E8EF086}">
      <p15:sldGuideLst xmlns:p15="http://schemas.microsoft.com/office/powerpoint/2012/main">
        <p15:guide id="1" orient="horz" pos="869">
          <p15:clr>
            <a:srgbClr val="FBAE40"/>
          </p15:clr>
        </p15:guide>
        <p15:guide id="2" pos="2819">
          <p15:clr>
            <a:srgbClr val="FBAE40"/>
          </p15:clr>
        </p15:guide>
        <p15:guide id="3" orient="horz" pos="913">
          <p15:clr>
            <a:srgbClr val="FBAE40"/>
          </p15:clr>
        </p15:guide>
        <p15:guide id="4" pos="872">
          <p15:clr>
            <a:srgbClr val="FBAE40"/>
          </p15:clr>
        </p15:guide>
        <p15:guide id="5" orient="horz" pos="1911">
          <p15:clr>
            <a:srgbClr val="FBAE40"/>
          </p15:clr>
        </p15:guide>
        <p15:guide id="6" orient="horz" pos="2908">
          <p15:clr>
            <a:srgbClr val="FBAE40"/>
          </p15:clr>
        </p15:guide>
        <p15:guide id="7" pos="3512">
          <p15:clr>
            <a:srgbClr val="FBAE40"/>
          </p15:clr>
        </p15:guide>
        <p15:guide id="8" pos="501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QR,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n-US" noProof="0"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pic>
        <p:nvPicPr>
          <p:cNvPr id="6" name="Grafik 10">
            <a:extLst>
              <a:ext uri="{FF2B5EF4-FFF2-40B4-BE49-F238E27FC236}">
                <a16:creationId xmlns:a16="http://schemas.microsoft.com/office/drawing/2014/main" id="{6FAD160A-5087-060D-4C02-28422E86AB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7" name="Abgerundete rechteckige Legende 10">
            <a:extLst>
              <a:ext uri="{FF2B5EF4-FFF2-40B4-BE49-F238E27FC236}">
                <a16:creationId xmlns:a16="http://schemas.microsoft.com/office/drawing/2014/main" id="{7E0670F7-087B-2972-690A-DDBE89979A57}"/>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3E546B0A-9AF6-2F95-4067-6B9A59DDB260}"/>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1875474514"/>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orient="horz" pos="913">
          <p15:clr>
            <a:srgbClr val="FBAE40"/>
          </p15:clr>
        </p15:guide>
        <p15:guide id="4" pos="872">
          <p15:clr>
            <a:srgbClr val="FBAE40"/>
          </p15:clr>
        </p15:guide>
        <p15:guide id="5" orient="horz" pos="1911">
          <p15:clr>
            <a:srgbClr val="FBAE40"/>
          </p15:clr>
        </p15:guide>
        <p15:guide id="6" orient="horz" pos="2908">
          <p15:clr>
            <a:srgbClr val="FBAE40"/>
          </p15:clr>
        </p15:guide>
        <p15:guide id="7" pos="1592">
          <p15:clr>
            <a:srgbClr val="FBAE40"/>
          </p15:clr>
        </p15:guide>
        <p15:guide id="8" pos="93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dark with picture">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bg1"/>
                </a:solidFill>
              </a:defRPr>
            </a:lvl1pPr>
          </a:lstStyle>
          <a:p>
            <a:r>
              <a:rPr lang="en-US" dirty="0"/>
              <a:t>Click to edit Master title style</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7" name="Footer Placeholder 6">
            <a:extLst>
              <a:ext uri="{FF2B5EF4-FFF2-40B4-BE49-F238E27FC236}">
                <a16:creationId xmlns:a16="http://schemas.microsoft.com/office/drawing/2014/main" id="{B3B064D5-18ED-8929-D911-00D06ABEE77D}"/>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n-US" dirty="0"/>
              <a:t>Footer</a:t>
            </a:r>
          </a:p>
        </p:txBody>
      </p:sp>
      <p:sp>
        <p:nvSpPr>
          <p:cNvPr id="8" name="Slide Number Placeholder 7">
            <a:extLst>
              <a:ext uri="{FF2B5EF4-FFF2-40B4-BE49-F238E27FC236}">
                <a16:creationId xmlns:a16="http://schemas.microsoft.com/office/drawing/2014/main" id="{DE275322-EFFD-0088-ECD5-FCBA78490454}"/>
              </a:ext>
            </a:extLst>
          </p:cNvPr>
          <p:cNvSpPr>
            <a:spLocks noGrp="1"/>
          </p:cNvSpPr>
          <p:nvPr>
            <p:ph type="sldNum" sz="quarter" idx="19"/>
          </p:nvPr>
        </p:nvSpPr>
        <p:spPr/>
        <p:txBody>
          <a:bodyPr/>
          <a:lstStyle>
            <a:lvl1pPr>
              <a:defRPr>
                <a:solidFill>
                  <a:schemeClr val="bg1"/>
                </a:solidFill>
              </a:defRPr>
            </a:lvl1pPr>
          </a:lstStyle>
          <a:p>
            <a:fld id="{9A0F3412-00EB-454F-952B-1EB5D3D69307}" type="slidenum">
              <a:rPr lang="en-US" smtClean="0"/>
              <a:pPr/>
              <a:t>‹Nº›</a:t>
            </a:fld>
            <a:endParaRPr lang="en-US" dirty="0"/>
          </a:p>
        </p:txBody>
      </p:sp>
      <p:sp>
        <p:nvSpPr>
          <p:cNvPr id="10" name="Online Image Placeholder 9">
            <a:extLst>
              <a:ext uri="{FF2B5EF4-FFF2-40B4-BE49-F238E27FC236}">
                <a16:creationId xmlns:a16="http://schemas.microsoft.com/office/drawing/2014/main" id="{B9B72513-928F-1512-0B21-FDD4422728AA}"/>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rgbClr val="003C70"/>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CE893564-5FFC-47CD-6D92-4F47BAD9A057}"/>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rgbClr val="003C70"/>
          </a:solidFill>
        </p:spPr>
        <p:txBody>
          <a:bodyPr/>
          <a:lstStyle>
            <a:lvl1pPr>
              <a:defRPr sz="100" b="0">
                <a:solidFill>
                  <a:srgbClr val="3C3E00"/>
                </a:solidFill>
              </a:defRPr>
            </a:lvl1pPr>
          </a:lstStyle>
          <a:p>
            <a:r>
              <a:rPr lang="en-US" dirty="0"/>
              <a:t>.</a:t>
            </a:r>
          </a:p>
        </p:txBody>
      </p:sp>
      <p:sp>
        <p:nvSpPr>
          <p:cNvPr id="3" name="Abgerundete rechteckige Legende 10">
            <a:extLst>
              <a:ext uri="{FF2B5EF4-FFF2-40B4-BE49-F238E27FC236}">
                <a16:creationId xmlns:a16="http://schemas.microsoft.com/office/drawing/2014/main" id="{227D057A-0ECA-3593-9CB8-0151FD60CCE7}"/>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6" name="Abgerundete rechteckige Legende 10">
            <a:extLst>
              <a:ext uri="{FF2B5EF4-FFF2-40B4-BE49-F238E27FC236}">
                <a16:creationId xmlns:a16="http://schemas.microsoft.com/office/drawing/2014/main" id="{BFB48F6E-93E1-73F0-FF6C-C2007152DF5D}"/>
              </a:ext>
            </a:extLst>
          </p:cNvPr>
          <p:cNvSpPr/>
          <p:nvPr userDrawn="1"/>
        </p:nvSpPr>
        <p:spPr>
          <a:xfrm>
            <a:off x="-2808000" y="2418168"/>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itle for slide with picture</a:t>
            </a:r>
          </a:p>
        </p:txBody>
      </p:sp>
    </p:spTree>
    <p:extLst>
      <p:ext uri="{BB962C8B-B14F-4D97-AF65-F5344CB8AC3E}">
        <p14:creationId xmlns:p14="http://schemas.microsoft.com/office/powerpoint/2010/main" val="2990273088"/>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act small light QR,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n-US" noProof="0"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5" name="Abgerundete rechteckige Legende 10">
            <a:extLst>
              <a:ext uri="{FF2B5EF4-FFF2-40B4-BE49-F238E27FC236}">
                <a16:creationId xmlns:a16="http://schemas.microsoft.com/office/drawing/2014/main" id="{5956739D-2000-5719-2909-846499B7C9CC}"/>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7" name="Abgerundete rechteckige Legende 10">
            <a:extLst>
              <a:ext uri="{FF2B5EF4-FFF2-40B4-BE49-F238E27FC236}">
                <a16:creationId xmlns:a16="http://schemas.microsoft.com/office/drawing/2014/main" id="{EDC84F04-6A48-BBAE-A7B0-359C13100431}"/>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3820196969"/>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orient="horz" pos="913">
          <p15:clr>
            <a:srgbClr val="FBAE40"/>
          </p15:clr>
        </p15:guide>
        <p15:guide id="4" pos="872">
          <p15:clr>
            <a:srgbClr val="FBAE40"/>
          </p15:clr>
        </p15:guide>
        <p15:guide id="5" orient="horz" pos="1911">
          <p15:clr>
            <a:srgbClr val="FBAE40"/>
          </p15:clr>
        </p15:guide>
        <p15:guide id="6" orient="horz" pos="2908">
          <p15:clr>
            <a:srgbClr val="FBAE40"/>
          </p15:clr>
        </p15:guide>
        <p15:guide id="7" pos="1592">
          <p15:clr>
            <a:srgbClr val="FBAE40"/>
          </p15:clr>
        </p15:guide>
        <p15:guide id="8" pos="93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 large light QR">
    <p:spTree>
      <p:nvGrpSpPr>
        <p:cNvPr id="1" name=""/>
        <p:cNvGrpSpPr/>
        <p:nvPr/>
      </p:nvGrpSpPr>
      <p:grpSpPr>
        <a:xfrm>
          <a:off x="0" y="0"/>
          <a:ext cx="0" cy="0"/>
          <a:chOff x="0" y="0"/>
          <a:chExt cx="0" cy="0"/>
        </a:xfrm>
      </p:grpSpPr>
      <p:sp>
        <p:nvSpPr>
          <p:cNvPr id="26" name="Text Placeholder 18">
            <a:extLst>
              <a:ext uri="{FF2B5EF4-FFF2-40B4-BE49-F238E27FC236}">
                <a16:creationId xmlns:a16="http://schemas.microsoft.com/office/drawing/2014/main" id="{9C45C550-67C8-8E0E-76B2-10F7BAEB016D}"/>
              </a:ext>
            </a:extLst>
          </p:cNvPr>
          <p:cNvSpPr>
            <a:spLocks noGrp="1"/>
          </p:cNvSpPr>
          <p:nvPr>
            <p:ph type="body" sz="quarter" idx="33"/>
          </p:nvPr>
        </p:nvSpPr>
        <p:spPr>
          <a:xfrm>
            <a:off x="8411048" y="145080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Picture Placeholder 14">
            <a:extLst>
              <a:ext uri="{FF2B5EF4-FFF2-40B4-BE49-F238E27FC236}">
                <a16:creationId xmlns:a16="http://schemas.microsoft.com/office/drawing/2014/main" id="{226A956F-BF0B-11B1-BA4F-4767F296B544}"/>
              </a:ext>
            </a:extLst>
          </p:cNvPr>
          <p:cNvSpPr>
            <a:spLocks noGrp="1" noChangeAspect="1"/>
          </p:cNvSpPr>
          <p:nvPr>
            <p:ph type="pic" sz="quarter" idx="34"/>
          </p:nvPr>
        </p:nvSpPr>
        <p:spPr>
          <a:xfrm>
            <a:off x="6170764" y="1382400"/>
            <a:ext cx="961200" cy="961200"/>
          </a:xfrm>
          <a:prstGeom prst="ellipse">
            <a:avLst/>
          </a:prstGeom>
          <a:noFill/>
        </p:spPr>
        <p:txBody>
          <a:bodyPr/>
          <a:lstStyle>
            <a:lvl1pPr>
              <a:defRPr sz="1200" b="0"/>
            </a:lvl1pPr>
          </a:lstStyle>
          <a:p>
            <a:endParaRPr lang="en-US" dirty="0"/>
          </a:p>
        </p:txBody>
      </p:sp>
      <p:sp>
        <p:nvSpPr>
          <p:cNvPr id="34" name="Picture Placeholder 11">
            <a:extLst>
              <a:ext uri="{FF2B5EF4-FFF2-40B4-BE49-F238E27FC236}">
                <a16:creationId xmlns:a16="http://schemas.microsoft.com/office/drawing/2014/main" id="{438F40B8-7652-6E88-69E0-B92FC96B5734}"/>
              </a:ext>
            </a:extLst>
          </p:cNvPr>
          <p:cNvSpPr>
            <a:spLocks noGrp="1"/>
          </p:cNvSpPr>
          <p:nvPr>
            <p:ph type="pic" sz="quarter" idx="39"/>
          </p:nvPr>
        </p:nvSpPr>
        <p:spPr>
          <a:xfrm>
            <a:off x="7373429" y="1450800"/>
            <a:ext cx="831600" cy="831600"/>
          </a:xfrm>
        </p:spPr>
        <p:txBody>
          <a:bodyPr/>
          <a:lstStyle>
            <a:lvl1pPr>
              <a:defRPr sz="1200" b="0"/>
            </a:lvl1pPr>
          </a:lstStyle>
          <a:p>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116172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n-US" noProof="0"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sp>
        <p:nvSpPr>
          <p:cNvPr id="30" name="Text Placeholder 18">
            <a:extLst>
              <a:ext uri="{FF2B5EF4-FFF2-40B4-BE49-F238E27FC236}">
                <a16:creationId xmlns:a16="http://schemas.microsoft.com/office/drawing/2014/main" id="{6066C757-B811-657B-3587-2CB2D5EE6710}"/>
              </a:ext>
            </a:extLst>
          </p:cNvPr>
          <p:cNvSpPr>
            <a:spLocks noGrp="1"/>
          </p:cNvSpPr>
          <p:nvPr>
            <p:ph type="body" sz="quarter" idx="35"/>
          </p:nvPr>
        </p:nvSpPr>
        <p:spPr>
          <a:xfrm>
            <a:off x="84096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Picture Placeholder 14">
            <a:extLst>
              <a:ext uri="{FF2B5EF4-FFF2-40B4-BE49-F238E27FC236}">
                <a16:creationId xmlns:a16="http://schemas.microsoft.com/office/drawing/2014/main" id="{D75DA5FC-FAB4-BE50-0AF6-4801151645F3}"/>
              </a:ext>
            </a:extLst>
          </p:cNvPr>
          <p:cNvSpPr>
            <a:spLocks noGrp="1" noChangeAspect="1"/>
          </p:cNvSpPr>
          <p:nvPr>
            <p:ph type="pic" sz="quarter" idx="36"/>
          </p:nvPr>
        </p:nvSpPr>
        <p:spPr>
          <a:xfrm>
            <a:off x="6170400" y="2970000"/>
            <a:ext cx="961200" cy="961200"/>
          </a:xfrm>
          <a:prstGeom prst="ellipse">
            <a:avLst/>
          </a:prstGeom>
          <a:noFill/>
        </p:spPr>
        <p:txBody>
          <a:bodyPr/>
          <a:lstStyle>
            <a:lvl1pPr>
              <a:defRPr sz="1200" b="0"/>
            </a:lvl1pPr>
          </a:lstStyle>
          <a:p>
            <a:endParaRPr lang="en-US" dirty="0"/>
          </a:p>
        </p:txBody>
      </p:sp>
      <p:sp>
        <p:nvSpPr>
          <p:cNvPr id="32" name="Text Placeholder 18">
            <a:extLst>
              <a:ext uri="{FF2B5EF4-FFF2-40B4-BE49-F238E27FC236}">
                <a16:creationId xmlns:a16="http://schemas.microsoft.com/office/drawing/2014/main" id="{553B8A1D-0F52-FC28-B579-9725A8C28F57}"/>
              </a:ext>
            </a:extLst>
          </p:cNvPr>
          <p:cNvSpPr>
            <a:spLocks noGrp="1"/>
          </p:cNvSpPr>
          <p:nvPr>
            <p:ph type="body" sz="quarter" idx="37"/>
          </p:nvPr>
        </p:nvSpPr>
        <p:spPr>
          <a:xfrm>
            <a:off x="84096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Picture Placeholder 14">
            <a:extLst>
              <a:ext uri="{FF2B5EF4-FFF2-40B4-BE49-F238E27FC236}">
                <a16:creationId xmlns:a16="http://schemas.microsoft.com/office/drawing/2014/main" id="{BFE1E6D1-EC3E-D0A2-7C0B-A87A65F18092}"/>
              </a:ext>
            </a:extLst>
          </p:cNvPr>
          <p:cNvSpPr>
            <a:spLocks noGrp="1" noChangeAspect="1"/>
          </p:cNvSpPr>
          <p:nvPr>
            <p:ph type="pic" sz="quarter" idx="38"/>
          </p:nvPr>
        </p:nvSpPr>
        <p:spPr>
          <a:xfrm>
            <a:off x="6170400" y="4550400"/>
            <a:ext cx="961200" cy="961200"/>
          </a:xfrm>
          <a:prstGeom prst="ellipse">
            <a:avLst/>
          </a:prstGeom>
          <a:noFill/>
        </p:spPr>
        <p:txBody>
          <a:bodyPr/>
          <a:lstStyle>
            <a:lvl1pPr>
              <a:defRPr sz="1200" b="0"/>
            </a:lvl1pPr>
          </a:lstStyle>
          <a:p>
            <a:endParaRPr lang="en-US" dirty="0"/>
          </a:p>
        </p:txBody>
      </p:sp>
      <p:sp>
        <p:nvSpPr>
          <p:cNvPr id="35" name="Picture Placeholder 11">
            <a:extLst>
              <a:ext uri="{FF2B5EF4-FFF2-40B4-BE49-F238E27FC236}">
                <a16:creationId xmlns:a16="http://schemas.microsoft.com/office/drawing/2014/main" id="{C3D8EE79-660C-D0CF-5B57-462E641198C5}"/>
              </a:ext>
            </a:extLst>
          </p:cNvPr>
          <p:cNvSpPr>
            <a:spLocks noGrp="1"/>
          </p:cNvSpPr>
          <p:nvPr>
            <p:ph type="pic" sz="quarter" idx="40"/>
          </p:nvPr>
        </p:nvSpPr>
        <p:spPr>
          <a:xfrm>
            <a:off x="7372800" y="3034800"/>
            <a:ext cx="831600" cy="831600"/>
          </a:xfrm>
        </p:spPr>
        <p:txBody>
          <a:bodyPr/>
          <a:lstStyle>
            <a:lvl1pPr>
              <a:defRPr sz="1200" b="0"/>
            </a:lvl1pPr>
          </a:lstStyle>
          <a:p>
            <a:endParaRPr lang="en-US" dirty="0"/>
          </a:p>
        </p:txBody>
      </p:sp>
      <p:sp>
        <p:nvSpPr>
          <p:cNvPr id="36" name="Picture Placeholder 11">
            <a:extLst>
              <a:ext uri="{FF2B5EF4-FFF2-40B4-BE49-F238E27FC236}">
                <a16:creationId xmlns:a16="http://schemas.microsoft.com/office/drawing/2014/main" id="{7BA30EF2-DB58-8C3A-3BAA-2769229A1D49}"/>
              </a:ext>
            </a:extLst>
          </p:cNvPr>
          <p:cNvSpPr>
            <a:spLocks noGrp="1"/>
          </p:cNvSpPr>
          <p:nvPr>
            <p:ph type="pic" sz="quarter" idx="41"/>
          </p:nvPr>
        </p:nvSpPr>
        <p:spPr>
          <a:xfrm>
            <a:off x="7372800" y="4618800"/>
            <a:ext cx="831600" cy="831600"/>
          </a:xfrm>
        </p:spPr>
        <p:txBody>
          <a:bodyPr/>
          <a:lstStyle>
            <a:lvl1pPr>
              <a:defRPr sz="1200" b="0"/>
            </a:lvl1pPr>
          </a:lstStyle>
          <a:p>
            <a:endParaRPr lang="en-US" dirty="0"/>
          </a:p>
        </p:txBody>
      </p:sp>
      <p:sp>
        <p:nvSpPr>
          <p:cNvPr id="5" name="Abgerundete rechteckige Legende 10">
            <a:extLst>
              <a:ext uri="{FF2B5EF4-FFF2-40B4-BE49-F238E27FC236}">
                <a16:creationId xmlns:a16="http://schemas.microsoft.com/office/drawing/2014/main" id="{48FD78C1-1453-4ECC-E796-DE179FBB1171}"/>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2912221435"/>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orient="horz" pos="913">
          <p15:clr>
            <a:srgbClr val="FBAE40"/>
          </p15:clr>
        </p15:guide>
        <p15:guide id="4" pos="872">
          <p15:clr>
            <a:srgbClr val="FBAE40"/>
          </p15:clr>
        </p15:guide>
        <p15:guide id="5" orient="horz" pos="1911">
          <p15:clr>
            <a:srgbClr val="FBAE40"/>
          </p15:clr>
        </p15:guide>
        <p15:guide id="6" orient="horz" pos="2908">
          <p15:clr>
            <a:srgbClr val="FBAE40"/>
          </p15:clr>
        </p15:guide>
        <p15:guide id="7" pos="1592">
          <p15:clr>
            <a:srgbClr val="FBAE40"/>
          </p15:clr>
        </p15:guide>
        <p15:guide id="8" pos="937">
          <p15:clr>
            <a:srgbClr val="FBAE40"/>
          </p15:clr>
        </p15:guide>
        <p15:guide id="9" pos="5299">
          <p15:clr>
            <a:srgbClr val="FBAE40"/>
          </p15:clr>
        </p15:guide>
        <p15:guide id="10" pos="4644">
          <p15:clr>
            <a:srgbClr val="FBAE40"/>
          </p15:clr>
        </p15:guide>
        <p15:guide id="11" pos="388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BCED6-8891-A832-3C0A-9345E3B251EE}"/>
              </a:ext>
            </a:extLst>
          </p:cNvPr>
          <p:cNvSpPr>
            <a:spLocks noGrp="1"/>
          </p:cNvSpPr>
          <p:nvPr>
            <p:ph type="title"/>
          </p:nvPr>
        </p:nvSpPr>
        <p:spPr/>
        <p:txBody>
          <a:bodyPr/>
          <a:lstStyle/>
          <a:p>
            <a:r>
              <a:rPr lang="en-US" dirty="0"/>
              <a:t>Click to edit Master title style</a:t>
            </a:r>
            <a:endParaRPr lang="de-DE" dirty="0"/>
          </a:p>
        </p:txBody>
      </p:sp>
      <p:sp>
        <p:nvSpPr>
          <p:cNvPr id="22" name="Rectangle 21">
            <a:extLst>
              <a:ext uri="{FF2B5EF4-FFF2-40B4-BE49-F238E27FC236}">
                <a16:creationId xmlns:a16="http://schemas.microsoft.com/office/drawing/2014/main" id="{27975940-1288-FF90-7A5E-C4F6F23C3282}"/>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oter Placeholder 6">
            <a:extLst>
              <a:ext uri="{FF2B5EF4-FFF2-40B4-BE49-F238E27FC236}">
                <a16:creationId xmlns:a16="http://schemas.microsoft.com/office/drawing/2014/main" id="{99F3BD1D-1CC2-2F07-D67E-F6637C2FBA0D}"/>
              </a:ext>
            </a:extLst>
          </p:cNvPr>
          <p:cNvSpPr>
            <a:spLocks noGrp="1"/>
          </p:cNvSpPr>
          <p:nvPr>
            <p:ph type="ftr" sz="quarter" idx="10"/>
          </p:nvPr>
        </p:nvSpPr>
        <p:spPr/>
        <p:txBody>
          <a:bodyPr/>
          <a:lstStyle/>
          <a:p>
            <a:r>
              <a:rPr lang="en-US" noProof="0"/>
              <a:t>Footer</a:t>
            </a:r>
            <a:endParaRPr lang="en-US" noProof="0" dirty="0"/>
          </a:p>
        </p:txBody>
      </p:sp>
      <p:sp>
        <p:nvSpPr>
          <p:cNvPr id="8" name="Slide Number Placeholder 7">
            <a:extLst>
              <a:ext uri="{FF2B5EF4-FFF2-40B4-BE49-F238E27FC236}">
                <a16:creationId xmlns:a16="http://schemas.microsoft.com/office/drawing/2014/main" id="{E387CFEA-9729-4263-17A0-DA881A8DA15A}"/>
              </a:ext>
            </a:extLst>
          </p:cNvPr>
          <p:cNvSpPr>
            <a:spLocks noGrp="1"/>
          </p:cNvSpPr>
          <p:nvPr>
            <p:ph type="sldNum" sz="quarter" idx="11"/>
          </p:nvPr>
        </p:nvSpPr>
        <p:spPr/>
        <p:txBody>
          <a:bodyPr/>
          <a:lstStyle/>
          <a:p>
            <a:fld id="{9A0F3412-00EB-454F-952B-1EB5D3D69307}" type="slidenum">
              <a:rPr lang="en-US" noProof="0" smtClean="0"/>
              <a:pPr/>
              <a:t>‹Nº›</a:t>
            </a:fld>
            <a:endParaRPr lang="en-US" noProof="0" dirty="0"/>
          </a:p>
        </p:txBody>
      </p:sp>
    </p:spTree>
    <p:extLst>
      <p:ext uri="{BB962C8B-B14F-4D97-AF65-F5344CB8AC3E}">
        <p14:creationId xmlns:p14="http://schemas.microsoft.com/office/powerpoint/2010/main" val="1862738122"/>
      </p:ext>
    </p:extLst>
  </p:cSld>
  <p:clrMapOvr>
    <a:masterClrMapping/>
  </p:clrMapOvr>
  <p:extLst>
    <p:ext uri="{DCECCB84-F9BA-43D5-87BE-67443E8EF086}">
      <p15:sldGuideLst xmlns:p15="http://schemas.microsoft.com/office/powerpoint/2012/main">
        <p15:guide id="1" pos="5176">
          <p15:clr>
            <a:srgbClr val="FBAE40"/>
          </p15:clr>
        </p15:guide>
        <p15:guide id="2" pos="5624">
          <p15:clr>
            <a:srgbClr val="FBAE40"/>
          </p15:clr>
        </p15:guide>
        <p15:guide id="3" pos="5803">
          <p15:clr>
            <a:srgbClr val="FBAE40"/>
          </p15:clr>
        </p15:guide>
        <p15:guide id="4" pos="6249">
          <p15:clr>
            <a:srgbClr val="FBAE40"/>
          </p15:clr>
        </p15:guide>
        <p15:guide id="5" pos="6428">
          <p15:clr>
            <a:srgbClr val="FBAE40"/>
          </p15:clr>
        </p15:guide>
        <p15:guide id="6" pos="6872">
          <p15:clr>
            <a:srgbClr val="FBAE40"/>
          </p15:clr>
        </p15:guide>
        <p15:guide id="7" pos="7053">
          <p15:clr>
            <a:srgbClr val="FBAE40"/>
          </p15:clr>
        </p15:guide>
        <p15:guide id="8" pos="4997">
          <p15:clr>
            <a:srgbClr val="FBAE40"/>
          </p15:clr>
        </p15:guide>
        <p15:guide id="9" pos="4551">
          <p15:clr>
            <a:srgbClr val="FBAE40"/>
          </p15:clr>
        </p15:guide>
        <p15:guide id="10" pos="626">
          <p15:clr>
            <a:srgbClr val="FBAE40"/>
          </p15:clr>
        </p15:guide>
        <p15:guide id="11" pos="807">
          <p15:clr>
            <a:srgbClr val="FBAE40"/>
          </p15:clr>
        </p15:guide>
        <p15:guide id="12" pos="1253">
          <p15:clr>
            <a:srgbClr val="FBAE40"/>
          </p15:clr>
        </p15:guide>
        <p15:guide id="13" pos="1432">
          <p15:clr>
            <a:srgbClr val="FBAE40"/>
          </p15:clr>
        </p15:guide>
        <p15:guide id="14" pos="1877">
          <p15:clr>
            <a:srgbClr val="FBAE40"/>
          </p15:clr>
        </p15:guide>
        <p15:guide id="15" pos="2055">
          <p15:clr>
            <a:srgbClr val="FBAE40"/>
          </p15:clr>
        </p15:guide>
        <p15:guide id="16" pos="2504">
          <p15:clr>
            <a:srgbClr val="FBAE40"/>
          </p15:clr>
        </p15:guide>
        <p15:guide id="17" pos="2683">
          <p15:clr>
            <a:srgbClr val="FBAE40"/>
          </p15:clr>
        </p15:guide>
        <p15:guide id="18" pos="3129">
          <p15:clr>
            <a:srgbClr val="FBAE40"/>
          </p15:clr>
        </p15:guide>
        <p15:guide id="19" pos="3308">
          <p15:clr>
            <a:srgbClr val="FBAE40"/>
          </p15:clr>
        </p15:guide>
        <p15:guide id="20" pos="3753">
          <p15:clr>
            <a:srgbClr val="FBAE40"/>
          </p15:clr>
        </p15:guide>
        <p15:guide id="21" pos="4373">
          <p15:clr>
            <a:srgbClr val="FBAE40"/>
          </p15:clr>
        </p15:guide>
        <p15:guide id="22" pos="3926">
          <p15:clr>
            <a:srgbClr val="FBAE40"/>
          </p15:clr>
        </p15:guide>
        <p15:guide id="23" orient="horz" pos="86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r>
              <a:rPr lang="en-US" noProof="0"/>
              <a:t>Footer</a:t>
            </a:r>
            <a:endParaRPr lang="en-US"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US" noProof="0" smtClean="0"/>
              <a:pPr/>
              <a:t>‹Nº›</a:t>
            </a:fld>
            <a:endParaRPr lang="en-US" noProof="0" dirty="0"/>
          </a:p>
        </p:txBody>
      </p:sp>
    </p:spTree>
    <p:extLst>
      <p:ext uri="{BB962C8B-B14F-4D97-AF65-F5344CB8AC3E}">
        <p14:creationId xmlns:p14="http://schemas.microsoft.com/office/powerpoint/2010/main" val="3136726996"/>
      </p:ext>
    </p:extLst>
  </p:cSld>
  <p:clrMapOvr>
    <a:masterClrMapping/>
  </p:clrMapOvr>
  <p:extLst>
    <p:ext uri="{DCECCB84-F9BA-43D5-87BE-67443E8EF086}">
      <p15:sldGuideLst xmlns:p15="http://schemas.microsoft.com/office/powerpoint/2012/main">
        <p15:guide id="1" pos="626">
          <p15:clr>
            <a:srgbClr val="FBAE40"/>
          </p15:clr>
        </p15:guide>
        <p15:guide id="2" pos="808">
          <p15:clr>
            <a:srgbClr val="FBAE40"/>
          </p15:clr>
        </p15:guide>
        <p15:guide id="3" pos="1253">
          <p15:clr>
            <a:srgbClr val="FBAE40"/>
          </p15:clr>
        </p15:guide>
        <p15:guide id="4" pos="1432">
          <p15:clr>
            <a:srgbClr val="FBAE40"/>
          </p15:clr>
        </p15:guide>
        <p15:guide id="5" pos="1877">
          <p15:clr>
            <a:srgbClr val="FBAE40"/>
          </p15:clr>
        </p15:guide>
        <p15:guide id="6" pos="2056">
          <p15:clr>
            <a:srgbClr val="FBAE40"/>
          </p15:clr>
        </p15:guide>
        <p15:guide id="7" pos="2505">
          <p15:clr>
            <a:srgbClr val="FBAE40"/>
          </p15:clr>
        </p15:guide>
        <p15:guide id="8" pos="2683">
          <p15:clr>
            <a:srgbClr val="FBAE40"/>
          </p15:clr>
        </p15:guide>
        <p15:guide id="9" pos="3130">
          <p15:clr>
            <a:srgbClr val="FBAE40"/>
          </p15:clr>
        </p15:guide>
        <p15:guide id="10" pos="3308">
          <p15:clr>
            <a:srgbClr val="FBAE40"/>
          </p15:clr>
        </p15:guide>
        <p15:guide id="11" pos="3753">
          <p15:clr>
            <a:srgbClr val="FBAE40"/>
          </p15:clr>
        </p15:guide>
        <p15:guide id="12" pos="3926">
          <p15:clr>
            <a:srgbClr val="FBAE40"/>
          </p15:clr>
        </p15:guide>
        <p15:guide id="13" pos="4373">
          <p15:clr>
            <a:srgbClr val="FBAE40"/>
          </p15:clr>
        </p15:guide>
        <p15:guide id="14" pos="4551">
          <p15:clr>
            <a:srgbClr val="FBAE40"/>
          </p15:clr>
        </p15:guide>
        <p15:guide id="15" pos="4997">
          <p15:clr>
            <a:srgbClr val="FBAE40"/>
          </p15:clr>
        </p15:guide>
        <p15:guide id="16" pos="5176">
          <p15:clr>
            <a:srgbClr val="FBAE40"/>
          </p15:clr>
        </p15:guide>
        <p15:guide id="17" pos="5624">
          <p15:clr>
            <a:srgbClr val="FBAE40"/>
          </p15:clr>
        </p15:guide>
        <p15:guide id="18" pos="5804">
          <p15:clr>
            <a:srgbClr val="FBAE40"/>
          </p15:clr>
        </p15:guide>
        <p15:guide id="19" pos="6248">
          <p15:clr>
            <a:srgbClr val="FBAE40"/>
          </p15:clr>
        </p15:guide>
        <p15:guide id="20" pos="6427">
          <p15:clr>
            <a:srgbClr val="FBAE40"/>
          </p15:clr>
        </p15:guide>
        <p15:guide id="21" pos="6873">
          <p15:clr>
            <a:srgbClr val="FBAE40"/>
          </p15:clr>
        </p15:guide>
        <p15:guide id="22" pos="7053">
          <p15:clr>
            <a:srgbClr val="FBAE40"/>
          </p15:clr>
        </p15:guide>
        <p15:guide id="23" orient="horz" pos="86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nk light">
    <p:bg>
      <p:bgPr>
        <a:solidFill>
          <a:schemeClr val="accent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n-US" dirty="0"/>
              <a:t>Footer</a:t>
            </a:r>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Nº›</a:t>
            </a:fld>
            <a:endParaRPr lang="en-US" dirty="0"/>
          </a:p>
        </p:txBody>
      </p:sp>
      <p:pic>
        <p:nvPicPr>
          <p:cNvPr id="4" name="Grafik 10">
            <a:extLst>
              <a:ext uri="{FF2B5EF4-FFF2-40B4-BE49-F238E27FC236}">
                <a16:creationId xmlns:a16="http://schemas.microsoft.com/office/drawing/2014/main" id="{1BAE6905-FD07-5B0D-CB7E-5FE54EA1EA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236025139"/>
      </p:ext>
    </p:extLst>
  </p:cSld>
  <p:clrMapOvr>
    <a:masterClrMapping/>
  </p:clrMapOvr>
  <p:extLst>
    <p:ext uri="{DCECCB84-F9BA-43D5-87BE-67443E8EF086}">
      <p15:sldGuideLst xmlns:p15="http://schemas.microsoft.com/office/powerpoint/2012/main">
        <p15:guide id="1" pos="626">
          <p15:clr>
            <a:srgbClr val="FBAE40"/>
          </p15:clr>
        </p15:guide>
        <p15:guide id="2" pos="808">
          <p15:clr>
            <a:srgbClr val="FBAE40"/>
          </p15:clr>
        </p15:guide>
        <p15:guide id="3" pos="1253">
          <p15:clr>
            <a:srgbClr val="FBAE40"/>
          </p15:clr>
        </p15:guide>
        <p15:guide id="4" pos="1432">
          <p15:clr>
            <a:srgbClr val="FBAE40"/>
          </p15:clr>
        </p15:guide>
        <p15:guide id="5" pos="1877">
          <p15:clr>
            <a:srgbClr val="FBAE40"/>
          </p15:clr>
        </p15:guide>
        <p15:guide id="6" pos="2056">
          <p15:clr>
            <a:srgbClr val="FBAE40"/>
          </p15:clr>
        </p15:guide>
        <p15:guide id="7" pos="2505">
          <p15:clr>
            <a:srgbClr val="FBAE40"/>
          </p15:clr>
        </p15:guide>
        <p15:guide id="8" pos="2683">
          <p15:clr>
            <a:srgbClr val="FBAE40"/>
          </p15:clr>
        </p15:guide>
        <p15:guide id="9" pos="3130">
          <p15:clr>
            <a:srgbClr val="FBAE40"/>
          </p15:clr>
        </p15:guide>
        <p15:guide id="10" pos="3308">
          <p15:clr>
            <a:srgbClr val="FBAE40"/>
          </p15:clr>
        </p15:guide>
        <p15:guide id="11" pos="3753">
          <p15:clr>
            <a:srgbClr val="FBAE40"/>
          </p15:clr>
        </p15:guide>
        <p15:guide id="12" pos="3926">
          <p15:clr>
            <a:srgbClr val="FBAE40"/>
          </p15:clr>
        </p15:guide>
        <p15:guide id="13" pos="4373">
          <p15:clr>
            <a:srgbClr val="FBAE40"/>
          </p15:clr>
        </p15:guide>
        <p15:guide id="14" pos="4551">
          <p15:clr>
            <a:srgbClr val="FBAE40"/>
          </p15:clr>
        </p15:guide>
        <p15:guide id="15" pos="4997">
          <p15:clr>
            <a:srgbClr val="FBAE40"/>
          </p15:clr>
        </p15:guide>
        <p15:guide id="16" pos="5176">
          <p15:clr>
            <a:srgbClr val="FBAE40"/>
          </p15:clr>
        </p15:guide>
        <p15:guide id="17" pos="5624">
          <p15:clr>
            <a:srgbClr val="FBAE40"/>
          </p15:clr>
        </p15:guide>
        <p15:guide id="18" pos="5804">
          <p15:clr>
            <a:srgbClr val="FBAE40"/>
          </p15:clr>
        </p15:guide>
        <p15:guide id="19" pos="6248">
          <p15:clr>
            <a:srgbClr val="FBAE40"/>
          </p15:clr>
        </p15:guide>
        <p15:guide id="20" pos="6427">
          <p15:clr>
            <a:srgbClr val="FBAE40"/>
          </p15:clr>
        </p15:guide>
        <p15:guide id="21" pos="6873">
          <p15:clr>
            <a:srgbClr val="FBAE40"/>
          </p15:clr>
        </p15:guide>
        <p15:guide id="22" pos="7053">
          <p15:clr>
            <a:srgbClr val="FBAE40"/>
          </p15:clr>
        </p15:guide>
        <p15:guide id="23" orient="horz" pos="86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Dark Blue">
    <p:bg>
      <p:bgPr>
        <a:solidFill>
          <a:srgbClr val="003C70"/>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n-US" dirty="0"/>
              <a:t>Footer</a:t>
            </a:r>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Nº›</a:t>
            </a:fld>
            <a:endParaRPr lang="en-US"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310191760"/>
      </p:ext>
    </p:extLst>
  </p:cSld>
  <p:clrMapOvr>
    <a:masterClrMapping/>
  </p:clrMapOvr>
  <p:extLst>
    <p:ext uri="{DCECCB84-F9BA-43D5-87BE-67443E8EF086}">
      <p15:sldGuideLst xmlns:p15="http://schemas.microsoft.com/office/powerpoint/2012/main">
        <p15:guide id="1" pos="626">
          <p15:clr>
            <a:srgbClr val="FBAE40"/>
          </p15:clr>
        </p15:guide>
        <p15:guide id="2" pos="808">
          <p15:clr>
            <a:srgbClr val="FBAE40"/>
          </p15:clr>
        </p15:guide>
        <p15:guide id="3" pos="1253">
          <p15:clr>
            <a:srgbClr val="FBAE40"/>
          </p15:clr>
        </p15:guide>
        <p15:guide id="4" pos="1432">
          <p15:clr>
            <a:srgbClr val="FBAE40"/>
          </p15:clr>
        </p15:guide>
        <p15:guide id="5" pos="1877">
          <p15:clr>
            <a:srgbClr val="FBAE40"/>
          </p15:clr>
        </p15:guide>
        <p15:guide id="6" pos="2056">
          <p15:clr>
            <a:srgbClr val="FBAE40"/>
          </p15:clr>
        </p15:guide>
        <p15:guide id="7" pos="2505">
          <p15:clr>
            <a:srgbClr val="FBAE40"/>
          </p15:clr>
        </p15:guide>
        <p15:guide id="8" pos="2683">
          <p15:clr>
            <a:srgbClr val="FBAE40"/>
          </p15:clr>
        </p15:guide>
        <p15:guide id="9" pos="3130">
          <p15:clr>
            <a:srgbClr val="FBAE40"/>
          </p15:clr>
        </p15:guide>
        <p15:guide id="10" pos="3308">
          <p15:clr>
            <a:srgbClr val="FBAE40"/>
          </p15:clr>
        </p15:guide>
        <p15:guide id="11" pos="3753">
          <p15:clr>
            <a:srgbClr val="FBAE40"/>
          </p15:clr>
        </p15:guide>
        <p15:guide id="12" pos="3926">
          <p15:clr>
            <a:srgbClr val="FBAE40"/>
          </p15:clr>
        </p15:guide>
        <p15:guide id="13" pos="4373">
          <p15:clr>
            <a:srgbClr val="FBAE40"/>
          </p15:clr>
        </p15:guide>
        <p15:guide id="14" pos="4551">
          <p15:clr>
            <a:srgbClr val="FBAE40"/>
          </p15:clr>
        </p15:guide>
        <p15:guide id="15" pos="4997">
          <p15:clr>
            <a:srgbClr val="FBAE40"/>
          </p15:clr>
        </p15:guide>
        <p15:guide id="16" pos="5176">
          <p15:clr>
            <a:srgbClr val="FBAE40"/>
          </p15:clr>
        </p15:guide>
        <p15:guide id="17" pos="5624">
          <p15:clr>
            <a:srgbClr val="FBAE40"/>
          </p15:clr>
        </p15:guide>
        <p15:guide id="18" pos="5804">
          <p15:clr>
            <a:srgbClr val="FBAE40"/>
          </p15:clr>
        </p15:guide>
        <p15:guide id="19" pos="6248">
          <p15:clr>
            <a:srgbClr val="FBAE40"/>
          </p15:clr>
        </p15:guide>
        <p15:guide id="20" pos="6427">
          <p15:clr>
            <a:srgbClr val="FBAE40"/>
          </p15:clr>
        </p15:guide>
        <p15:guide id="21" pos="6873">
          <p15:clr>
            <a:srgbClr val="FBAE40"/>
          </p15:clr>
        </p15:guide>
        <p15:guide id="22" pos="7053">
          <p15:clr>
            <a:srgbClr val="FBAE40"/>
          </p15:clr>
        </p15:guide>
        <p15:guide id="23" orient="horz" pos="86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Gray">
    <p:bg>
      <p:bgPr>
        <a:solidFill>
          <a:srgbClr val="F1F1F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r>
              <a:rPr lang="en-US" noProof="0"/>
              <a:t>Footer</a:t>
            </a:r>
            <a:endParaRPr lang="en-US"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US" noProof="0" smtClean="0"/>
              <a:pPr/>
              <a:t>‹Nº›</a:t>
            </a:fld>
            <a:endParaRPr lang="en-US" noProof="0" dirty="0"/>
          </a:p>
        </p:txBody>
      </p:sp>
    </p:spTree>
    <p:extLst>
      <p:ext uri="{BB962C8B-B14F-4D97-AF65-F5344CB8AC3E}">
        <p14:creationId xmlns:p14="http://schemas.microsoft.com/office/powerpoint/2010/main" val="2298003381"/>
      </p:ext>
    </p:extLst>
  </p:cSld>
  <p:clrMapOvr>
    <a:masterClrMapping/>
  </p:clrMapOvr>
  <p:extLst>
    <p:ext uri="{DCECCB84-F9BA-43D5-87BE-67443E8EF086}">
      <p15:sldGuideLst xmlns:p15="http://schemas.microsoft.com/office/powerpoint/2012/main">
        <p15:guide id="1" pos="626">
          <p15:clr>
            <a:srgbClr val="FBAE40"/>
          </p15:clr>
        </p15:guide>
        <p15:guide id="2" pos="808">
          <p15:clr>
            <a:srgbClr val="FBAE40"/>
          </p15:clr>
        </p15:guide>
        <p15:guide id="3" pos="1253">
          <p15:clr>
            <a:srgbClr val="FBAE40"/>
          </p15:clr>
        </p15:guide>
        <p15:guide id="4" pos="1432">
          <p15:clr>
            <a:srgbClr val="FBAE40"/>
          </p15:clr>
        </p15:guide>
        <p15:guide id="5" pos="1877">
          <p15:clr>
            <a:srgbClr val="FBAE40"/>
          </p15:clr>
        </p15:guide>
        <p15:guide id="6" pos="2056">
          <p15:clr>
            <a:srgbClr val="FBAE40"/>
          </p15:clr>
        </p15:guide>
        <p15:guide id="7" pos="2505">
          <p15:clr>
            <a:srgbClr val="FBAE40"/>
          </p15:clr>
        </p15:guide>
        <p15:guide id="8" pos="2683">
          <p15:clr>
            <a:srgbClr val="FBAE40"/>
          </p15:clr>
        </p15:guide>
        <p15:guide id="9" pos="3130">
          <p15:clr>
            <a:srgbClr val="FBAE40"/>
          </p15:clr>
        </p15:guide>
        <p15:guide id="10" pos="3308">
          <p15:clr>
            <a:srgbClr val="FBAE40"/>
          </p15:clr>
        </p15:guide>
        <p15:guide id="11" pos="3753">
          <p15:clr>
            <a:srgbClr val="FBAE40"/>
          </p15:clr>
        </p15:guide>
        <p15:guide id="12" pos="3926">
          <p15:clr>
            <a:srgbClr val="FBAE40"/>
          </p15:clr>
        </p15:guide>
        <p15:guide id="13" pos="4373">
          <p15:clr>
            <a:srgbClr val="FBAE40"/>
          </p15:clr>
        </p15:guide>
        <p15:guide id="14" pos="4551">
          <p15:clr>
            <a:srgbClr val="FBAE40"/>
          </p15:clr>
        </p15:guide>
        <p15:guide id="15" pos="4997">
          <p15:clr>
            <a:srgbClr val="FBAE40"/>
          </p15:clr>
        </p15:guide>
        <p15:guide id="16" pos="5176">
          <p15:clr>
            <a:srgbClr val="FBAE40"/>
          </p15:clr>
        </p15:guide>
        <p15:guide id="17" pos="5624">
          <p15:clr>
            <a:srgbClr val="FBAE40"/>
          </p15:clr>
        </p15:guide>
        <p15:guide id="18" pos="5804">
          <p15:clr>
            <a:srgbClr val="FBAE40"/>
          </p15:clr>
        </p15:guide>
        <p15:guide id="19" pos="6248">
          <p15:clr>
            <a:srgbClr val="FBAE40"/>
          </p15:clr>
        </p15:guide>
        <p15:guide id="20" pos="6427">
          <p15:clr>
            <a:srgbClr val="FBAE40"/>
          </p15:clr>
        </p15:guide>
        <p15:guide id="21" pos="6873">
          <p15:clr>
            <a:srgbClr val="FBAE40"/>
          </p15:clr>
        </p15:guide>
        <p15:guide id="22" pos="7053">
          <p15:clr>
            <a:srgbClr val="FBAE40"/>
          </p15:clr>
        </p15:guide>
        <p15:guide id="23" orient="horz" pos="86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cSld name="1_Comparison">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en-GB" smtClean="0"/>
              <a:pPr/>
              <a:t>‹Nº›</a:t>
            </a:fld>
            <a:endParaRPr lang="en-GB" dirty="0"/>
          </a:p>
        </p:txBody>
      </p:sp>
      <p:sp>
        <p:nvSpPr>
          <p:cNvPr id="13" name="Date Placeholder 1"/>
          <p:cNvSpPr>
            <a:spLocks noGrp="1"/>
          </p:cNvSpPr>
          <p:nvPr>
            <p:ph type="dt" sz="half" idx="10"/>
          </p:nvPr>
        </p:nvSpPr>
        <p:spPr/>
        <p:txBody>
          <a:bodyPr/>
          <a:lstStyle/>
          <a:p>
            <a:fld id="{0954EA99-24BE-4506-BB18-F1D3D1BE1E06}" type="datetime4">
              <a:rPr lang="en-GB" smtClean="0"/>
              <a:t>25 September 2025</a:t>
            </a:fld>
            <a:endParaRPr lang="en-GB" dirty="0"/>
          </a:p>
        </p:txBody>
      </p:sp>
      <p:sp>
        <p:nvSpPr>
          <p:cNvPr id="15" name="Footer Placeholder 1"/>
          <p:cNvSpPr>
            <a:spLocks noGrp="1"/>
          </p:cNvSpPr>
          <p:nvPr>
            <p:ph type="ftr" sz="quarter" idx="12"/>
          </p:nvPr>
        </p:nvSpPr>
        <p:spPr/>
        <p:txBody>
          <a:bodyPr/>
          <a:lstStyle/>
          <a:p>
            <a:r>
              <a:rPr lang="en-GB"/>
              <a:t>To edit footer: Insert &gt; Header &amp; Footer (title of presentation and name of speaker)</a:t>
            </a:r>
            <a:endParaRPr lang="en-GB" dirty="0"/>
          </a:p>
        </p:txBody>
      </p:sp>
      <p:sp>
        <p:nvSpPr>
          <p:cNvPr id="2" name="Titel 1"/>
          <p:cNvSpPr>
            <a:spLocks noGrp="1"/>
          </p:cNvSpPr>
          <p:nvPr>
            <p:ph type="title" hasCustomPrompt="1"/>
          </p:nvPr>
        </p:nvSpPr>
        <p:spPr/>
        <p:txBody>
          <a:bodyPr/>
          <a:lstStyle>
            <a:lvl1pPr>
              <a:defRPr/>
            </a:lvl1pPr>
          </a:lstStyle>
          <a:p>
            <a:r>
              <a:rPr lang="en-GB" dirty="0"/>
              <a:t>Title 20 pt, two lines max. and two content blocks</a:t>
            </a:r>
          </a:p>
        </p:txBody>
      </p:sp>
      <p:sp>
        <p:nvSpPr>
          <p:cNvPr id="20" name="Content Placeholder 1"/>
          <p:cNvSpPr>
            <a:spLocks noGrp="1"/>
          </p:cNvSpPr>
          <p:nvPr>
            <p:ph sz="quarter" idx="13" hasCustomPrompt="1"/>
          </p:nvPr>
        </p:nvSpPr>
        <p:spPr>
          <a:xfrm>
            <a:off x="336000" y="2064000"/>
            <a:ext cx="5580000" cy="4416000"/>
          </a:xfrm>
        </p:spPr>
        <p:txBody>
          <a:bodyPr lIns="0" tIns="0" rIns="0" bIns="0"/>
          <a:lstStyle>
            <a:lvl1pPr>
              <a:defRPr/>
            </a:lvl1pPr>
          </a:lstStyle>
          <a:p>
            <a:pPr lvl="0"/>
            <a:r>
              <a:rPr lang="en-GB" dirty="0"/>
              <a:t>To customise the hierarchy of points, use Start &gt; Paragraph &gt; Decrease / Increase Lis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2" name="Content Placeholder 2"/>
          <p:cNvSpPr>
            <a:spLocks noGrp="1"/>
          </p:cNvSpPr>
          <p:nvPr>
            <p:ph sz="quarter" idx="14" hasCustomPrompt="1"/>
          </p:nvPr>
        </p:nvSpPr>
        <p:spPr>
          <a:xfrm>
            <a:off x="6276000" y="2057400"/>
            <a:ext cx="5580000" cy="4416000"/>
          </a:xfrm>
        </p:spPr>
        <p:txBody>
          <a:bodyPr lIns="0" tIns="0" rIns="0" bIns="0"/>
          <a:lstStyle>
            <a:lvl1pPr>
              <a:defRPr/>
            </a:lvl1pPr>
          </a:lstStyle>
          <a:p>
            <a:pPr lvl="0"/>
            <a:r>
              <a:rPr lang="en-GB" dirty="0"/>
              <a:t>To customise the hierarchy of points, use Start &gt; Paragraph &gt; Decrease / Increase Lis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3" name="Heading Placeholder 1"/>
          <p:cNvSpPr>
            <a:spLocks noGrp="1"/>
          </p:cNvSpPr>
          <p:nvPr>
            <p:ph type="body" idx="1" hasCustomPrompt="1"/>
          </p:nvPr>
        </p:nvSpPr>
        <p:spPr>
          <a:xfrm>
            <a:off x="336000" y="1488000"/>
            <a:ext cx="5580000" cy="384000"/>
          </a:xfrm>
        </p:spPr>
        <p:txBody>
          <a:bodyPr wrap="square" lIns="0" tIns="0" rIns="0" bIns="0" anchor="t"/>
          <a:lstStyle>
            <a:lvl1pPr marL="0" indent="0">
              <a:lnSpc>
                <a:spcPct val="100000"/>
              </a:lnSpc>
              <a:spcAft>
                <a:spcPts val="0"/>
              </a:spcAft>
              <a:buFontTx/>
              <a:buNone/>
              <a:defRPr sz="2133">
                <a:solidFill>
                  <a:schemeClr val="accent1"/>
                </a:solidFill>
              </a:defRPr>
            </a:lvl1pPr>
          </a:lstStyle>
          <a:p>
            <a:pPr lvl="0"/>
            <a:r>
              <a:rPr lang="en-GB" dirty="0"/>
              <a:t>Heading 16 pt, single line</a:t>
            </a:r>
          </a:p>
        </p:txBody>
      </p:sp>
      <p:sp>
        <p:nvSpPr>
          <p:cNvPr id="5" name="Heading Placeholder 2"/>
          <p:cNvSpPr>
            <a:spLocks noGrp="1"/>
          </p:cNvSpPr>
          <p:nvPr>
            <p:ph type="body" sz="quarter" idx="3" hasCustomPrompt="1"/>
          </p:nvPr>
        </p:nvSpPr>
        <p:spPr>
          <a:xfrm>
            <a:off x="6276000" y="1488000"/>
            <a:ext cx="5580000" cy="384000"/>
          </a:xfrm>
        </p:spPr>
        <p:txBody>
          <a:bodyPr wrap="square" lIns="0" tIns="0" rIns="0" bIns="0" anchor="t"/>
          <a:lstStyle>
            <a:lvl1pPr marL="0" indent="0">
              <a:lnSpc>
                <a:spcPct val="100000"/>
              </a:lnSpc>
              <a:spcAft>
                <a:spcPts val="0"/>
              </a:spcAft>
              <a:buFontTx/>
              <a:buNone/>
              <a:defRPr sz="2133">
                <a:solidFill>
                  <a:schemeClr val="accent1"/>
                </a:solidFill>
              </a:defRPr>
            </a:lvl1pPr>
          </a:lstStyle>
          <a:p>
            <a:pPr lvl="0"/>
            <a:r>
              <a:rPr lang="en-GB" dirty="0"/>
              <a:t>Heading 16 pt, single line</a:t>
            </a:r>
          </a:p>
        </p:txBody>
      </p:sp>
    </p:spTree>
    <p:extLst>
      <p:ext uri="{BB962C8B-B14F-4D97-AF65-F5344CB8AC3E}">
        <p14:creationId xmlns:p14="http://schemas.microsoft.com/office/powerpoint/2010/main" val="3020815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FBAE40"/>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pos="2795">
          <p15:clr>
            <a:srgbClr val="FBAE40"/>
          </p15:clr>
        </p15:guide>
        <p15:guide id="37" pos="2965">
          <p15:clr>
            <a:srgbClr val="FBAE40"/>
          </p15:clr>
        </p15:guide>
        <p15:guide id="38" orient="horz" pos="975">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lvl1pPr>
              <a:defRPr/>
            </a:lvl1pPr>
          </a:lstStyle>
          <a:p>
            <a:endParaRPr lang="en-GB" dirty="0"/>
          </a:p>
        </p:txBody>
      </p:sp>
      <p:sp>
        <p:nvSpPr>
          <p:cNvPr id="5" name="Slide Number Placeholder 4"/>
          <p:cNvSpPr>
            <a:spLocks noGrp="1"/>
          </p:cNvSpPr>
          <p:nvPr>
            <p:ph type="sldNum" sz="quarter" idx="11"/>
          </p:nvPr>
        </p:nvSpPr>
        <p:spPr/>
        <p:txBody>
          <a:bodyPr/>
          <a:lstStyle>
            <a:lvl1pPr>
              <a:defRPr/>
            </a:lvl1pPr>
          </a:lstStyle>
          <a:p>
            <a:fld id="{280C9F01-545B-4729-8114-B58473A73DE5}" type="slidenum">
              <a:rPr lang="en-GB"/>
              <a:pPr/>
              <a:t>‹Nº›</a:t>
            </a:fld>
            <a:endParaRPr lang="en-GB"/>
          </a:p>
        </p:txBody>
      </p:sp>
    </p:spTree>
    <p:extLst>
      <p:ext uri="{BB962C8B-B14F-4D97-AF65-F5344CB8AC3E}">
        <p14:creationId xmlns:p14="http://schemas.microsoft.com/office/powerpoint/2010/main" val="2243563975"/>
      </p:ext>
    </p:extLst>
  </p:cSld>
  <p:clrMapOvr>
    <a:masterClrMapping/>
  </p:clrMapOvr>
  <p:transition spd="slow"/>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Title and Text">
    <p:spTree>
      <p:nvGrpSpPr>
        <p:cNvPr id="1" name=""/>
        <p:cNvGrpSpPr/>
        <p:nvPr/>
      </p:nvGrpSpPr>
      <p:grpSpPr>
        <a:xfrm>
          <a:off x="0" y="0"/>
          <a:ext cx="0" cy="0"/>
          <a:chOff x="0" y="0"/>
          <a:chExt cx="0" cy="0"/>
        </a:xfrm>
      </p:grpSpPr>
      <p:sp>
        <p:nvSpPr>
          <p:cNvPr id="2" name="Titel 1"/>
          <p:cNvSpPr>
            <a:spLocks noGrp="1"/>
          </p:cNvSpPr>
          <p:nvPr>
            <p:ph type="title"/>
          </p:nvPr>
        </p:nvSpPr>
        <p:spPr>
          <a:xfrm>
            <a:off x="455999" y="387854"/>
            <a:ext cx="11401567" cy="36924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lang="de-DE" dirty="0"/>
            </a:lvl1pPr>
          </a:lstStyle>
          <a:p>
            <a:pPr lvl="0"/>
            <a:r>
              <a:rPr lang="en-US"/>
              <a:t>Click to edit Master title style</a:t>
            </a:r>
            <a:endParaRPr lang="de-DE" dirty="0"/>
          </a:p>
        </p:txBody>
      </p:sp>
      <p:sp>
        <p:nvSpPr>
          <p:cNvPr id="5" name="Foliennummernplatzhalter 4"/>
          <p:cNvSpPr>
            <a:spLocks noGrp="1"/>
          </p:cNvSpPr>
          <p:nvPr>
            <p:ph type="sldNum" sz="quarter" idx="11"/>
          </p:nvPr>
        </p:nvSpPr>
        <p:spPr>
          <a:xfrm>
            <a:off x="456000" y="6631200"/>
            <a:ext cx="508000" cy="226800"/>
          </a:xfrm>
        </p:spPr>
        <p:txBody>
          <a:bodyPr/>
          <a:lstStyle>
            <a:lvl1pPr>
              <a:defRPr>
                <a:solidFill>
                  <a:srgbClr val="796E6B"/>
                </a:solidFill>
              </a:defRPr>
            </a:lvl1pPr>
          </a:lstStyle>
          <a:p>
            <a:fld id="{3AF343E1-B35F-4041-A198-78A0B7C0DC64}" type="slidenum">
              <a:rPr lang="en-GB" smtClean="0"/>
              <a:t>‹Nº›</a:t>
            </a:fld>
            <a:endParaRPr lang="en-GB"/>
          </a:p>
        </p:txBody>
      </p:sp>
      <p:sp>
        <p:nvSpPr>
          <p:cNvPr id="6" name="Textplatzhalter 5"/>
          <p:cNvSpPr>
            <a:spLocks noGrp="1"/>
          </p:cNvSpPr>
          <p:nvPr>
            <p:ph type="body" sz="quarter" idx="13"/>
          </p:nvPr>
        </p:nvSpPr>
        <p:spPr>
          <a:xfrm>
            <a:off x="455999" y="1350001"/>
            <a:ext cx="11401567" cy="1384674"/>
          </a:xfrm>
        </p:spPr>
        <p:txBody>
          <a:bodyPr vert="horz" wrap="square" lIns="0" tIns="0" rIns="0" bIns="0" rtlCol="0">
            <a:spAutoFit/>
          </a:bodyPr>
          <a:lstStyle>
            <a:lvl1pPr marL="268261" indent="-268261">
              <a:buFont typeface="Wingdings 3" pitchFamily="18" charset="2"/>
              <a:buChar char=""/>
              <a:defRPr lang="de-DE" smtClean="0"/>
            </a:lvl1pPr>
            <a:lvl2pPr>
              <a:defRPr lang="de-DE" smtClean="0"/>
            </a:lvl2pPr>
            <a:lvl3pPr marL="658734" indent="-212378">
              <a:buFont typeface="Arial Black" pitchFamily="34" charset="0"/>
              <a:buChar char="−"/>
              <a:defRPr lang="de-DE" smtClean="0"/>
            </a:lvl3pPr>
            <a:lvl4pPr>
              <a:defRPr lang="de-DE" smtClean="0"/>
            </a:lvl4pPr>
            <a:lvl5pPr>
              <a:defRPr lang="de-DE"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ußzeilenplatzhalter 2"/>
          <p:cNvSpPr>
            <a:spLocks noGrp="1"/>
          </p:cNvSpPr>
          <p:nvPr>
            <p:ph type="ftr" sz="quarter" idx="3"/>
          </p:nvPr>
        </p:nvSpPr>
        <p:spPr>
          <a:xfrm>
            <a:off x="945600" y="6631200"/>
            <a:ext cx="8347200" cy="226800"/>
          </a:xfrm>
          <a:prstGeom prst="rect">
            <a:avLst/>
          </a:prstGeom>
        </p:spPr>
        <p:txBody>
          <a:bodyPr vert="horz" lIns="0" tIns="0" rIns="0" bIns="0" rtlCol="0" anchor="t" anchorCtr="0"/>
          <a:lstStyle>
            <a:lvl1pPr algn="l">
              <a:defRPr sz="900">
                <a:solidFill>
                  <a:srgbClr val="796E6B"/>
                </a:solidFill>
              </a:defRPr>
            </a:lvl1pPr>
          </a:lstStyle>
          <a:p>
            <a:endParaRPr lang="en-GB"/>
          </a:p>
        </p:txBody>
      </p:sp>
    </p:spTree>
    <p:extLst>
      <p:ext uri="{BB962C8B-B14F-4D97-AF65-F5344CB8AC3E}">
        <p14:creationId xmlns:p14="http://schemas.microsoft.com/office/powerpoint/2010/main" val="2754816749"/>
      </p:ext>
    </p:extLst>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p:bg>
      <p:bgPr>
        <a:solidFill>
          <a:srgbClr val="003C70"/>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bg1"/>
                </a:solidFill>
              </a:defRPr>
            </a:lvl1pPr>
          </a:lstStyle>
          <a:p>
            <a:r>
              <a:rPr lang="en-US" dirty="0"/>
              <a:t>Click to edit Master title style</a:t>
            </a:r>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b="1">
                <a:solidFill>
                  <a:schemeClr val="bg1"/>
                </a:solidFill>
              </a:defRPr>
            </a:lvl1pPr>
            <a:lvl2pPr marL="0" indent="0">
              <a:lnSpc>
                <a:spcPct val="100000"/>
              </a:lnSpc>
              <a:spcAft>
                <a:spcPts val="0"/>
              </a:spcAft>
              <a:buNone/>
              <a:defRPr sz="1400" b="1">
                <a:solidFill>
                  <a:schemeClr val="bg1"/>
                </a:solidFill>
              </a:defRPr>
            </a:lvl2pPr>
            <a:lvl3pPr marL="0" indent="0">
              <a:lnSpc>
                <a:spcPct val="100000"/>
              </a:lnSpc>
              <a:spcAft>
                <a:spcPts val="0"/>
              </a:spcAft>
              <a:buNone/>
              <a:defRPr sz="1400" b="1">
                <a:solidFill>
                  <a:schemeClr val="bg1"/>
                </a:solidFill>
              </a:defRPr>
            </a:lvl3pPr>
            <a:lvl4pPr marL="0" indent="0">
              <a:lnSpc>
                <a:spcPct val="100000"/>
              </a:lnSpc>
              <a:spcAft>
                <a:spcPts val="0"/>
              </a:spcAft>
              <a:buNone/>
              <a:defRPr sz="1400" b="1">
                <a:solidFill>
                  <a:schemeClr val="bg1"/>
                </a:solidFill>
              </a:defRPr>
            </a:lvl4pPr>
            <a:lvl5pPr marL="0" indent="0">
              <a:lnSpc>
                <a:spcPct val="100000"/>
              </a:lnSpc>
              <a:spcAft>
                <a:spcPts val="0"/>
              </a:spcAft>
              <a:buNone/>
              <a:defRPr sz="1400" b="1">
                <a:solidFill>
                  <a:schemeClr val="bg1"/>
                </a:solidFill>
              </a:defRPr>
            </a:lvl5pPr>
            <a:lvl6pPr marL="0" indent="0">
              <a:lnSpc>
                <a:spcPct val="100000"/>
              </a:lnSpc>
              <a:spcAft>
                <a:spcPts val="0"/>
              </a:spcAft>
              <a:buNone/>
              <a:defRPr sz="1400" b="1">
                <a:solidFill>
                  <a:schemeClr val="bg1"/>
                </a:solidFill>
              </a:defRPr>
            </a:lvl6pPr>
            <a:lvl7pPr marL="0" indent="0">
              <a:lnSpc>
                <a:spcPct val="100000"/>
              </a:lnSpc>
              <a:spcAft>
                <a:spcPts val="0"/>
              </a:spcAft>
              <a:buNone/>
              <a:defRPr sz="1400" b="1">
                <a:solidFill>
                  <a:schemeClr val="bg1"/>
                </a:solidFill>
              </a:defRPr>
            </a:lvl7pPr>
            <a:lvl8pPr marL="0" indent="0">
              <a:lnSpc>
                <a:spcPct val="100000"/>
              </a:lnSpc>
              <a:spcAft>
                <a:spcPts val="0"/>
              </a:spcAft>
              <a:buNone/>
              <a:defRPr sz="1400" b="1">
                <a:solidFill>
                  <a:schemeClr val="bg1"/>
                </a:solidFill>
              </a:defRPr>
            </a:lvl8pPr>
            <a:lvl9pPr marL="0" indent="0">
              <a:lnSpc>
                <a:spcPct val="100000"/>
              </a:lnSpc>
              <a:buNone/>
              <a:defRPr sz="1400" b="1">
                <a:solidFill>
                  <a:schemeClr val="bg1"/>
                </a:solidFill>
              </a:defRPr>
            </a:lvl9pPr>
          </a:lstStyle>
          <a:p>
            <a:pPr lvl="0"/>
            <a:r>
              <a:rPr lang="en-US" dirty="0"/>
              <a:t>Click to edit Master text styles</a:t>
            </a:r>
          </a:p>
        </p:txBody>
      </p:sp>
      <p:pic>
        <p:nvPicPr>
          <p:cNvPr id="17" name="Grafik 10">
            <a:extLst>
              <a:ext uri="{FF2B5EF4-FFF2-40B4-BE49-F238E27FC236}">
                <a16:creationId xmlns:a16="http://schemas.microsoft.com/office/drawing/2014/main" id="{BA20CB27-0813-0E71-A6A9-F50F88640E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5" name="Footer Placeholder 4">
            <a:extLst>
              <a:ext uri="{FF2B5EF4-FFF2-40B4-BE49-F238E27FC236}">
                <a16:creationId xmlns:a16="http://schemas.microsoft.com/office/drawing/2014/main" id="{1D5E4A31-4072-9922-D0F5-241C14B1A27C}"/>
              </a:ext>
            </a:extLst>
          </p:cNvPr>
          <p:cNvSpPr>
            <a:spLocks noGrp="1"/>
          </p:cNvSpPr>
          <p:nvPr>
            <p:ph type="ftr" sz="quarter" idx="17"/>
          </p:nvPr>
        </p:nvSpPr>
        <p:spPr>
          <a:xfrm>
            <a:off x="3265200" y="6450420"/>
            <a:ext cx="6656400" cy="144000"/>
          </a:xfrm>
        </p:spPr>
        <p:txBody>
          <a:bodyPr/>
          <a:lstStyle>
            <a:lvl1pPr>
              <a:defRPr>
                <a:solidFill>
                  <a:schemeClr val="bg1"/>
                </a:solidFill>
              </a:defRPr>
            </a:lvl1pPr>
          </a:lstStyle>
          <a:p>
            <a:r>
              <a:rPr lang="en-US" dirty="0"/>
              <a:t>Footer</a:t>
            </a:r>
          </a:p>
        </p:txBody>
      </p:sp>
      <p:sp>
        <p:nvSpPr>
          <p:cNvPr id="6" name="Slide Number Placeholder 5">
            <a:extLst>
              <a:ext uri="{FF2B5EF4-FFF2-40B4-BE49-F238E27FC236}">
                <a16:creationId xmlns:a16="http://schemas.microsoft.com/office/drawing/2014/main" id="{4451D7E3-B707-E68D-52EF-D4243EB0ECED}"/>
              </a:ext>
            </a:extLst>
          </p:cNvPr>
          <p:cNvSpPr>
            <a:spLocks noGrp="1"/>
          </p:cNvSpPr>
          <p:nvPr>
            <p:ph type="sldNum" sz="quarter" idx="18"/>
          </p:nvPr>
        </p:nvSpPr>
        <p:spPr/>
        <p:txBody>
          <a:bodyPr/>
          <a:lstStyle/>
          <a:p>
            <a:fld id="{9A0F3412-00EB-454F-952B-1EB5D3D69307}" type="slidenum">
              <a:rPr lang="en-US" noProof="0" smtClean="0"/>
              <a:pPr/>
              <a:t>‹Nº›</a:t>
            </a:fld>
            <a:endParaRPr lang="en-US" noProof="0" dirty="0"/>
          </a:p>
        </p:txBody>
      </p:sp>
      <p:sp>
        <p:nvSpPr>
          <p:cNvPr id="8" name="Online Image Placeholder 9">
            <a:extLst>
              <a:ext uri="{FF2B5EF4-FFF2-40B4-BE49-F238E27FC236}">
                <a16:creationId xmlns:a16="http://schemas.microsoft.com/office/drawing/2014/main" id="{A2F85F0E-6716-6BB7-327E-848037ACEF74}"/>
              </a:ext>
            </a:extLst>
          </p:cNvPr>
          <p:cNvSpPr>
            <a:spLocks noGrp="1" noChangeAspect="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US" dirty="0"/>
              <a:t>.</a:t>
            </a:r>
          </a:p>
        </p:txBody>
      </p:sp>
      <p:sp>
        <p:nvSpPr>
          <p:cNvPr id="9" name="Online Image Placeholder 9">
            <a:extLst>
              <a:ext uri="{FF2B5EF4-FFF2-40B4-BE49-F238E27FC236}">
                <a16:creationId xmlns:a16="http://schemas.microsoft.com/office/drawing/2014/main" id="{2C4BC777-9D4E-C7CA-3A3A-715BA4AE1BB3}"/>
              </a:ext>
            </a:extLst>
          </p:cNvPr>
          <p:cNvSpPr>
            <a:spLocks noGrp="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E49C7F29-DBD8-8CFC-724A-754CC23C80B2}"/>
              </a:ext>
            </a:extLst>
          </p:cNvPr>
          <p:cNvSpPr/>
          <p:nvPr userDrawn="1"/>
        </p:nvSpPr>
        <p:spPr>
          <a:xfrm>
            <a:off x="12312000" y="2416175"/>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a:t>
            </a:r>
            <a:r>
              <a:rPr lang="en-US" sz="900" b="0" noProof="0" dirty="0" err="1">
                <a:solidFill>
                  <a:schemeClr val="tx1"/>
                </a:solidFill>
              </a:rPr>
              <a:t>subheadline</a:t>
            </a:r>
            <a:r>
              <a:rPr lang="en-US" sz="900" b="0" noProof="0" dirty="0">
                <a:solidFill>
                  <a:schemeClr val="tx1"/>
                </a:solidFill>
              </a:rPr>
              <a:t> can be placed here</a:t>
            </a:r>
          </a:p>
        </p:txBody>
      </p:sp>
      <p:sp>
        <p:nvSpPr>
          <p:cNvPr id="7" name="Abgerundete rechteckige Legende 10">
            <a:extLst>
              <a:ext uri="{FF2B5EF4-FFF2-40B4-BE49-F238E27FC236}">
                <a16:creationId xmlns:a16="http://schemas.microsoft.com/office/drawing/2014/main" id="{3A3F11DA-DA62-714C-B812-DE0E15ACA754}"/>
              </a:ext>
            </a:extLst>
          </p:cNvPr>
          <p:cNvSpPr/>
          <p:nvPr userDrawn="1"/>
        </p:nvSpPr>
        <p:spPr>
          <a:xfrm>
            <a:off x="12312000" y="1081671"/>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longer, multi-line headline can appear here</a:t>
            </a:r>
          </a:p>
        </p:txBody>
      </p:sp>
    </p:spTree>
    <p:extLst>
      <p:ext uri="{BB962C8B-B14F-4D97-AF65-F5344CB8AC3E}">
        <p14:creationId xmlns:p14="http://schemas.microsoft.com/office/powerpoint/2010/main" val="3398964892"/>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tx2"/>
                </a:solidFill>
              </a:defRPr>
            </a:lvl1pPr>
          </a:lstStyle>
          <a:p>
            <a:r>
              <a:rPr lang="en-US" dirty="0"/>
              <a:t>Click to edit Master title style</a:t>
            </a:r>
            <a:endParaRPr lang="en-US"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525" y="3024913"/>
            <a:ext cx="5310000" cy="1800000"/>
          </a:xfrm>
        </p:spPr>
        <p:txBody>
          <a:bodyPr tIns="259200"/>
          <a:lstStyle>
            <a:lvl1pPr marL="0" indent="0" algn="l">
              <a:lnSpc>
                <a:spcPct val="100000"/>
              </a:lnSpc>
              <a:spcAft>
                <a:spcPts val="1600"/>
              </a:spcAft>
              <a:buNone/>
              <a:defRPr sz="1400">
                <a:solidFill>
                  <a:schemeClr val="tx2"/>
                </a:solidFill>
              </a:defRPr>
            </a:lvl1pPr>
            <a:lvl2pPr marL="0" indent="0" algn="l">
              <a:lnSpc>
                <a:spcPct val="100000"/>
              </a:lnSpc>
              <a:spcAft>
                <a:spcPts val="0"/>
              </a:spcAft>
              <a:buNone/>
              <a:defRPr sz="1400"/>
            </a:lvl2pPr>
            <a:lvl3pPr marL="0" indent="0" algn="l">
              <a:lnSpc>
                <a:spcPct val="100000"/>
              </a:lnSpc>
              <a:spcAft>
                <a:spcPts val="0"/>
              </a:spcAft>
              <a:buNone/>
              <a:defRPr sz="1400"/>
            </a:lvl3pPr>
            <a:lvl4pPr marL="0" indent="0" algn="l">
              <a:lnSpc>
                <a:spcPct val="100000"/>
              </a:lnSpc>
              <a:spcAft>
                <a:spcPts val="0"/>
              </a:spcAft>
              <a:buNone/>
              <a:defRPr sz="1400" b="0"/>
            </a:lvl4pPr>
            <a:lvl5pPr marL="0" indent="0" algn="l">
              <a:lnSpc>
                <a:spcPct val="100000"/>
              </a:lnSpc>
              <a:spcAft>
                <a:spcPts val="0"/>
              </a:spcAft>
              <a:buNone/>
              <a:defRPr sz="1400"/>
            </a:lvl5pPr>
            <a:lvl6pPr marL="0" indent="0" algn="l">
              <a:lnSpc>
                <a:spcPct val="100000"/>
              </a:lnSpc>
              <a:spcAft>
                <a:spcPts val="0"/>
              </a:spcAft>
              <a:buNone/>
              <a:defRPr sz="1400"/>
            </a:lvl6pPr>
            <a:lvl7pPr marL="0" indent="0" algn="l">
              <a:lnSpc>
                <a:spcPct val="100000"/>
              </a:lnSpc>
              <a:buNone/>
              <a:defRPr sz="1400"/>
            </a:lvl7pPr>
            <a:lvl8pPr marL="0" indent="0" algn="l">
              <a:lnSpc>
                <a:spcPct val="100000"/>
              </a:lnSpc>
              <a:buNone/>
              <a:defRPr sz="1400"/>
            </a:lvl8pPr>
            <a:lvl9pPr marL="0" indent="0" algn="l">
              <a:lnSpc>
                <a:spcPct val="100000"/>
              </a:lnSpc>
              <a:buNone/>
              <a:defRPr sz="1400"/>
            </a:lvl9pPr>
          </a:lstStyle>
          <a:p>
            <a:pPr lvl="0"/>
            <a:r>
              <a:rPr lang="en-US" dirty="0"/>
              <a:t>Click to edit Master subtitle style</a:t>
            </a:r>
          </a:p>
          <a:p>
            <a:pPr lvl="1"/>
            <a:r>
              <a:rPr lang="en-US" dirty="0"/>
              <a:t>Second level</a:t>
            </a: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338" y="283377"/>
            <a:ext cx="2311200"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A68FFC5-B3C2-494C-58EE-8E70F9FDCA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315" y="6440208"/>
            <a:ext cx="1515600" cy="166761"/>
          </a:xfrm>
          <a:prstGeom prst="rect">
            <a:avLst/>
          </a:prstGeom>
        </p:spPr>
      </p:pic>
      <p:sp>
        <p:nvSpPr>
          <p:cNvPr id="4" name="Abgerundete rechteckige Legende 10">
            <a:extLst>
              <a:ext uri="{FF2B5EF4-FFF2-40B4-BE49-F238E27FC236}">
                <a16:creationId xmlns:a16="http://schemas.microsoft.com/office/drawing/2014/main" id="{41C74EA6-8036-D227-4CF2-09CAD4BFB4EC}"/>
              </a:ext>
            </a:extLst>
          </p:cNvPr>
          <p:cNvSpPr/>
          <p:nvPr userDrawn="1"/>
        </p:nvSpPr>
        <p:spPr>
          <a:xfrm>
            <a:off x="-2808000" y="21074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resentation title with multiple lines, please keep as short as possible</a:t>
            </a:r>
          </a:p>
        </p:txBody>
      </p:sp>
      <p:sp>
        <p:nvSpPr>
          <p:cNvPr id="5" name="Abgerundete rechteckige Legende 10">
            <a:extLst>
              <a:ext uri="{FF2B5EF4-FFF2-40B4-BE49-F238E27FC236}">
                <a16:creationId xmlns:a16="http://schemas.microsoft.com/office/drawing/2014/main" id="{ECD2E06B-17EC-5D4B-1476-9873BF4E0337}"/>
              </a:ext>
            </a:extLst>
          </p:cNvPr>
          <p:cNvSpPr/>
          <p:nvPr userDrawn="1"/>
        </p:nvSpPr>
        <p:spPr>
          <a:xfrm>
            <a:off x="-2808000" y="3095159"/>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only one line long, move this text frame up and align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three lines long, move this text frame down and align it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econd list level is used for name, position, event and date.</a:t>
            </a:r>
          </a:p>
        </p:txBody>
      </p:sp>
    </p:spTree>
    <p:extLst>
      <p:ext uri="{BB962C8B-B14F-4D97-AF65-F5344CB8AC3E}">
        <p14:creationId xmlns:p14="http://schemas.microsoft.com/office/powerpoint/2010/main" val="3786719015"/>
      </p:ext>
    </p:extLst>
  </p:cSld>
  <p:clrMapOvr>
    <a:masterClrMapping/>
  </p:clrMapOvr>
  <p:extLst>
    <p:ext uri="{DCECCB84-F9BA-43D5-87BE-67443E8EF086}">
      <p15:sldGuideLst xmlns:p15="http://schemas.microsoft.com/office/powerpoint/2012/main">
        <p15:guide id="1" orient="horz" pos="1496">
          <p15:clr>
            <a:srgbClr val="FBAE40"/>
          </p15:clr>
        </p15:guide>
        <p15:guide id="2" pos="3840">
          <p15:clr>
            <a:srgbClr val="FBAE40"/>
          </p15:clr>
        </p15:guide>
        <p15:guide id="5" pos="352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dark">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bg1"/>
                </a:solidFill>
              </a:defRPr>
            </a:lvl1pPr>
          </a:lstStyle>
          <a:p>
            <a:r>
              <a:rPr lang="en-US" dirty="0"/>
              <a:t>Click to edit Master title style</a:t>
            </a:r>
            <a:endParaRPr lang="en-US"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336" y="3024000"/>
            <a:ext cx="5310000" cy="1800000"/>
          </a:xfrm>
        </p:spPr>
        <p:txBody>
          <a:bodyPr tIns="259200"/>
          <a:lstStyle>
            <a:lvl1pPr marL="0" indent="0" algn="l">
              <a:spcAft>
                <a:spcPts val="1600"/>
              </a:spcAft>
              <a:buNone/>
              <a:defRPr sz="1400">
                <a:solidFill>
                  <a:schemeClr val="bg1"/>
                </a:solidFill>
              </a:defRPr>
            </a:lvl1pPr>
            <a:lvl2pPr marL="0" indent="0" algn="l">
              <a:spcAft>
                <a:spcPts val="0"/>
              </a:spcAft>
              <a:buNone/>
              <a:defRPr sz="1400">
                <a:solidFill>
                  <a:schemeClr val="bg1"/>
                </a:solidFill>
              </a:defRPr>
            </a:lvl2pPr>
            <a:lvl3pPr marL="0" indent="0" algn="l">
              <a:spcAft>
                <a:spcPts val="0"/>
              </a:spcAft>
              <a:buNone/>
              <a:defRPr sz="1400">
                <a:solidFill>
                  <a:schemeClr val="bg1"/>
                </a:solidFill>
              </a:defRPr>
            </a:lvl3pPr>
            <a:lvl4pPr marL="0" indent="0" algn="l">
              <a:spcAft>
                <a:spcPts val="0"/>
              </a:spcAft>
              <a:buNone/>
              <a:defRPr sz="1400" b="0">
                <a:solidFill>
                  <a:schemeClr val="bg1"/>
                </a:solidFill>
              </a:defRPr>
            </a:lvl4pPr>
            <a:lvl5pPr marL="0" indent="0" algn="l">
              <a:spcAft>
                <a:spcPts val="0"/>
              </a:spcAft>
              <a:buNone/>
              <a:defRPr sz="1400">
                <a:solidFill>
                  <a:schemeClr val="bg1"/>
                </a:solidFill>
              </a:defRPr>
            </a:lvl5pPr>
            <a:lvl6pPr marL="0" indent="0" algn="l">
              <a:spcAft>
                <a:spcPts val="0"/>
              </a:spcAft>
              <a:buNone/>
              <a:defRPr sz="1400">
                <a:solidFill>
                  <a:schemeClr val="bg1"/>
                </a:solidFill>
              </a:defRPr>
            </a:lvl6pPr>
            <a:lvl7pPr marL="0" indent="0" algn="l">
              <a:lnSpc>
                <a:spcPct val="100000"/>
              </a:lnSpc>
              <a:buNone/>
              <a:defRPr sz="1400">
                <a:solidFill>
                  <a:schemeClr val="bg1"/>
                </a:solidFill>
              </a:defRPr>
            </a:lvl7pPr>
            <a:lvl8pPr marL="0" indent="0" algn="l">
              <a:lnSpc>
                <a:spcPct val="100000"/>
              </a:lnSpc>
              <a:buNone/>
              <a:defRPr sz="1400">
                <a:solidFill>
                  <a:schemeClr val="bg1"/>
                </a:solidFill>
              </a:defRPr>
            </a:lvl8pPr>
            <a:lvl9pPr marL="0" indent="0" algn="l">
              <a:lnSpc>
                <a:spcPct val="100000"/>
              </a:lnSpc>
              <a:buNone/>
              <a:defRPr sz="1400">
                <a:solidFill>
                  <a:schemeClr val="bg1"/>
                </a:solidFill>
              </a:defRPr>
            </a:lvl9pPr>
          </a:lstStyle>
          <a:p>
            <a:r>
              <a:rPr lang="en-US" dirty="0"/>
              <a:t>Click to edit Master subtitle style</a:t>
            </a:r>
          </a:p>
          <a:p>
            <a:pPr lvl="1"/>
            <a:r>
              <a:rPr lang="en-US" dirty="0">
                <a:solidFill>
                  <a:schemeClr val="bg1"/>
                </a:solidFill>
              </a:rPr>
              <a:t>Second level</a:t>
            </a: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90096" y="283377"/>
            <a:ext cx="2305683"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DB840ED-5D5E-5D88-FCF7-2D2ABA7BB02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90315" y="6440208"/>
            <a:ext cx="1515600" cy="166760"/>
          </a:xfrm>
          <a:prstGeom prst="rect">
            <a:avLst/>
          </a:prstGeom>
        </p:spPr>
      </p:pic>
      <p:sp>
        <p:nvSpPr>
          <p:cNvPr id="4" name="Abgerundete rechteckige Legende 10">
            <a:extLst>
              <a:ext uri="{FF2B5EF4-FFF2-40B4-BE49-F238E27FC236}">
                <a16:creationId xmlns:a16="http://schemas.microsoft.com/office/drawing/2014/main" id="{478E00B4-9DEB-7BFA-02D6-1A57BDCCE3A9}"/>
              </a:ext>
            </a:extLst>
          </p:cNvPr>
          <p:cNvSpPr/>
          <p:nvPr userDrawn="1"/>
        </p:nvSpPr>
        <p:spPr>
          <a:xfrm>
            <a:off x="-2808000" y="21074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resentation title with multiple lines, please keep as short as possible</a:t>
            </a:r>
          </a:p>
        </p:txBody>
      </p:sp>
      <p:sp>
        <p:nvSpPr>
          <p:cNvPr id="5" name="Abgerundete rechteckige Legende 10">
            <a:extLst>
              <a:ext uri="{FF2B5EF4-FFF2-40B4-BE49-F238E27FC236}">
                <a16:creationId xmlns:a16="http://schemas.microsoft.com/office/drawing/2014/main" id="{9FA1DB77-CFFC-50A2-44D5-AFF434240524}"/>
              </a:ext>
            </a:extLst>
          </p:cNvPr>
          <p:cNvSpPr/>
          <p:nvPr userDrawn="1"/>
        </p:nvSpPr>
        <p:spPr>
          <a:xfrm>
            <a:off x="-2808000" y="3095159"/>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only one line long, move this text frame up and align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title is three lines long, move this text frame down and align it with the title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econd list level is used for name, position, event and date.</a:t>
            </a:r>
          </a:p>
        </p:txBody>
      </p:sp>
    </p:spTree>
    <p:extLst>
      <p:ext uri="{BB962C8B-B14F-4D97-AF65-F5344CB8AC3E}">
        <p14:creationId xmlns:p14="http://schemas.microsoft.com/office/powerpoint/2010/main" val="1958474536"/>
      </p:ext>
    </p:extLst>
  </p:cSld>
  <p:clrMapOvr>
    <a:masterClrMapping/>
  </p:clrMapOvr>
  <p:extLst>
    <p:ext uri="{DCECCB84-F9BA-43D5-87BE-67443E8EF086}">
      <p15:sldGuideLst xmlns:p15="http://schemas.microsoft.com/office/powerpoint/2012/main">
        <p15:guide id="1" orient="horz" pos="1496">
          <p15:clr>
            <a:srgbClr val="FBAE40"/>
          </p15:clr>
        </p15:guide>
        <p15:guide id="2" pos="3840">
          <p15:clr>
            <a:srgbClr val="FBAE40"/>
          </p15:clr>
        </p15:guide>
        <p15:guide id="5" pos="352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with picture">
    <p:bg>
      <p:bgPr>
        <a:solidFill>
          <a:srgbClr val="25421C"/>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0DDA66E8-9E80-6F8E-3097-58A7888CC3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tx2"/>
                </a:solidFill>
              </a:defRPr>
            </a:lvl1pPr>
          </a:lstStyle>
          <a:p>
            <a:r>
              <a:rPr lang="en-US" dirty="0"/>
              <a:t>Click to edit Master title style</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n-US" dirty="0"/>
              <a:t>Footer</a:t>
            </a:r>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A7429042-57AB-06D1-342B-2011144DE143}"/>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US" dirty="0"/>
              <a:t>.</a:t>
            </a:r>
          </a:p>
        </p:txBody>
      </p:sp>
      <p:sp>
        <p:nvSpPr>
          <p:cNvPr id="5" name="Abgerundete rechteckige Legende 10">
            <a:extLst>
              <a:ext uri="{FF2B5EF4-FFF2-40B4-BE49-F238E27FC236}">
                <a16:creationId xmlns:a16="http://schemas.microsoft.com/office/drawing/2014/main" id="{461039C2-3991-4B3D-9032-6AC261ED599F}"/>
              </a:ext>
            </a:extLst>
          </p:cNvPr>
          <p:cNvSpPr/>
          <p:nvPr userDrawn="1"/>
        </p:nvSpPr>
        <p:spPr>
          <a:xfrm>
            <a:off x="-2808000" y="2418168"/>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itle for slide with picture</a:t>
            </a:r>
          </a:p>
        </p:txBody>
      </p:sp>
      <p:sp>
        <p:nvSpPr>
          <p:cNvPr id="6" name="Abgerundete rechteckige Legende 10">
            <a:extLst>
              <a:ext uri="{FF2B5EF4-FFF2-40B4-BE49-F238E27FC236}">
                <a16:creationId xmlns:a16="http://schemas.microsoft.com/office/drawing/2014/main" id="{8CF92884-A372-805E-4DCD-6F28DF8E53C8}"/>
              </a:ext>
            </a:extLst>
          </p:cNvPr>
          <p:cNvSpPr/>
          <p:nvPr userDrawn="1"/>
        </p:nvSpPr>
        <p:spPr>
          <a:xfrm>
            <a:off x="12312000" y="5663489"/>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2446919243"/>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Header dark with picture">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bg1"/>
                </a:solidFill>
              </a:defRPr>
            </a:lvl1pPr>
          </a:lstStyle>
          <a:p>
            <a:r>
              <a:rPr lang="en-US" dirty="0"/>
              <a:t>Click to edit Master title style</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7" name="Footer Placeholder 6">
            <a:extLst>
              <a:ext uri="{FF2B5EF4-FFF2-40B4-BE49-F238E27FC236}">
                <a16:creationId xmlns:a16="http://schemas.microsoft.com/office/drawing/2014/main" id="{B3B064D5-18ED-8929-D911-00D06ABEE77D}"/>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n-US" dirty="0"/>
              <a:t>Footer</a:t>
            </a:r>
          </a:p>
        </p:txBody>
      </p:sp>
      <p:sp>
        <p:nvSpPr>
          <p:cNvPr id="8" name="Slide Number Placeholder 7">
            <a:extLst>
              <a:ext uri="{FF2B5EF4-FFF2-40B4-BE49-F238E27FC236}">
                <a16:creationId xmlns:a16="http://schemas.microsoft.com/office/drawing/2014/main" id="{DE275322-EFFD-0088-ECD5-FCBA78490454}"/>
              </a:ext>
            </a:extLst>
          </p:cNvPr>
          <p:cNvSpPr>
            <a:spLocks noGrp="1"/>
          </p:cNvSpPr>
          <p:nvPr>
            <p:ph type="sldNum" sz="quarter" idx="19"/>
          </p:nvPr>
        </p:nvSpPr>
        <p:spPr/>
        <p:txBody>
          <a:bodyPr/>
          <a:lstStyle>
            <a:lvl1pPr>
              <a:defRPr>
                <a:solidFill>
                  <a:schemeClr val="bg1"/>
                </a:solidFill>
              </a:defRPr>
            </a:lvl1pPr>
          </a:lstStyle>
          <a:p>
            <a:fld id="{9A0F3412-00EB-454F-952B-1EB5D3D69307}" type="slidenum">
              <a:rPr lang="en-US" smtClean="0"/>
              <a:pPr/>
              <a:t>‹Nº›</a:t>
            </a:fld>
            <a:endParaRPr lang="en-US" dirty="0"/>
          </a:p>
        </p:txBody>
      </p:sp>
      <p:sp>
        <p:nvSpPr>
          <p:cNvPr id="10" name="Online Image Placeholder 9">
            <a:extLst>
              <a:ext uri="{FF2B5EF4-FFF2-40B4-BE49-F238E27FC236}">
                <a16:creationId xmlns:a16="http://schemas.microsoft.com/office/drawing/2014/main" id="{B9B72513-928F-1512-0B21-FDD4422728AA}"/>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rgbClr val="25421C"/>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CE893564-5FFC-47CD-6D92-4F47BAD9A057}"/>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rgbClr val="25421C"/>
          </a:solidFill>
        </p:spPr>
        <p:txBody>
          <a:bodyPr/>
          <a:lstStyle>
            <a:lvl1pPr>
              <a:defRPr sz="100" b="0">
                <a:solidFill>
                  <a:srgbClr val="3C3E00"/>
                </a:solidFill>
              </a:defRPr>
            </a:lvl1pPr>
          </a:lstStyle>
          <a:p>
            <a:r>
              <a:rPr lang="en-US" dirty="0"/>
              <a:t>.</a:t>
            </a:r>
          </a:p>
        </p:txBody>
      </p:sp>
      <p:sp>
        <p:nvSpPr>
          <p:cNvPr id="3" name="Abgerundete rechteckige Legende 10">
            <a:extLst>
              <a:ext uri="{FF2B5EF4-FFF2-40B4-BE49-F238E27FC236}">
                <a16:creationId xmlns:a16="http://schemas.microsoft.com/office/drawing/2014/main" id="{227D057A-0ECA-3593-9CB8-0151FD60CCE7}"/>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6" name="Abgerundete rechteckige Legende 10">
            <a:extLst>
              <a:ext uri="{FF2B5EF4-FFF2-40B4-BE49-F238E27FC236}">
                <a16:creationId xmlns:a16="http://schemas.microsoft.com/office/drawing/2014/main" id="{BFB48F6E-93E1-73F0-FF6C-C2007152DF5D}"/>
              </a:ext>
            </a:extLst>
          </p:cNvPr>
          <p:cNvSpPr/>
          <p:nvPr userDrawn="1"/>
        </p:nvSpPr>
        <p:spPr>
          <a:xfrm>
            <a:off x="-2808000" y="2418168"/>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itle for slide with picture</a:t>
            </a:r>
          </a:p>
        </p:txBody>
      </p:sp>
    </p:spTree>
    <p:extLst>
      <p:ext uri="{BB962C8B-B14F-4D97-AF65-F5344CB8AC3E}">
        <p14:creationId xmlns:p14="http://schemas.microsoft.com/office/powerpoint/2010/main" val="798883337"/>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p:bg>
      <p:bgPr>
        <a:solidFill>
          <a:srgbClr val="25421C"/>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bg1"/>
                </a:solidFill>
              </a:defRPr>
            </a:lvl1pPr>
          </a:lstStyle>
          <a:p>
            <a:r>
              <a:rPr lang="en-US" dirty="0"/>
              <a:t>Click to edit Master title style</a:t>
            </a:r>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b="1">
                <a:solidFill>
                  <a:schemeClr val="bg1"/>
                </a:solidFill>
              </a:defRPr>
            </a:lvl1pPr>
            <a:lvl2pPr marL="0" indent="0">
              <a:lnSpc>
                <a:spcPct val="100000"/>
              </a:lnSpc>
              <a:spcAft>
                <a:spcPts val="0"/>
              </a:spcAft>
              <a:buNone/>
              <a:defRPr sz="1400" b="1">
                <a:solidFill>
                  <a:schemeClr val="bg1"/>
                </a:solidFill>
              </a:defRPr>
            </a:lvl2pPr>
            <a:lvl3pPr marL="0" indent="0">
              <a:lnSpc>
                <a:spcPct val="100000"/>
              </a:lnSpc>
              <a:spcAft>
                <a:spcPts val="0"/>
              </a:spcAft>
              <a:buNone/>
              <a:defRPr sz="1400" b="1">
                <a:solidFill>
                  <a:schemeClr val="bg1"/>
                </a:solidFill>
              </a:defRPr>
            </a:lvl3pPr>
            <a:lvl4pPr marL="0" indent="0">
              <a:lnSpc>
                <a:spcPct val="100000"/>
              </a:lnSpc>
              <a:spcAft>
                <a:spcPts val="0"/>
              </a:spcAft>
              <a:buNone/>
              <a:defRPr sz="1400" b="1">
                <a:solidFill>
                  <a:schemeClr val="bg1"/>
                </a:solidFill>
              </a:defRPr>
            </a:lvl4pPr>
            <a:lvl5pPr marL="0" indent="0">
              <a:lnSpc>
                <a:spcPct val="100000"/>
              </a:lnSpc>
              <a:spcAft>
                <a:spcPts val="0"/>
              </a:spcAft>
              <a:buNone/>
              <a:defRPr sz="1400" b="1">
                <a:solidFill>
                  <a:schemeClr val="bg1"/>
                </a:solidFill>
              </a:defRPr>
            </a:lvl5pPr>
            <a:lvl6pPr marL="0" indent="0">
              <a:lnSpc>
                <a:spcPct val="100000"/>
              </a:lnSpc>
              <a:spcAft>
                <a:spcPts val="0"/>
              </a:spcAft>
              <a:buNone/>
              <a:defRPr sz="1400" b="1">
                <a:solidFill>
                  <a:schemeClr val="bg1"/>
                </a:solidFill>
              </a:defRPr>
            </a:lvl6pPr>
            <a:lvl7pPr marL="0" indent="0">
              <a:lnSpc>
                <a:spcPct val="100000"/>
              </a:lnSpc>
              <a:spcAft>
                <a:spcPts val="0"/>
              </a:spcAft>
              <a:buNone/>
              <a:defRPr sz="1400" b="1">
                <a:solidFill>
                  <a:schemeClr val="bg1"/>
                </a:solidFill>
              </a:defRPr>
            </a:lvl7pPr>
            <a:lvl8pPr marL="0" indent="0">
              <a:lnSpc>
                <a:spcPct val="100000"/>
              </a:lnSpc>
              <a:spcAft>
                <a:spcPts val="0"/>
              </a:spcAft>
              <a:buNone/>
              <a:defRPr sz="1400" b="1">
                <a:solidFill>
                  <a:schemeClr val="bg1"/>
                </a:solidFill>
              </a:defRPr>
            </a:lvl8pPr>
            <a:lvl9pPr marL="0" indent="0">
              <a:lnSpc>
                <a:spcPct val="100000"/>
              </a:lnSpc>
              <a:buNone/>
              <a:defRPr sz="1400" b="1">
                <a:solidFill>
                  <a:schemeClr val="bg1"/>
                </a:solidFill>
              </a:defRPr>
            </a:lvl9pPr>
          </a:lstStyle>
          <a:p>
            <a:pPr lvl="0"/>
            <a:r>
              <a:rPr lang="en-US" dirty="0"/>
              <a:t>Click to edit Master text styles</a:t>
            </a:r>
          </a:p>
        </p:txBody>
      </p:sp>
      <p:pic>
        <p:nvPicPr>
          <p:cNvPr id="17" name="Grafik 10">
            <a:extLst>
              <a:ext uri="{FF2B5EF4-FFF2-40B4-BE49-F238E27FC236}">
                <a16:creationId xmlns:a16="http://schemas.microsoft.com/office/drawing/2014/main" id="{BA20CB27-0813-0E71-A6A9-F50F88640E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5" name="Footer Placeholder 4">
            <a:extLst>
              <a:ext uri="{FF2B5EF4-FFF2-40B4-BE49-F238E27FC236}">
                <a16:creationId xmlns:a16="http://schemas.microsoft.com/office/drawing/2014/main" id="{1D5E4A31-4072-9922-D0F5-241C14B1A27C}"/>
              </a:ext>
            </a:extLst>
          </p:cNvPr>
          <p:cNvSpPr>
            <a:spLocks noGrp="1"/>
          </p:cNvSpPr>
          <p:nvPr>
            <p:ph type="ftr" sz="quarter" idx="17"/>
          </p:nvPr>
        </p:nvSpPr>
        <p:spPr>
          <a:xfrm>
            <a:off x="3265200" y="6450420"/>
            <a:ext cx="6656400" cy="144000"/>
          </a:xfrm>
        </p:spPr>
        <p:txBody>
          <a:bodyPr/>
          <a:lstStyle>
            <a:lvl1pPr>
              <a:defRPr>
                <a:solidFill>
                  <a:schemeClr val="bg1"/>
                </a:solidFill>
              </a:defRPr>
            </a:lvl1pPr>
          </a:lstStyle>
          <a:p>
            <a:r>
              <a:rPr lang="en-US" dirty="0"/>
              <a:t>Footer</a:t>
            </a:r>
          </a:p>
        </p:txBody>
      </p:sp>
      <p:sp>
        <p:nvSpPr>
          <p:cNvPr id="6" name="Slide Number Placeholder 5">
            <a:extLst>
              <a:ext uri="{FF2B5EF4-FFF2-40B4-BE49-F238E27FC236}">
                <a16:creationId xmlns:a16="http://schemas.microsoft.com/office/drawing/2014/main" id="{4451D7E3-B707-E68D-52EF-D4243EB0ECED}"/>
              </a:ext>
            </a:extLst>
          </p:cNvPr>
          <p:cNvSpPr>
            <a:spLocks noGrp="1"/>
          </p:cNvSpPr>
          <p:nvPr>
            <p:ph type="sldNum" sz="quarter" idx="18"/>
          </p:nvPr>
        </p:nvSpPr>
        <p:spPr/>
        <p:txBody>
          <a:bodyPr/>
          <a:lstStyle/>
          <a:p>
            <a:fld id="{9A0F3412-00EB-454F-952B-1EB5D3D69307}" type="slidenum">
              <a:rPr lang="en-US" noProof="0" smtClean="0"/>
              <a:pPr/>
              <a:t>‹Nº›</a:t>
            </a:fld>
            <a:endParaRPr lang="en-US" noProof="0" dirty="0"/>
          </a:p>
        </p:txBody>
      </p:sp>
      <p:sp>
        <p:nvSpPr>
          <p:cNvPr id="8" name="Online Image Placeholder 9">
            <a:extLst>
              <a:ext uri="{FF2B5EF4-FFF2-40B4-BE49-F238E27FC236}">
                <a16:creationId xmlns:a16="http://schemas.microsoft.com/office/drawing/2014/main" id="{A2F85F0E-6716-6BB7-327E-848037ACEF74}"/>
              </a:ext>
            </a:extLst>
          </p:cNvPr>
          <p:cNvSpPr>
            <a:spLocks noGrp="1" noChangeAspect="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US" dirty="0"/>
              <a:t>.</a:t>
            </a:r>
          </a:p>
        </p:txBody>
      </p:sp>
      <p:sp>
        <p:nvSpPr>
          <p:cNvPr id="9" name="Online Image Placeholder 9">
            <a:extLst>
              <a:ext uri="{FF2B5EF4-FFF2-40B4-BE49-F238E27FC236}">
                <a16:creationId xmlns:a16="http://schemas.microsoft.com/office/drawing/2014/main" id="{2C4BC777-9D4E-C7CA-3A3A-715BA4AE1BB3}"/>
              </a:ext>
            </a:extLst>
          </p:cNvPr>
          <p:cNvSpPr>
            <a:spLocks noGrp="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E49C7F29-DBD8-8CFC-724A-754CC23C80B2}"/>
              </a:ext>
            </a:extLst>
          </p:cNvPr>
          <p:cNvSpPr/>
          <p:nvPr userDrawn="1"/>
        </p:nvSpPr>
        <p:spPr>
          <a:xfrm>
            <a:off x="12312000" y="2416175"/>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a:t>
            </a:r>
            <a:r>
              <a:rPr lang="en-US" sz="900" b="0" noProof="0" dirty="0" err="1">
                <a:solidFill>
                  <a:schemeClr val="tx1"/>
                </a:solidFill>
              </a:rPr>
              <a:t>subheadline</a:t>
            </a:r>
            <a:r>
              <a:rPr lang="en-US" sz="900" b="0" noProof="0" dirty="0">
                <a:solidFill>
                  <a:schemeClr val="tx1"/>
                </a:solidFill>
              </a:rPr>
              <a:t> can be placed here</a:t>
            </a:r>
          </a:p>
        </p:txBody>
      </p:sp>
      <p:sp>
        <p:nvSpPr>
          <p:cNvPr id="7" name="Abgerundete rechteckige Legende 10">
            <a:extLst>
              <a:ext uri="{FF2B5EF4-FFF2-40B4-BE49-F238E27FC236}">
                <a16:creationId xmlns:a16="http://schemas.microsoft.com/office/drawing/2014/main" id="{3A3F11DA-DA62-714C-B812-DE0E15ACA754}"/>
              </a:ext>
            </a:extLst>
          </p:cNvPr>
          <p:cNvSpPr/>
          <p:nvPr userDrawn="1"/>
        </p:nvSpPr>
        <p:spPr>
          <a:xfrm>
            <a:off x="12312000" y="1081671"/>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longer, multi-line headline can appear here</a:t>
            </a:r>
          </a:p>
        </p:txBody>
      </p:sp>
    </p:spTree>
    <p:extLst>
      <p:ext uri="{BB962C8B-B14F-4D97-AF65-F5344CB8AC3E}">
        <p14:creationId xmlns:p14="http://schemas.microsoft.com/office/powerpoint/2010/main" val="2109651978"/>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Header dark">
    <p:bg>
      <p:bgPr>
        <a:solidFill>
          <a:schemeClr val="bg1"/>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tx2"/>
                </a:solidFill>
              </a:defRPr>
            </a:lvl1pPr>
          </a:lstStyle>
          <a:p>
            <a:r>
              <a:rPr lang="en-US" dirty="0"/>
              <a:t>Click to edit Master title style</a:t>
            </a:r>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a:solidFill>
                  <a:schemeClr val="tx2"/>
                </a:solidFill>
              </a:defRPr>
            </a:lvl1pPr>
            <a:lvl2pPr marL="0" indent="0">
              <a:lnSpc>
                <a:spcPct val="100000"/>
              </a:lnSpc>
              <a:spcAft>
                <a:spcPts val="0"/>
              </a:spcAft>
              <a:buNone/>
              <a:defRPr sz="1400" b="1">
                <a:solidFill>
                  <a:schemeClr val="tx2"/>
                </a:solidFill>
              </a:defRPr>
            </a:lvl2pPr>
            <a:lvl3pPr marL="0" indent="0">
              <a:lnSpc>
                <a:spcPct val="100000"/>
              </a:lnSpc>
              <a:spcAft>
                <a:spcPts val="0"/>
              </a:spcAft>
              <a:buNone/>
              <a:defRPr sz="1400" b="1">
                <a:solidFill>
                  <a:schemeClr val="tx2"/>
                </a:solidFill>
              </a:defRPr>
            </a:lvl3pPr>
            <a:lvl4pPr marL="0" indent="0">
              <a:lnSpc>
                <a:spcPct val="100000"/>
              </a:lnSpc>
              <a:spcAft>
                <a:spcPts val="0"/>
              </a:spcAft>
              <a:buNone/>
              <a:defRPr sz="1400" b="1">
                <a:solidFill>
                  <a:schemeClr val="tx2"/>
                </a:solidFill>
              </a:defRPr>
            </a:lvl4pPr>
            <a:lvl5pPr marL="0" indent="0">
              <a:lnSpc>
                <a:spcPct val="100000"/>
              </a:lnSpc>
              <a:spcAft>
                <a:spcPts val="0"/>
              </a:spcAft>
              <a:buNone/>
              <a:defRPr sz="1400" b="1">
                <a:solidFill>
                  <a:schemeClr val="tx2"/>
                </a:solidFill>
              </a:defRPr>
            </a:lvl5pPr>
            <a:lvl6pPr marL="0" indent="0">
              <a:lnSpc>
                <a:spcPct val="100000"/>
              </a:lnSpc>
              <a:spcAft>
                <a:spcPts val="0"/>
              </a:spcAft>
              <a:buNone/>
              <a:defRPr sz="1400" b="1">
                <a:solidFill>
                  <a:schemeClr val="tx2"/>
                </a:solidFill>
              </a:defRPr>
            </a:lvl6pPr>
            <a:lvl7pPr marL="0" indent="0">
              <a:lnSpc>
                <a:spcPct val="100000"/>
              </a:lnSpc>
              <a:spcAft>
                <a:spcPts val="0"/>
              </a:spcAft>
              <a:buNone/>
              <a:defRPr sz="1400" b="1">
                <a:solidFill>
                  <a:schemeClr val="tx2"/>
                </a:solidFill>
              </a:defRPr>
            </a:lvl7pPr>
            <a:lvl8pPr marL="0" indent="0">
              <a:lnSpc>
                <a:spcPct val="100000"/>
              </a:lnSpc>
              <a:spcAft>
                <a:spcPts val="0"/>
              </a:spcAft>
              <a:buNone/>
              <a:defRPr sz="1400" b="1">
                <a:solidFill>
                  <a:schemeClr val="tx2"/>
                </a:solidFill>
              </a:defRPr>
            </a:lvl8pPr>
            <a:lvl9pPr marL="0" indent="0">
              <a:lnSpc>
                <a:spcPct val="100000"/>
              </a:lnSpc>
              <a:buNone/>
              <a:defRPr sz="1400" b="1">
                <a:solidFill>
                  <a:schemeClr val="tx2"/>
                </a:solidFill>
              </a:defRPr>
            </a:lvl9pPr>
          </a:lstStyle>
          <a:p>
            <a:pPr lvl="0"/>
            <a:r>
              <a:rPr lang="en-US" dirty="0"/>
              <a:t>Click to edit Master text styles</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5" name="Online Image Placeholder 9">
            <a:extLst>
              <a:ext uri="{FF2B5EF4-FFF2-40B4-BE49-F238E27FC236}">
                <a16:creationId xmlns:a16="http://schemas.microsoft.com/office/drawing/2014/main" id="{478C4D49-CEE0-F698-6BA8-FA0FCE38B3F9}"/>
              </a:ext>
            </a:extLst>
          </p:cNvPr>
          <p:cNvSpPr>
            <a:spLocks noGrp="1" noChangeAspect="1"/>
          </p:cNvSpPr>
          <p:nvPr>
            <p:ph type="clipArt" sz="quarter" idx="21" hasCustomPrompt="1"/>
          </p:nvPr>
        </p:nvSpPr>
        <p:spPr>
          <a:xfrm>
            <a:off x="288000" y="2228400"/>
            <a:ext cx="3679200" cy="25400"/>
          </a:xfrm>
          <a:solidFill>
            <a:srgbClr val="25421C"/>
          </a:solidFill>
        </p:spPr>
        <p:txBody>
          <a:bodyPr/>
          <a:lstStyle>
            <a:lvl1pPr>
              <a:defRPr sz="100" b="0">
                <a:solidFill>
                  <a:srgbClr val="3C3E00"/>
                </a:solidFill>
              </a:defRPr>
            </a:lvl1pPr>
          </a:lstStyle>
          <a:p>
            <a:r>
              <a:rPr lang="en-US" dirty="0"/>
              <a:t>.</a:t>
            </a:r>
          </a:p>
        </p:txBody>
      </p:sp>
      <p:sp>
        <p:nvSpPr>
          <p:cNvPr id="7" name="Online Image Placeholder 9">
            <a:extLst>
              <a:ext uri="{FF2B5EF4-FFF2-40B4-BE49-F238E27FC236}">
                <a16:creationId xmlns:a16="http://schemas.microsoft.com/office/drawing/2014/main" id="{A376B192-2A46-822B-5534-30CCE0DDCD9F}"/>
              </a:ext>
            </a:extLst>
          </p:cNvPr>
          <p:cNvSpPr>
            <a:spLocks noGrp="1"/>
          </p:cNvSpPr>
          <p:nvPr>
            <p:ph type="clipArt" sz="quarter" idx="22" hasCustomPrompt="1"/>
          </p:nvPr>
        </p:nvSpPr>
        <p:spPr>
          <a:xfrm>
            <a:off x="10751366" y="2228400"/>
            <a:ext cx="1440634" cy="25200"/>
          </a:xfrm>
          <a:solidFill>
            <a:srgbClr val="25421C"/>
          </a:solidFill>
        </p:spPr>
        <p:txBody>
          <a:bodyPr/>
          <a:lstStyle>
            <a:lvl1pPr>
              <a:defRPr sz="100" b="0">
                <a:solidFill>
                  <a:srgbClr val="3C3E00"/>
                </a:solidFill>
              </a:defRPr>
            </a:lvl1pPr>
          </a:lstStyle>
          <a:p>
            <a:r>
              <a:rPr lang="en-US" dirty="0"/>
              <a:t>.</a:t>
            </a:r>
          </a:p>
        </p:txBody>
      </p:sp>
      <p:sp>
        <p:nvSpPr>
          <p:cNvPr id="9" name="Footer Placeholder 8">
            <a:extLst>
              <a:ext uri="{FF2B5EF4-FFF2-40B4-BE49-F238E27FC236}">
                <a16:creationId xmlns:a16="http://schemas.microsoft.com/office/drawing/2014/main" id="{FC732ECB-9388-8CA1-EB01-6E87A925AB1B}"/>
              </a:ext>
            </a:extLst>
          </p:cNvPr>
          <p:cNvSpPr>
            <a:spLocks noGrp="1"/>
          </p:cNvSpPr>
          <p:nvPr>
            <p:ph type="ftr" sz="quarter" idx="23"/>
          </p:nvPr>
        </p:nvSpPr>
        <p:spPr>
          <a:xfrm>
            <a:off x="3265200" y="6450420"/>
            <a:ext cx="6656400" cy="144000"/>
          </a:xfrm>
        </p:spPr>
        <p:txBody>
          <a:bodyPr/>
          <a:lstStyle/>
          <a:p>
            <a:r>
              <a:rPr lang="en-US" noProof="0" dirty="0"/>
              <a:t>Footer</a:t>
            </a:r>
          </a:p>
        </p:txBody>
      </p:sp>
      <p:sp>
        <p:nvSpPr>
          <p:cNvPr id="10" name="Slide Number Placeholder 9">
            <a:extLst>
              <a:ext uri="{FF2B5EF4-FFF2-40B4-BE49-F238E27FC236}">
                <a16:creationId xmlns:a16="http://schemas.microsoft.com/office/drawing/2014/main" id="{6FEBCB2A-7E50-4B55-C1F3-33448BAC5B28}"/>
              </a:ext>
            </a:extLst>
          </p:cNvPr>
          <p:cNvSpPr>
            <a:spLocks noGrp="1"/>
          </p:cNvSpPr>
          <p:nvPr>
            <p:ph type="sldNum" sz="quarter" idx="24"/>
          </p:nvPr>
        </p:nvSpPr>
        <p:spPr/>
        <p:txBody>
          <a:bodyPr/>
          <a:lstStyle>
            <a:lvl1pPr>
              <a:defRPr>
                <a:solidFill>
                  <a:schemeClr val="bg1"/>
                </a:solidFill>
              </a:defRPr>
            </a:lvl1pPr>
          </a:lstStyle>
          <a:p>
            <a:fld id="{9A0F3412-00EB-454F-952B-1EB5D3D69307}" type="slidenum">
              <a:rPr lang="en-US" smtClean="0"/>
              <a:pPr/>
              <a:t>‹Nº›</a:t>
            </a:fld>
            <a:endParaRPr lang="en-US" dirty="0"/>
          </a:p>
        </p:txBody>
      </p:sp>
      <p:sp>
        <p:nvSpPr>
          <p:cNvPr id="4" name="Abgerundete rechteckige Legende 10">
            <a:extLst>
              <a:ext uri="{FF2B5EF4-FFF2-40B4-BE49-F238E27FC236}">
                <a16:creationId xmlns:a16="http://schemas.microsoft.com/office/drawing/2014/main" id="{2ED7CB10-C23C-F33A-6ACD-E8354FB5D56B}"/>
              </a:ext>
            </a:extLst>
          </p:cNvPr>
          <p:cNvSpPr/>
          <p:nvPr userDrawn="1"/>
        </p:nvSpPr>
        <p:spPr>
          <a:xfrm>
            <a:off x="12312000" y="2416175"/>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a:t>
            </a:r>
            <a:r>
              <a:rPr lang="en-US" sz="900" b="0" noProof="0" dirty="0" err="1">
                <a:solidFill>
                  <a:schemeClr val="tx1"/>
                </a:solidFill>
              </a:rPr>
              <a:t>subheadline</a:t>
            </a:r>
            <a:r>
              <a:rPr lang="en-US" sz="900" b="0" noProof="0" dirty="0">
                <a:solidFill>
                  <a:schemeClr val="tx1"/>
                </a:solidFill>
              </a:rPr>
              <a:t> can be placed here</a:t>
            </a:r>
          </a:p>
        </p:txBody>
      </p:sp>
      <p:sp>
        <p:nvSpPr>
          <p:cNvPr id="6" name="Abgerundete rechteckige Legende 10">
            <a:extLst>
              <a:ext uri="{FF2B5EF4-FFF2-40B4-BE49-F238E27FC236}">
                <a16:creationId xmlns:a16="http://schemas.microsoft.com/office/drawing/2014/main" id="{5EFA7A90-5A62-FDFA-3A09-2E645FBE75C5}"/>
              </a:ext>
            </a:extLst>
          </p:cNvPr>
          <p:cNvSpPr/>
          <p:nvPr userDrawn="1"/>
        </p:nvSpPr>
        <p:spPr>
          <a:xfrm>
            <a:off x="12312000" y="1081671"/>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longer, multi-line headline can appear here</a:t>
            </a:r>
          </a:p>
        </p:txBody>
      </p:sp>
    </p:spTree>
    <p:extLst>
      <p:ext uri="{BB962C8B-B14F-4D97-AF65-F5344CB8AC3E}">
        <p14:creationId xmlns:p14="http://schemas.microsoft.com/office/powerpoint/2010/main" val="2962637978"/>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ext, Picture large">
    <p:bg>
      <p:bgPr>
        <a:solidFill>
          <a:srgbClr val="25421C"/>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DCEA1B8A-ACF1-3919-0C08-7E71980EBE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1376363"/>
            <a:ext cx="2401200" cy="972000"/>
          </a:xfrm>
        </p:spPr>
        <p:txBody>
          <a:bodyPr anchor="t" anchorCtr="0"/>
          <a:lstStyle>
            <a:lvl1pPr>
              <a:defRPr sz="2000">
                <a:solidFill>
                  <a:schemeClr val="tx2"/>
                </a:solidFill>
              </a:defRPr>
            </a:lvl1pPr>
          </a:lstStyle>
          <a:p>
            <a:r>
              <a:rPr lang="en-US" dirty="0"/>
              <a:t>Click to edit Master title style</a:t>
            </a:r>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n-US" dirty="0"/>
              <a:t>Footer</a:t>
            </a:r>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ChangeAspect="1"/>
          </p:cNvSpPr>
          <p:nvPr>
            <p:ph type="clipArt" sz="quarter" idx="20" hasCustomPrompt="1"/>
          </p:nvPr>
        </p:nvSpPr>
        <p:spPr>
          <a:xfrm>
            <a:off x="288000" y="1036800"/>
            <a:ext cx="3679200" cy="25400"/>
          </a:xfrm>
          <a:solidFill>
            <a:schemeClr val="accent1"/>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A7429042-57AB-06D1-342B-2011144DE143}"/>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20" name="Text Placeholder 19">
            <a:extLst>
              <a:ext uri="{FF2B5EF4-FFF2-40B4-BE49-F238E27FC236}">
                <a16:creationId xmlns:a16="http://schemas.microsoft.com/office/drawing/2014/main" id="{6879761B-5C15-26D3-4E48-C9A8F18D168E}"/>
              </a:ext>
            </a:extLst>
          </p:cNvPr>
          <p:cNvSpPr>
            <a:spLocks noGrp="1"/>
          </p:cNvSpPr>
          <p:nvPr>
            <p:ph type="body" sz="quarter" idx="23"/>
          </p:nvPr>
        </p:nvSpPr>
        <p:spPr>
          <a:xfrm>
            <a:off x="287470" y="1928174"/>
            <a:ext cx="2400300" cy="3060000"/>
          </a:xfrm>
        </p:spPr>
        <p:txBody>
          <a:bodyPr tIns="378000"/>
          <a:lstStyle>
            <a:lvl1pPr>
              <a:defRPr b="0"/>
            </a:lvl1pPr>
            <a:lvl2pPr>
              <a:spcAft>
                <a:spcPts val="1600"/>
              </a:spcAft>
              <a:defRPr/>
            </a:lvl2pPr>
            <a:lvl3pPr marL="0" indent="0">
              <a:buNone/>
              <a:defRPr/>
            </a:lvl3pPr>
            <a:lvl4pPr marL="270000" indent="-270000">
              <a:spcAft>
                <a:spcPts val="1600"/>
              </a:spcAft>
              <a:buFont typeface="Symbol" panose="05050102010706020507" pitchFamily="18" charset="2"/>
              <a:buChar char="-"/>
              <a:defRPr sz="1400" b="0"/>
            </a:lvl4pPr>
            <a:lvl5pPr marL="0" indent="0" algn="l">
              <a:spcAft>
                <a:spcPts val="600"/>
              </a:spcAft>
              <a:buNone/>
              <a:defRPr sz="1400" b="0"/>
            </a:lvl5pPr>
            <a:lvl6pPr marL="270000" indent="-270000" algn="l">
              <a:spcAft>
                <a:spcPts val="1600"/>
              </a:spcAft>
              <a:buFont typeface="Symbol" panose="05050102010706020507" pitchFamily="18" charset="2"/>
              <a:buChar char="-"/>
              <a:defRPr sz="1400" b="0"/>
            </a:lvl6pPr>
            <a:lvl7pPr marL="0" indent="0" algn="l">
              <a:lnSpc>
                <a:spcPct val="100000"/>
              </a:lnSpc>
              <a:spcAft>
                <a:spcPts val="600"/>
              </a:spcAft>
              <a:buNone/>
              <a:defRPr sz="1400" b="0"/>
            </a:lvl7pPr>
            <a:lvl8pPr marL="270000" indent="-270000" algn="l">
              <a:lnSpc>
                <a:spcPct val="100000"/>
              </a:lnSpc>
              <a:spcAft>
                <a:spcPts val="1600"/>
              </a:spcAft>
              <a:buFont typeface="Symbol" panose="05050102010706020507" pitchFamily="18" charset="2"/>
              <a:buChar char="-"/>
              <a:defRPr sz="1400"/>
            </a:lvl8pPr>
            <a:lvl9pPr>
              <a:lnSpc>
                <a:spcPct val="100000"/>
              </a:lnSpc>
              <a:spcAft>
                <a:spcPts val="600"/>
              </a:spcAft>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 name="Abgerundete rechteckige Legende 10">
            <a:extLst>
              <a:ext uri="{FF2B5EF4-FFF2-40B4-BE49-F238E27FC236}">
                <a16:creationId xmlns:a16="http://schemas.microsoft.com/office/drawing/2014/main" id="{235880D5-B4C2-F3D8-9EB5-815D75937C0C}"/>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86A12F96-4FD2-D559-9B11-9CB90305E727}"/>
              </a:ext>
            </a:extLst>
          </p:cNvPr>
          <p:cNvSpPr/>
          <p:nvPr userDrawn="1"/>
        </p:nvSpPr>
        <p:spPr>
          <a:xfrm>
            <a:off x="-2808000" y="2353933"/>
            <a:ext cx="2696941" cy="10560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ext for an introduction to the topic or </a:t>
            </a:r>
            <a:br>
              <a:rPr lang="en-US" sz="900" b="0" noProof="0" dirty="0">
                <a:solidFill>
                  <a:schemeClr val="tx1"/>
                </a:solidFill>
              </a:rPr>
            </a:br>
            <a:r>
              <a:rPr lang="en-US" sz="900" b="0" noProof="0" dirty="0">
                <a:solidFill>
                  <a:schemeClr val="tx1"/>
                </a:solidFill>
              </a:rPr>
              <a:t>3 most important facts for an introduction to the topic. Use list level 2 for a list.</a:t>
            </a:r>
          </a:p>
        </p:txBody>
      </p:sp>
    </p:spTree>
    <p:extLst>
      <p:ext uri="{BB962C8B-B14F-4D97-AF65-F5344CB8AC3E}">
        <p14:creationId xmlns:p14="http://schemas.microsoft.com/office/powerpoint/2010/main" val="3765011941"/>
      </p:ext>
    </p:extLst>
  </p:cSld>
  <p:clrMapOvr>
    <a:masterClrMapping/>
  </p:clrMapOvr>
  <p:extLst>
    <p:ext uri="{DCECCB84-F9BA-43D5-87BE-67443E8EF086}">
      <p15:sldGuideLst xmlns:p15="http://schemas.microsoft.com/office/powerpoint/2012/main">
        <p15:guide id="2" pos="1693">
          <p15:clr>
            <a:srgbClr val="FBAE40"/>
          </p15:clr>
        </p15:guide>
        <p15:guide id="3" orient="horz" pos="86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Highlight light">
    <p:bg>
      <p:bgPr>
        <a:solidFill>
          <a:srgbClr val="25421C"/>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pic>
        <p:nvPicPr>
          <p:cNvPr id="5" name="Grafik 10">
            <a:extLst>
              <a:ext uri="{FF2B5EF4-FFF2-40B4-BE49-F238E27FC236}">
                <a16:creationId xmlns:a16="http://schemas.microsoft.com/office/drawing/2014/main" id="{BED2D7BF-9930-126A-5935-B5206190108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4" name="Abgerundete rechteckige Legende 10">
            <a:extLst>
              <a:ext uri="{FF2B5EF4-FFF2-40B4-BE49-F238E27FC236}">
                <a16:creationId xmlns:a16="http://schemas.microsoft.com/office/drawing/2014/main" id="{569217B6-1E3E-67C3-76AF-901E29B8ED0B}"/>
              </a:ext>
            </a:extLst>
          </p:cNvPr>
          <p:cNvSpPr/>
          <p:nvPr userDrawn="1"/>
        </p:nvSpPr>
        <p:spPr>
          <a:xfrm>
            <a:off x="12312000" y="5594238"/>
            <a:ext cx="2696941" cy="13330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dirty="0">
                <a:solidFill>
                  <a:schemeClr val="tx1"/>
                </a:solidFill>
              </a:rPr>
              <a:t>.</a:t>
            </a:r>
          </a:p>
        </p:txBody>
      </p:sp>
    </p:spTree>
    <p:extLst>
      <p:ext uri="{BB962C8B-B14F-4D97-AF65-F5344CB8AC3E}">
        <p14:creationId xmlns:p14="http://schemas.microsoft.com/office/powerpoint/2010/main" val="1303768758"/>
      </p:ext>
    </p:extLst>
  </p:cSld>
  <p:clrMapOvr>
    <a:masterClrMapping/>
  </p:clrMapOvr>
  <p:extLst>
    <p:ext uri="{DCECCB84-F9BA-43D5-87BE-67443E8EF086}">
      <p15:sldGuideLst xmlns:p15="http://schemas.microsoft.com/office/powerpoint/2012/main">
        <p15:guide id="1" orient="horz" pos="869">
          <p15:clr>
            <a:srgbClr val="FBAE40"/>
          </p15:clr>
        </p15:guide>
        <p15:guide id="2" pos="498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Highlight light, Line dark">
    <p:bg>
      <p:bgPr>
        <a:solidFill>
          <a:schemeClr val="accent1"/>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rgbClr val="2542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rgbClr val="25421C"/>
          </a:solidFill>
        </p:spPr>
        <p:txBody>
          <a:bodyPr/>
          <a:lstStyle>
            <a:lvl1pPr>
              <a:defRPr sz="100" b="0">
                <a:solidFill>
                  <a:srgbClr val="3C3E00"/>
                </a:solidFill>
              </a:defRPr>
            </a:lvl1pPr>
          </a:lstStyle>
          <a:p>
            <a:r>
              <a:rPr lang="en-US" dirty="0"/>
              <a:t>.</a:t>
            </a:r>
          </a:p>
        </p:txBody>
      </p:sp>
      <p:pic>
        <p:nvPicPr>
          <p:cNvPr id="3" name="Grafik 10">
            <a:extLst>
              <a:ext uri="{FF2B5EF4-FFF2-40B4-BE49-F238E27FC236}">
                <a16:creationId xmlns:a16="http://schemas.microsoft.com/office/drawing/2014/main" id="{FC9AD835-EDF7-941C-5AC5-D89F9EE7FA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869137265"/>
      </p:ext>
    </p:extLst>
  </p:cSld>
  <p:clrMapOvr>
    <a:masterClrMapping/>
  </p:clrMapOvr>
  <p:extLst>
    <p:ext uri="{DCECCB84-F9BA-43D5-87BE-67443E8EF086}">
      <p15:sldGuideLst xmlns:p15="http://schemas.microsoft.com/office/powerpoint/2012/main">
        <p15:guide id="1" orient="horz" pos="869">
          <p15:clr>
            <a:srgbClr val="FBAE40"/>
          </p15:clr>
        </p15:guide>
        <p15:guide id="2" pos="498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ighlight light, Line light">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73BB6D4A-38C5-FF3A-907F-A2ABCFAD17EF}"/>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3710118823"/>
      </p:ext>
    </p:extLst>
  </p:cSld>
  <p:clrMapOvr>
    <a:masterClrMapping/>
  </p:clrMapOvr>
  <p:extLst>
    <p:ext uri="{DCECCB84-F9BA-43D5-87BE-67443E8EF086}">
      <p15:sldGuideLst xmlns:p15="http://schemas.microsoft.com/office/powerpoint/2012/main">
        <p15:guide id="1" orient="horz" pos="869">
          <p15:clr>
            <a:srgbClr val="FBAE40"/>
          </p15:clr>
        </p15:guide>
        <p15:guide id="2" pos="49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dark">
    <p:bg>
      <p:bgPr>
        <a:solidFill>
          <a:schemeClr val="bg1"/>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tx2"/>
                </a:solidFill>
              </a:defRPr>
            </a:lvl1pPr>
          </a:lstStyle>
          <a:p>
            <a:r>
              <a:rPr lang="en-US" dirty="0"/>
              <a:t>Click to edit Master title style</a:t>
            </a:r>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a:solidFill>
                  <a:schemeClr val="tx2"/>
                </a:solidFill>
              </a:defRPr>
            </a:lvl1pPr>
            <a:lvl2pPr marL="0" indent="0">
              <a:lnSpc>
                <a:spcPct val="100000"/>
              </a:lnSpc>
              <a:spcAft>
                <a:spcPts val="0"/>
              </a:spcAft>
              <a:buNone/>
              <a:defRPr sz="1400" b="1">
                <a:solidFill>
                  <a:schemeClr val="tx2"/>
                </a:solidFill>
              </a:defRPr>
            </a:lvl2pPr>
            <a:lvl3pPr marL="0" indent="0">
              <a:lnSpc>
                <a:spcPct val="100000"/>
              </a:lnSpc>
              <a:spcAft>
                <a:spcPts val="0"/>
              </a:spcAft>
              <a:buNone/>
              <a:defRPr sz="1400" b="1">
                <a:solidFill>
                  <a:schemeClr val="tx2"/>
                </a:solidFill>
              </a:defRPr>
            </a:lvl3pPr>
            <a:lvl4pPr marL="0" indent="0">
              <a:lnSpc>
                <a:spcPct val="100000"/>
              </a:lnSpc>
              <a:spcAft>
                <a:spcPts val="0"/>
              </a:spcAft>
              <a:buNone/>
              <a:defRPr sz="1400" b="1">
                <a:solidFill>
                  <a:schemeClr val="tx2"/>
                </a:solidFill>
              </a:defRPr>
            </a:lvl4pPr>
            <a:lvl5pPr marL="0" indent="0">
              <a:lnSpc>
                <a:spcPct val="100000"/>
              </a:lnSpc>
              <a:spcAft>
                <a:spcPts val="0"/>
              </a:spcAft>
              <a:buNone/>
              <a:defRPr sz="1400" b="1">
                <a:solidFill>
                  <a:schemeClr val="tx2"/>
                </a:solidFill>
              </a:defRPr>
            </a:lvl5pPr>
            <a:lvl6pPr marL="0" indent="0">
              <a:lnSpc>
                <a:spcPct val="100000"/>
              </a:lnSpc>
              <a:spcAft>
                <a:spcPts val="0"/>
              </a:spcAft>
              <a:buNone/>
              <a:defRPr sz="1400" b="1">
                <a:solidFill>
                  <a:schemeClr val="tx2"/>
                </a:solidFill>
              </a:defRPr>
            </a:lvl6pPr>
            <a:lvl7pPr marL="0" indent="0">
              <a:lnSpc>
                <a:spcPct val="100000"/>
              </a:lnSpc>
              <a:spcAft>
                <a:spcPts val="0"/>
              </a:spcAft>
              <a:buNone/>
              <a:defRPr sz="1400" b="1">
                <a:solidFill>
                  <a:schemeClr val="tx2"/>
                </a:solidFill>
              </a:defRPr>
            </a:lvl7pPr>
            <a:lvl8pPr marL="0" indent="0">
              <a:lnSpc>
                <a:spcPct val="100000"/>
              </a:lnSpc>
              <a:spcAft>
                <a:spcPts val="0"/>
              </a:spcAft>
              <a:buNone/>
              <a:defRPr sz="1400" b="1">
                <a:solidFill>
                  <a:schemeClr val="tx2"/>
                </a:solidFill>
              </a:defRPr>
            </a:lvl8pPr>
            <a:lvl9pPr marL="0" indent="0">
              <a:lnSpc>
                <a:spcPct val="100000"/>
              </a:lnSpc>
              <a:buNone/>
              <a:defRPr sz="1400" b="1">
                <a:solidFill>
                  <a:schemeClr val="tx2"/>
                </a:solidFill>
              </a:defRPr>
            </a:lvl9pPr>
          </a:lstStyle>
          <a:p>
            <a:pPr lvl="0"/>
            <a:r>
              <a:rPr lang="en-US" dirty="0"/>
              <a:t>Click to edit Master text styles</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US" dirty="0"/>
              <a:t>00</a:t>
            </a:r>
          </a:p>
        </p:txBody>
      </p:sp>
      <p:sp>
        <p:nvSpPr>
          <p:cNvPr id="5" name="Online Image Placeholder 9">
            <a:extLst>
              <a:ext uri="{FF2B5EF4-FFF2-40B4-BE49-F238E27FC236}">
                <a16:creationId xmlns:a16="http://schemas.microsoft.com/office/drawing/2014/main" id="{478C4D49-CEE0-F698-6BA8-FA0FCE38B3F9}"/>
              </a:ext>
            </a:extLst>
          </p:cNvPr>
          <p:cNvSpPr>
            <a:spLocks noGrp="1" noChangeAspect="1"/>
          </p:cNvSpPr>
          <p:nvPr>
            <p:ph type="clipArt" sz="quarter" idx="21" hasCustomPrompt="1"/>
          </p:nvPr>
        </p:nvSpPr>
        <p:spPr>
          <a:xfrm>
            <a:off x="288000" y="2228400"/>
            <a:ext cx="3679200" cy="25400"/>
          </a:xfrm>
          <a:solidFill>
            <a:srgbClr val="003C70"/>
          </a:solidFill>
        </p:spPr>
        <p:txBody>
          <a:bodyPr/>
          <a:lstStyle>
            <a:lvl1pPr>
              <a:defRPr sz="100" b="0">
                <a:solidFill>
                  <a:srgbClr val="3C3E00"/>
                </a:solidFill>
              </a:defRPr>
            </a:lvl1pPr>
          </a:lstStyle>
          <a:p>
            <a:r>
              <a:rPr lang="en-US" dirty="0"/>
              <a:t>.</a:t>
            </a:r>
          </a:p>
        </p:txBody>
      </p:sp>
      <p:sp>
        <p:nvSpPr>
          <p:cNvPr id="7" name="Online Image Placeholder 9">
            <a:extLst>
              <a:ext uri="{FF2B5EF4-FFF2-40B4-BE49-F238E27FC236}">
                <a16:creationId xmlns:a16="http://schemas.microsoft.com/office/drawing/2014/main" id="{A376B192-2A46-822B-5534-30CCE0DDCD9F}"/>
              </a:ext>
            </a:extLst>
          </p:cNvPr>
          <p:cNvSpPr>
            <a:spLocks noGrp="1"/>
          </p:cNvSpPr>
          <p:nvPr>
            <p:ph type="clipArt" sz="quarter" idx="22" hasCustomPrompt="1"/>
          </p:nvPr>
        </p:nvSpPr>
        <p:spPr>
          <a:xfrm>
            <a:off x="10751366" y="2228400"/>
            <a:ext cx="1440634" cy="25200"/>
          </a:xfrm>
          <a:solidFill>
            <a:srgbClr val="003C70"/>
          </a:solidFill>
        </p:spPr>
        <p:txBody>
          <a:bodyPr/>
          <a:lstStyle>
            <a:lvl1pPr>
              <a:defRPr sz="100" b="0">
                <a:solidFill>
                  <a:srgbClr val="3C3E00"/>
                </a:solidFill>
              </a:defRPr>
            </a:lvl1pPr>
          </a:lstStyle>
          <a:p>
            <a:r>
              <a:rPr lang="en-US" dirty="0"/>
              <a:t>.</a:t>
            </a:r>
          </a:p>
        </p:txBody>
      </p:sp>
      <p:sp>
        <p:nvSpPr>
          <p:cNvPr id="9" name="Footer Placeholder 8">
            <a:extLst>
              <a:ext uri="{FF2B5EF4-FFF2-40B4-BE49-F238E27FC236}">
                <a16:creationId xmlns:a16="http://schemas.microsoft.com/office/drawing/2014/main" id="{FC732ECB-9388-8CA1-EB01-6E87A925AB1B}"/>
              </a:ext>
            </a:extLst>
          </p:cNvPr>
          <p:cNvSpPr>
            <a:spLocks noGrp="1"/>
          </p:cNvSpPr>
          <p:nvPr>
            <p:ph type="ftr" sz="quarter" idx="23"/>
          </p:nvPr>
        </p:nvSpPr>
        <p:spPr>
          <a:xfrm>
            <a:off x="3265200" y="6450420"/>
            <a:ext cx="6656400" cy="144000"/>
          </a:xfrm>
        </p:spPr>
        <p:txBody>
          <a:bodyPr/>
          <a:lstStyle/>
          <a:p>
            <a:r>
              <a:rPr lang="en-US" noProof="0" dirty="0"/>
              <a:t>Footer</a:t>
            </a:r>
          </a:p>
        </p:txBody>
      </p:sp>
      <p:sp>
        <p:nvSpPr>
          <p:cNvPr id="10" name="Slide Number Placeholder 9">
            <a:extLst>
              <a:ext uri="{FF2B5EF4-FFF2-40B4-BE49-F238E27FC236}">
                <a16:creationId xmlns:a16="http://schemas.microsoft.com/office/drawing/2014/main" id="{6FEBCB2A-7E50-4B55-C1F3-33448BAC5B28}"/>
              </a:ext>
            </a:extLst>
          </p:cNvPr>
          <p:cNvSpPr>
            <a:spLocks noGrp="1"/>
          </p:cNvSpPr>
          <p:nvPr>
            <p:ph type="sldNum" sz="quarter" idx="24"/>
          </p:nvPr>
        </p:nvSpPr>
        <p:spPr/>
        <p:txBody>
          <a:bodyPr/>
          <a:lstStyle>
            <a:lvl1pPr>
              <a:defRPr>
                <a:solidFill>
                  <a:schemeClr val="bg1"/>
                </a:solidFill>
              </a:defRPr>
            </a:lvl1pPr>
          </a:lstStyle>
          <a:p>
            <a:fld id="{9A0F3412-00EB-454F-952B-1EB5D3D69307}" type="slidenum">
              <a:rPr lang="en-US" smtClean="0"/>
              <a:pPr/>
              <a:t>‹Nº›</a:t>
            </a:fld>
            <a:endParaRPr lang="en-US" dirty="0"/>
          </a:p>
        </p:txBody>
      </p:sp>
      <p:sp>
        <p:nvSpPr>
          <p:cNvPr id="4" name="Abgerundete rechteckige Legende 10">
            <a:extLst>
              <a:ext uri="{FF2B5EF4-FFF2-40B4-BE49-F238E27FC236}">
                <a16:creationId xmlns:a16="http://schemas.microsoft.com/office/drawing/2014/main" id="{2ED7CB10-C23C-F33A-6ACD-E8354FB5D56B}"/>
              </a:ext>
            </a:extLst>
          </p:cNvPr>
          <p:cNvSpPr/>
          <p:nvPr userDrawn="1"/>
        </p:nvSpPr>
        <p:spPr>
          <a:xfrm>
            <a:off x="12312000" y="2416175"/>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a:t>
            </a:r>
            <a:r>
              <a:rPr lang="en-US" sz="900" b="0" noProof="0" dirty="0" err="1">
                <a:solidFill>
                  <a:schemeClr val="tx1"/>
                </a:solidFill>
              </a:rPr>
              <a:t>subheadline</a:t>
            </a:r>
            <a:r>
              <a:rPr lang="en-US" sz="900" b="0" noProof="0" dirty="0">
                <a:solidFill>
                  <a:schemeClr val="tx1"/>
                </a:solidFill>
              </a:rPr>
              <a:t> can be placed here</a:t>
            </a:r>
          </a:p>
        </p:txBody>
      </p:sp>
      <p:sp>
        <p:nvSpPr>
          <p:cNvPr id="6" name="Abgerundete rechteckige Legende 10">
            <a:extLst>
              <a:ext uri="{FF2B5EF4-FFF2-40B4-BE49-F238E27FC236}">
                <a16:creationId xmlns:a16="http://schemas.microsoft.com/office/drawing/2014/main" id="{5EFA7A90-5A62-FDFA-3A09-2E645FBE75C5}"/>
              </a:ext>
            </a:extLst>
          </p:cNvPr>
          <p:cNvSpPr/>
          <p:nvPr userDrawn="1"/>
        </p:nvSpPr>
        <p:spPr>
          <a:xfrm>
            <a:off x="12312000" y="1081671"/>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A longer, multi-line headline can appear here</a:t>
            </a:r>
          </a:p>
        </p:txBody>
      </p:sp>
    </p:spTree>
    <p:extLst>
      <p:ext uri="{BB962C8B-B14F-4D97-AF65-F5344CB8AC3E}">
        <p14:creationId xmlns:p14="http://schemas.microsoft.com/office/powerpoint/2010/main" val="202651819"/>
      </p:ext>
    </p:extLst>
  </p:cSld>
  <p:clrMapOvr>
    <a:masterClrMapping/>
  </p:clrMapOvr>
  <p:extLst>
    <p:ext uri="{DCECCB84-F9BA-43D5-87BE-67443E8EF086}">
      <p15:sldGuideLst xmlns:p15="http://schemas.microsoft.com/office/powerpoint/2012/main">
        <p15:guide id="1" orient="horz" pos="1522">
          <p15:clr>
            <a:srgbClr val="FBAE40"/>
          </p15:clr>
        </p15:guide>
        <p15:guide id="2" pos="1693">
          <p15:clr>
            <a:srgbClr val="FBAE40"/>
          </p15:clr>
        </p15:guide>
        <p15:guide id="3" orient="horz" pos="1305">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ighlight dark, Line dark">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lvl1pPr>
              <a:defRPr>
                <a:solidFill>
                  <a:schemeClr val="bg1"/>
                </a:solidFill>
              </a:defRPr>
            </a:lvl1p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7"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3" name="Rectangle 12">
            <a:extLst>
              <a:ext uri="{FF2B5EF4-FFF2-40B4-BE49-F238E27FC236}">
                <a16:creationId xmlns:a16="http://schemas.microsoft.com/office/drawing/2014/main" id="{C87C8480-EFC8-037D-4492-0D1A3CE0AEF3}"/>
              </a:ext>
            </a:extLst>
          </p:cNvPr>
          <p:cNvSpPr/>
          <p:nvPr userDrawn="1"/>
        </p:nvSpPr>
        <p:spPr>
          <a:xfrm>
            <a:off x="288000" y="1036800"/>
            <a:ext cx="7617600" cy="25200"/>
          </a:xfrm>
          <a:prstGeom prst="rect">
            <a:avLst/>
          </a:prstGeom>
          <a:solidFill>
            <a:srgbClr val="2542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ooter Placeholder 6">
            <a:extLst>
              <a:ext uri="{FF2B5EF4-FFF2-40B4-BE49-F238E27FC236}">
                <a16:creationId xmlns:a16="http://schemas.microsoft.com/office/drawing/2014/main" id="{DA0B6A31-3801-382C-595A-81D616D6F04B}"/>
              </a:ext>
            </a:extLst>
          </p:cNvPr>
          <p:cNvSpPr>
            <a:spLocks noGrp="1"/>
          </p:cNvSpPr>
          <p:nvPr>
            <p:ph type="ftr" sz="quarter" idx="15"/>
          </p:nvPr>
        </p:nvSpPr>
        <p:spPr/>
        <p:txBody>
          <a:bodyPr/>
          <a:lstStyle>
            <a:lvl1pPr>
              <a:defRPr>
                <a:solidFill>
                  <a:schemeClr val="bg1"/>
                </a:solidFill>
              </a:defRPr>
            </a:lvl1pPr>
          </a:lstStyle>
          <a:p>
            <a:r>
              <a:rPr lang="en-US" dirty="0"/>
              <a:t>Footer</a:t>
            </a:r>
          </a:p>
        </p:txBody>
      </p:sp>
      <p:sp>
        <p:nvSpPr>
          <p:cNvPr id="10" name="Slide Number Placeholder 9">
            <a:extLst>
              <a:ext uri="{FF2B5EF4-FFF2-40B4-BE49-F238E27FC236}">
                <a16:creationId xmlns:a16="http://schemas.microsoft.com/office/drawing/2014/main" id="{E64D8672-5055-FE0F-0F41-09B11E1D86F0}"/>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Nº›</a:t>
            </a:fld>
            <a:endParaRPr lang="en-US" dirty="0"/>
          </a:p>
        </p:txBody>
      </p:sp>
      <p:sp>
        <p:nvSpPr>
          <p:cNvPr id="11" name="Online Image Placeholder 9">
            <a:extLst>
              <a:ext uri="{FF2B5EF4-FFF2-40B4-BE49-F238E27FC236}">
                <a16:creationId xmlns:a16="http://schemas.microsoft.com/office/drawing/2014/main" id="{57CE4A4F-10F9-B148-2F78-CB04D918C50B}"/>
              </a:ext>
            </a:extLst>
          </p:cNvPr>
          <p:cNvSpPr>
            <a:spLocks noGrp="1"/>
          </p:cNvSpPr>
          <p:nvPr>
            <p:ph type="clipArt" sz="quarter" idx="21" hasCustomPrompt="1"/>
          </p:nvPr>
        </p:nvSpPr>
        <p:spPr>
          <a:xfrm>
            <a:off x="10751366" y="1036800"/>
            <a:ext cx="1440634" cy="25200"/>
          </a:xfrm>
          <a:solidFill>
            <a:srgbClr val="25421C"/>
          </a:solidFill>
        </p:spPr>
        <p:txBody>
          <a:bodyPr/>
          <a:lstStyle>
            <a:lvl1pPr>
              <a:defRPr sz="100" b="0">
                <a:solidFill>
                  <a:srgbClr val="3C3E00"/>
                </a:solidFill>
              </a:defRPr>
            </a:lvl1pPr>
          </a:lstStyle>
          <a:p>
            <a:r>
              <a:rPr lang="en-US" dirty="0"/>
              <a:t>.</a:t>
            </a:r>
          </a:p>
        </p:txBody>
      </p:sp>
      <p:sp>
        <p:nvSpPr>
          <p:cNvPr id="4" name="Abgerundete rechteckige Legende 10">
            <a:extLst>
              <a:ext uri="{FF2B5EF4-FFF2-40B4-BE49-F238E27FC236}">
                <a16:creationId xmlns:a16="http://schemas.microsoft.com/office/drawing/2014/main" id="{191D0990-55FB-EAE2-32AE-8D738402C923}"/>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347140936"/>
      </p:ext>
    </p:extLst>
  </p:cSld>
  <p:clrMapOvr>
    <a:masterClrMapping/>
  </p:clrMapOvr>
  <p:extLst>
    <p:ext uri="{DCECCB84-F9BA-43D5-87BE-67443E8EF086}">
      <p15:sldGuideLst xmlns:p15="http://schemas.microsoft.com/office/powerpoint/2012/main">
        <p15:guide id="1" orient="horz" pos="869">
          <p15:clr>
            <a:srgbClr val="FBAE40"/>
          </p15:clr>
        </p15:guide>
        <p15:guide id="2" pos="498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ext, Picture">
    <p:bg>
      <p:bgPr>
        <a:solidFill>
          <a:srgbClr val="25421C"/>
        </a:solidFill>
        <a:effectLst/>
      </p:bgPr>
    </p:bg>
    <p:spTree>
      <p:nvGrpSpPr>
        <p:cNvPr id="1" name=""/>
        <p:cNvGrpSpPr/>
        <p:nvPr/>
      </p:nvGrpSpPr>
      <p:grpSpPr>
        <a:xfrm>
          <a:off x="0" y="0"/>
          <a:ext cx="0" cy="0"/>
          <a:chOff x="0" y="0"/>
          <a:chExt cx="0" cy="0"/>
        </a:xfrm>
      </p:grpSpPr>
      <p:pic>
        <p:nvPicPr>
          <p:cNvPr id="5" name="Grafik 10">
            <a:extLst>
              <a:ext uri="{FF2B5EF4-FFF2-40B4-BE49-F238E27FC236}">
                <a16:creationId xmlns:a16="http://schemas.microsoft.com/office/drawing/2014/main" id="{7FA45EF1-65E8-7C9F-0BDF-ED75C2AABE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50904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n-US" noProof="0"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88000" y="1379538"/>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Online Image Placeholder 9">
            <a:extLst>
              <a:ext uri="{FF2B5EF4-FFF2-40B4-BE49-F238E27FC236}">
                <a16:creationId xmlns:a16="http://schemas.microsoft.com/office/drawing/2014/main" id="{3E5E6F4D-EF63-9880-3600-81A3735826A7}"/>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6" name="Abgerundete rechteckige Legende 10">
            <a:extLst>
              <a:ext uri="{FF2B5EF4-FFF2-40B4-BE49-F238E27FC236}">
                <a16:creationId xmlns:a16="http://schemas.microsoft.com/office/drawing/2014/main" id="{CD740958-1A36-43B9-1DD4-0BAD4348FB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3129986452"/>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ntents with Background Grey 95">
    <p:bg>
      <p:bgPr>
        <a:solidFill>
          <a:srgbClr val="F1F1F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n-US" noProof="0" dirty="0"/>
              <a:t>Footer</a:t>
            </a:r>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Nº›</a:t>
            </a:fld>
            <a:endParaRPr lang="en-US" noProof="0" dirty="0"/>
          </a:p>
        </p:txBody>
      </p:sp>
    </p:spTree>
    <p:extLst>
      <p:ext uri="{BB962C8B-B14F-4D97-AF65-F5344CB8AC3E}">
        <p14:creationId xmlns:p14="http://schemas.microsoft.com/office/powerpoint/2010/main" val="4199785304"/>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pos="4112">
          <p15:clr>
            <a:srgbClr val="FBAE40"/>
          </p15:clr>
        </p15:guide>
        <p15:guide id="4" pos="3840">
          <p15:clr>
            <a:srgbClr val="FBAE40"/>
          </p15:clr>
        </p15:guide>
        <p15:guide id="5" pos="7319">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Blue 25">
    <p:bg>
      <p:bgPr>
        <a:solidFill>
          <a:srgbClr val="003C70"/>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n-US" noProof="0" dirty="0"/>
              <a:t>Footer</a:t>
            </a:r>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Nº›</a:t>
            </a:fld>
            <a:endParaRPr lang="en-US" noProof="0" dirty="0"/>
          </a:p>
        </p:txBody>
      </p:sp>
      <p:pic>
        <p:nvPicPr>
          <p:cNvPr id="5" name="Grafik 10">
            <a:extLst>
              <a:ext uri="{FF2B5EF4-FFF2-40B4-BE49-F238E27FC236}">
                <a16:creationId xmlns:a16="http://schemas.microsoft.com/office/drawing/2014/main" id="{75BCEC29-2BC5-3234-39D0-FC2D17F5E4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674163171"/>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pos="4112">
          <p15:clr>
            <a:srgbClr val="FBAE40"/>
          </p15:clr>
        </p15:guide>
        <p15:guide id="4" pos="3840">
          <p15:clr>
            <a:srgbClr val="FBAE40"/>
          </p15:clr>
        </p15:guide>
        <p15:guide id="5" pos="731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light">
    <p:bg>
      <p:bgPr>
        <a:solidFill>
          <a:schemeClr val="accent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n-US" noProof="0" dirty="0"/>
              <a:t>Footer</a:t>
            </a:r>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Nº›</a:t>
            </a:fld>
            <a:endParaRPr lang="en-US" noProof="0" dirty="0"/>
          </a:p>
        </p:txBody>
      </p:sp>
      <p:pic>
        <p:nvPicPr>
          <p:cNvPr id="5" name="Grafik 10">
            <a:extLst>
              <a:ext uri="{FF2B5EF4-FFF2-40B4-BE49-F238E27FC236}">
                <a16:creationId xmlns:a16="http://schemas.microsoft.com/office/drawing/2014/main" id="{DCBA62C2-C7B7-87CF-008A-31AD89387C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4203014389"/>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pos="4112">
          <p15:clr>
            <a:srgbClr val="FBAE40"/>
          </p15:clr>
        </p15:guide>
        <p15:guide id="4" pos="3840">
          <p15:clr>
            <a:srgbClr val="FBAE40"/>
          </p15:clr>
        </p15:guide>
        <p15:guide id="5" pos="7319">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dark">
    <p:bg>
      <p:bgPr>
        <a:solidFill>
          <a:srgbClr val="25421C"/>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11525"/>
            <a:ext cx="5090400" cy="612000"/>
          </a:xfrm>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r>
              <a:rPr lang="en-US" noProof="0" dirty="0"/>
              <a:t>Footer</a:t>
            </a:r>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US" noProof="0" smtClean="0"/>
              <a:pPr/>
              <a:t>‹Nº›</a:t>
            </a:fld>
            <a:endParaRPr lang="en-US" noProof="0" dirty="0"/>
          </a:p>
        </p:txBody>
      </p:sp>
      <p:pic>
        <p:nvPicPr>
          <p:cNvPr id="5" name="Grafik 10">
            <a:extLst>
              <a:ext uri="{FF2B5EF4-FFF2-40B4-BE49-F238E27FC236}">
                <a16:creationId xmlns:a16="http://schemas.microsoft.com/office/drawing/2014/main" id="{505444E4-6B96-E182-C5E3-766A53CD51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005496722"/>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pos="4112">
          <p15:clr>
            <a:srgbClr val="FBAE40"/>
          </p15:clr>
        </p15:guide>
        <p15:guide id="4" pos="3840">
          <p15:clr>
            <a:srgbClr val="FBAE40"/>
          </p15:clr>
        </p15:guide>
        <p15:guide id="5" pos="731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p:txBody>
          <a:bodyPr/>
          <a:lstStyle/>
          <a:p>
            <a:r>
              <a:rPr lang="en-US" dirty="0"/>
              <a:t>Click to edit Master title style</a:t>
            </a:r>
            <a:endParaRPr lang="de-DE" dirty="0"/>
          </a:p>
        </p:txBody>
      </p:sp>
      <p:sp>
        <p:nvSpPr>
          <p:cNvPr id="10" name="Content Placeholder 9">
            <a:extLst>
              <a:ext uri="{FF2B5EF4-FFF2-40B4-BE49-F238E27FC236}">
                <a16:creationId xmlns:a16="http://schemas.microsoft.com/office/drawing/2014/main" id="{BA56E249-7AEA-83D1-24C6-550B472E2D47}"/>
              </a:ext>
            </a:extLst>
          </p:cNvPr>
          <p:cNvSpPr>
            <a:spLocks noGrp="1"/>
          </p:cNvSpPr>
          <p:nvPr>
            <p:ph sz="quarter" idx="14"/>
          </p:nvPr>
        </p:nvSpPr>
        <p:spPr>
          <a:xfrm>
            <a:off x="287338" y="1378800"/>
            <a:ext cx="11615737"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r>
              <a:rPr lang="en-US" noProof="0"/>
              <a:t>Footer</a:t>
            </a:r>
            <a:endParaRPr lang="en-US"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Tree>
    <p:extLst>
      <p:ext uri="{BB962C8B-B14F-4D97-AF65-F5344CB8AC3E}">
        <p14:creationId xmlns:p14="http://schemas.microsoft.com/office/powerpoint/2010/main" val="1262450920"/>
      </p:ext>
    </p:extLst>
  </p:cSld>
  <p:clrMapOvr>
    <a:masterClrMapping/>
  </p:clrMapOvr>
  <p:extLst>
    <p:ext uri="{DCECCB84-F9BA-43D5-87BE-67443E8EF086}">
      <p15:sldGuideLst xmlns:p15="http://schemas.microsoft.com/office/powerpoint/2012/main">
        <p15:guide id="1" orient="horz" pos="86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236672" y="1378800"/>
            <a:ext cx="56700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6700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1885B91D-4685-5F58-F0CF-68DFC8CADE20}"/>
              </a:ext>
            </a:extLst>
          </p:cNvPr>
          <p:cNvSpPr>
            <a:spLocks noGrp="1"/>
          </p:cNvSpPr>
          <p:nvPr>
            <p:ph type="ftr" sz="quarter" idx="15"/>
          </p:nvPr>
        </p:nvSpPr>
        <p:spPr/>
        <p:txBody>
          <a:bodyPr/>
          <a:lstStyle/>
          <a:p>
            <a:r>
              <a:rPr lang="en-US" noProof="0"/>
              <a:t>Footer</a:t>
            </a:r>
            <a:endParaRPr lang="en-US" noProof="0" dirty="0"/>
          </a:p>
        </p:txBody>
      </p:sp>
      <p:sp>
        <p:nvSpPr>
          <p:cNvPr id="8" name="Slide Number Placeholder 7">
            <a:extLst>
              <a:ext uri="{FF2B5EF4-FFF2-40B4-BE49-F238E27FC236}">
                <a16:creationId xmlns:a16="http://schemas.microsoft.com/office/drawing/2014/main" id="{CB309E67-4CCB-C781-B73D-ABA1E30E8E54}"/>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Tree>
    <p:extLst>
      <p:ext uri="{BB962C8B-B14F-4D97-AF65-F5344CB8AC3E}">
        <p14:creationId xmlns:p14="http://schemas.microsoft.com/office/powerpoint/2010/main" val="1457075372"/>
      </p:ext>
    </p:extLst>
  </p:cSld>
  <p:clrMapOvr>
    <a:masterClrMapping/>
  </p:clrMapOvr>
  <p:extLst>
    <p:ext uri="{DCECCB84-F9BA-43D5-87BE-67443E8EF086}">
      <p15:sldGuideLst xmlns:p15="http://schemas.microsoft.com/office/powerpoint/2012/main">
        <p15:guide id="1" orient="horz" pos="869">
          <p15:clr>
            <a:srgbClr val="FBAE40"/>
          </p15:clr>
        </p15:guide>
        <p15:guide id="2" pos="3754">
          <p15:clr>
            <a:srgbClr val="FBAE40"/>
          </p15:clr>
        </p15:guide>
        <p15:guide id="3" pos="392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endParaRPr lang="de-DE" dirty="0"/>
          </a:p>
        </p:txBody>
      </p:sp>
      <p:sp>
        <p:nvSpPr>
          <p:cNvPr id="17" name="Rectangle 16">
            <a:extLst>
              <a:ext uri="{FF2B5EF4-FFF2-40B4-BE49-F238E27FC236}">
                <a16:creationId xmlns:a16="http://schemas.microsoft.com/office/drawing/2014/main" id="{1F0F0774-A736-B58B-3457-888B317F237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9">
            <a:extLst>
              <a:ext uri="{FF2B5EF4-FFF2-40B4-BE49-F238E27FC236}">
                <a16:creationId xmlns:a16="http://schemas.microsoft.com/office/drawing/2014/main" id="{00E0E6CC-1586-9C98-0538-5FE2A981A44A}"/>
              </a:ext>
            </a:extLst>
          </p:cNvPr>
          <p:cNvSpPr>
            <a:spLocks noGrp="1"/>
          </p:cNvSpPr>
          <p:nvPr>
            <p:ph sz="quarter" idx="14"/>
          </p:nvPr>
        </p:nvSpPr>
        <p:spPr>
          <a:xfrm>
            <a:off x="287337" y="1378800"/>
            <a:ext cx="3684588"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9">
            <a:extLst>
              <a:ext uri="{FF2B5EF4-FFF2-40B4-BE49-F238E27FC236}">
                <a16:creationId xmlns:a16="http://schemas.microsoft.com/office/drawing/2014/main" id="{93B3071F-F438-DCFD-E005-F4E2F754048B}"/>
              </a:ext>
            </a:extLst>
          </p:cNvPr>
          <p:cNvSpPr>
            <a:spLocks noGrp="1"/>
          </p:cNvSpPr>
          <p:nvPr>
            <p:ph sz="quarter" idx="16"/>
          </p:nvPr>
        </p:nvSpPr>
        <p:spPr>
          <a:xfrm>
            <a:off x="8216674" y="1378800"/>
            <a:ext cx="3686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Inhaltsplatzhalter 3">
            <a:extLst>
              <a:ext uri="{FF2B5EF4-FFF2-40B4-BE49-F238E27FC236}">
                <a16:creationId xmlns:a16="http://schemas.microsoft.com/office/drawing/2014/main" id="{9410BB89-0101-18E6-2EF2-6C91E8F158F7}"/>
              </a:ext>
            </a:extLst>
          </p:cNvPr>
          <p:cNvSpPr>
            <a:spLocks noGrp="1"/>
          </p:cNvSpPr>
          <p:nvPr>
            <p:ph sz="half" idx="17"/>
          </p:nvPr>
        </p:nvSpPr>
        <p:spPr>
          <a:xfrm>
            <a:off x="4260850" y="1378800"/>
            <a:ext cx="36864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Footer Placeholder 8">
            <a:extLst>
              <a:ext uri="{FF2B5EF4-FFF2-40B4-BE49-F238E27FC236}">
                <a16:creationId xmlns:a16="http://schemas.microsoft.com/office/drawing/2014/main" id="{6F467332-8CFF-A83D-77AC-88AA3D45B718}"/>
              </a:ext>
            </a:extLst>
          </p:cNvPr>
          <p:cNvSpPr>
            <a:spLocks noGrp="1"/>
          </p:cNvSpPr>
          <p:nvPr>
            <p:ph type="ftr" sz="quarter" idx="18"/>
          </p:nvPr>
        </p:nvSpPr>
        <p:spPr/>
        <p:txBody>
          <a:bodyPr/>
          <a:lstStyle/>
          <a:p>
            <a:r>
              <a:rPr lang="en-US" noProof="0"/>
              <a:t>Footer</a:t>
            </a:r>
            <a:endParaRPr lang="en-US" noProof="0" dirty="0"/>
          </a:p>
        </p:txBody>
      </p:sp>
      <p:sp>
        <p:nvSpPr>
          <p:cNvPr id="10" name="Slide Number Placeholder 9">
            <a:extLst>
              <a:ext uri="{FF2B5EF4-FFF2-40B4-BE49-F238E27FC236}">
                <a16:creationId xmlns:a16="http://schemas.microsoft.com/office/drawing/2014/main" id="{C350C5DF-5065-DC79-B6C0-C48D4B2C6CB0}"/>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Tree>
    <p:extLst>
      <p:ext uri="{BB962C8B-B14F-4D97-AF65-F5344CB8AC3E}">
        <p14:creationId xmlns:p14="http://schemas.microsoft.com/office/powerpoint/2010/main" val="1982099541"/>
      </p:ext>
    </p:extLst>
  </p:cSld>
  <p:clrMapOvr>
    <a:masterClrMapping/>
  </p:clrMapOvr>
  <p:extLst>
    <p:ext uri="{DCECCB84-F9BA-43D5-87BE-67443E8EF086}">
      <p15:sldGuideLst xmlns:p15="http://schemas.microsoft.com/office/powerpoint/2012/main">
        <p15:guide id="1" orient="horz" pos="869">
          <p15:clr>
            <a:srgbClr val="FBAE40"/>
          </p15:clr>
        </p15:guide>
        <p15:guide id="8" pos="2502">
          <p15:clr>
            <a:srgbClr val="FBAE40"/>
          </p15:clr>
        </p15:guide>
        <p15:guide id="9" pos="2684">
          <p15:clr>
            <a:srgbClr val="FBAE40"/>
          </p15:clr>
        </p15:guide>
        <p15:guide id="10" pos="4995">
          <p15:clr>
            <a:srgbClr val="FBAE40"/>
          </p15:clr>
        </p15:guide>
        <p15:guide id="11" pos="517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endParaRPr lang="de-DE"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92178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9">
            <a:extLst>
              <a:ext uri="{FF2B5EF4-FFF2-40B4-BE49-F238E27FC236}">
                <a16:creationId xmlns:a16="http://schemas.microsoft.com/office/drawing/2014/main" id="{60CD936A-5C06-33D9-1B52-E475F551E9A3}"/>
              </a:ext>
            </a:extLst>
          </p:cNvPr>
          <p:cNvSpPr>
            <a:spLocks noGrp="1"/>
          </p:cNvSpPr>
          <p:nvPr>
            <p:ph sz="quarter" idx="16"/>
          </p:nvPr>
        </p:nvSpPr>
        <p:spPr>
          <a:xfrm>
            <a:off x="62352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3">
            <a:extLst>
              <a:ext uri="{FF2B5EF4-FFF2-40B4-BE49-F238E27FC236}">
                <a16:creationId xmlns:a16="http://schemas.microsoft.com/office/drawing/2014/main" id="{A3DA6D5A-A339-4B79-2219-AE17A2290611}"/>
              </a:ext>
            </a:extLst>
          </p:cNvPr>
          <p:cNvSpPr>
            <a:spLocks noGrp="1"/>
          </p:cNvSpPr>
          <p:nvPr>
            <p:ph sz="half" idx="17"/>
          </p:nvPr>
        </p:nvSpPr>
        <p:spPr>
          <a:xfrm>
            <a:off x="3269938"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n-US" noProof="0"/>
              <a:t>Footer</a:t>
            </a:r>
            <a:endParaRPr lang="en-US"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Tree>
    <p:extLst>
      <p:ext uri="{BB962C8B-B14F-4D97-AF65-F5344CB8AC3E}">
        <p14:creationId xmlns:p14="http://schemas.microsoft.com/office/powerpoint/2010/main" val="1378068973"/>
      </p:ext>
    </p:extLst>
  </p:cSld>
  <p:clrMapOvr>
    <a:masterClrMapping/>
  </p:clrMapOvr>
  <p:extLst>
    <p:ext uri="{DCECCB84-F9BA-43D5-87BE-67443E8EF086}">
      <p15:sldGuideLst xmlns:p15="http://schemas.microsoft.com/office/powerpoint/2012/main">
        <p15:guide id="1" orient="horz" pos="869">
          <p15:clr>
            <a:srgbClr val="FBAE40"/>
          </p15:clr>
        </p15:guide>
        <p15:guide id="2" pos="3754">
          <p15:clr>
            <a:srgbClr val="FBAE40"/>
          </p15:clr>
        </p15:guide>
        <p15:guide id="3" pos="3926">
          <p15:clr>
            <a:srgbClr val="FBAE40"/>
          </p15:clr>
        </p15:guide>
        <p15:guide id="4" pos="1875">
          <p15:clr>
            <a:srgbClr val="FBAE40"/>
          </p15:clr>
        </p15:guide>
        <p15:guide id="5" pos="2058">
          <p15:clr>
            <a:srgbClr val="FBAE40"/>
          </p15:clr>
        </p15:guide>
        <p15:guide id="6" pos="5622">
          <p15:clr>
            <a:srgbClr val="FBAE40"/>
          </p15:clr>
        </p15:guide>
        <p15:guide id="7" pos="580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 Picture large">
    <p:bg>
      <p:bgPr>
        <a:solidFill>
          <a:srgbClr val="003C70"/>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DCEA1B8A-ACF1-3919-0C08-7E71980EBE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1376363"/>
            <a:ext cx="2401200" cy="972000"/>
          </a:xfrm>
        </p:spPr>
        <p:txBody>
          <a:bodyPr anchor="t" anchorCtr="0"/>
          <a:lstStyle>
            <a:lvl1pPr>
              <a:defRPr sz="2000">
                <a:solidFill>
                  <a:schemeClr val="tx2"/>
                </a:solidFill>
              </a:defRPr>
            </a:lvl1pPr>
          </a:lstStyle>
          <a:p>
            <a:r>
              <a:rPr lang="en-US" dirty="0"/>
              <a:t>Click to edit Master title style</a:t>
            </a:r>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r>
              <a:rPr lang="en-US" dirty="0"/>
              <a:t>Footer</a:t>
            </a:r>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ChangeAspect="1"/>
          </p:cNvSpPr>
          <p:nvPr>
            <p:ph type="clipArt" sz="quarter" idx="20" hasCustomPrompt="1"/>
          </p:nvPr>
        </p:nvSpPr>
        <p:spPr>
          <a:xfrm>
            <a:off x="288000" y="1036800"/>
            <a:ext cx="3679200" cy="25400"/>
          </a:xfrm>
          <a:solidFill>
            <a:schemeClr val="accent1"/>
          </a:solidFill>
        </p:spPr>
        <p:txBody>
          <a:bodyPr/>
          <a:lstStyle>
            <a:lvl1pPr>
              <a:defRPr sz="100" b="0">
                <a:solidFill>
                  <a:srgbClr val="3C3E00"/>
                </a:solidFill>
              </a:defRPr>
            </a:lvl1pPr>
          </a:lstStyle>
          <a:p>
            <a:r>
              <a:rPr lang="en-US" dirty="0"/>
              <a:t>.</a:t>
            </a:r>
          </a:p>
        </p:txBody>
      </p:sp>
      <p:sp>
        <p:nvSpPr>
          <p:cNvPr id="11" name="Online Image Placeholder 9">
            <a:extLst>
              <a:ext uri="{FF2B5EF4-FFF2-40B4-BE49-F238E27FC236}">
                <a16:creationId xmlns:a16="http://schemas.microsoft.com/office/drawing/2014/main" id="{A7429042-57AB-06D1-342B-2011144DE143}"/>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sp>
        <p:nvSpPr>
          <p:cNvPr id="20" name="Text Placeholder 19">
            <a:extLst>
              <a:ext uri="{FF2B5EF4-FFF2-40B4-BE49-F238E27FC236}">
                <a16:creationId xmlns:a16="http://schemas.microsoft.com/office/drawing/2014/main" id="{6879761B-5C15-26D3-4E48-C9A8F18D168E}"/>
              </a:ext>
            </a:extLst>
          </p:cNvPr>
          <p:cNvSpPr>
            <a:spLocks noGrp="1"/>
          </p:cNvSpPr>
          <p:nvPr>
            <p:ph type="body" sz="quarter" idx="23"/>
          </p:nvPr>
        </p:nvSpPr>
        <p:spPr>
          <a:xfrm>
            <a:off x="287470" y="1928174"/>
            <a:ext cx="2400300" cy="3060000"/>
          </a:xfrm>
        </p:spPr>
        <p:txBody>
          <a:bodyPr tIns="378000"/>
          <a:lstStyle>
            <a:lvl1pPr>
              <a:defRPr b="0"/>
            </a:lvl1pPr>
            <a:lvl2pPr>
              <a:spcAft>
                <a:spcPts val="1600"/>
              </a:spcAft>
              <a:defRPr/>
            </a:lvl2pPr>
            <a:lvl3pPr marL="0" indent="0">
              <a:buNone/>
              <a:defRPr/>
            </a:lvl3pPr>
            <a:lvl4pPr marL="270000" indent="-270000">
              <a:spcAft>
                <a:spcPts val="1600"/>
              </a:spcAft>
              <a:buFont typeface="Symbol" panose="05050102010706020507" pitchFamily="18" charset="2"/>
              <a:buChar char="-"/>
              <a:defRPr sz="1400" b="0"/>
            </a:lvl4pPr>
            <a:lvl5pPr marL="0" indent="0" algn="l">
              <a:spcAft>
                <a:spcPts val="600"/>
              </a:spcAft>
              <a:buNone/>
              <a:defRPr sz="1400" b="0"/>
            </a:lvl5pPr>
            <a:lvl6pPr marL="270000" indent="-270000" algn="l">
              <a:spcAft>
                <a:spcPts val="1600"/>
              </a:spcAft>
              <a:buFont typeface="Symbol" panose="05050102010706020507" pitchFamily="18" charset="2"/>
              <a:buChar char="-"/>
              <a:defRPr sz="1400" b="0"/>
            </a:lvl6pPr>
            <a:lvl7pPr marL="0" indent="0" algn="l">
              <a:lnSpc>
                <a:spcPct val="100000"/>
              </a:lnSpc>
              <a:spcAft>
                <a:spcPts val="600"/>
              </a:spcAft>
              <a:buNone/>
              <a:defRPr sz="1400" b="0"/>
            </a:lvl7pPr>
            <a:lvl8pPr marL="270000" indent="-270000" algn="l">
              <a:lnSpc>
                <a:spcPct val="100000"/>
              </a:lnSpc>
              <a:spcAft>
                <a:spcPts val="1600"/>
              </a:spcAft>
              <a:buFont typeface="Symbol" panose="05050102010706020507" pitchFamily="18" charset="2"/>
              <a:buChar char="-"/>
              <a:defRPr sz="1400"/>
            </a:lvl8pPr>
            <a:lvl9pPr>
              <a:lnSpc>
                <a:spcPct val="100000"/>
              </a:lnSpc>
              <a:spcAft>
                <a:spcPts val="600"/>
              </a:spcAft>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 name="Abgerundete rechteckige Legende 10">
            <a:extLst>
              <a:ext uri="{FF2B5EF4-FFF2-40B4-BE49-F238E27FC236}">
                <a16:creationId xmlns:a16="http://schemas.microsoft.com/office/drawing/2014/main" id="{235880D5-B4C2-F3D8-9EB5-815D75937C0C}"/>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86A12F96-4FD2-D559-9B11-9CB90305E727}"/>
              </a:ext>
            </a:extLst>
          </p:cNvPr>
          <p:cNvSpPr/>
          <p:nvPr userDrawn="1"/>
        </p:nvSpPr>
        <p:spPr>
          <a:xfrm>
            <a:off x="-2808000" y="2353933"/>
            <a:ext cx="2696941" cy="10560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Short text for an introduction to the topic or </a:t>
            </a:r>
            <a:br>
              <a:rPr lang="en-US" sz="900" b="0" noProof="0" dirty="0">
                <a:solidFill>
                  <a:schemeClr val="tx1"/>
                </a:solidFill>
              </a:rPr>
            </a:br>
            <a:r>
              <a:rPr lang="en-US" sz="900" b="0" noProof="0" dirty="0">
                <a:solidFill>
                  <a:schemeClr val="tx1"/>
                </a:solidFill>
              </a:rPr>
              <a:t>3 most important facts for an introduction to the topic. Use list level 2 for a list.</a:t>
            </a:r>
          </a:p>
        </p:txBody>
      </p:sp>
    </p:spTree>
    <p:extLst>
      <p:ext uri="{BB962C8B-B14F-4D97-AF65-F5344CB8AC3E}">
        <p14:creationId xmlns:p14="http://schemas.microsoft.com/office/powerpoint/2010/main" val="2890844279"/>
      </p:ext>
    </p:extLst>
  </p:cSld>
  <p:clrMapOvr>
    <a:masterClrMapping/>
  </p:clrMapOvr>
  <p:extLst>
    <p:ext uri="{DCECCB84-F9BA-43D5-87BE-67443E8EF086}">
      <p15:sldGuideLst xmlns:p15="http://schemas.microsoft.com/office/powerpoint/2012/main">
        <p15:guide id="2" pos="1693">
          <p15:clr>
            <a:srgbClr val="FBAE40"/>
          </p15:clr>
        </p15:guide>
        <p15:guide id="3" orient="horz" pos="867">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Picture (3: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9216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7999" y="1378800"/>
            <a:ext cx="863692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Abgerundete rechteckige Legende 10">
            <a:extLst>
              <a:ext uri="{FF2B5EF4-FFF2-40B4-BE49-F238E27FC236}">
                <a16:creationId xmlns:a16="http://schemas.microsoft.com/office/drawing/2014/main" id="{3ED52294-B01F-13EA-3A82-142AFC78342F}"/>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3509253252"/>
      </p:ext>
    </p:extLst>
  </p:cSld>
  <p:clrMapOvr>
    <a:masterClrMapping/>
  </p:clrMapOvr>
  <p:extLst>
    <p:ext uri="{DCECCB84-F9BA-43D5-87BE-67443E8EF086}">
      <p15:sldGuideLst xmlns:p15="http://schemas.microsoft.com/office/powerpoint/2012/main">
        <p15:guide id="1" orient="horz" pos="869">
          <p15:clr>
            <a:srgbClr val="FBAE40"/>
          </p15:clr>
        </p15:guide>
        <p15:guide id="6" pos="5622">
          <p15:clr>
            <a:srgbClr val="FBAE40"/>
          </p15:clr>
        </p15:guide>
        <p15:guide id="7" pos="580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ture, Text (1:3)">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288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3266149" y="1378800"/>
            <a:ext cx="863692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Abgerundete rechteckige Legende 10">
            <a:extLst>
              <a:ext uri="{FF2B5EF4-FFF2-40B4-BE49-F238E27FC236}">
                <a16:creationId xmlns:a16="http://schemas.microsoft.com/office/drawing/2014/main" id="{A367B669-35C2-3CA2-5416-ADB4B5AD549C}"/>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3283416837"/>
      </p:ext>
    </p:extLst>
  </p:cSld>
  <p:clrMapOvr>
    <a:masterClrMapping/>
  </p:clrMapOvr>
  <p:extLst>
    <p:ext uri="{DCECCB84-F9BA-43D5-87BE-67443E8EF086}">
      <p15:sldGuideLst xmlns:p15="http://schemas.microsoft.com/office/powerpoint/2012/main">
        <p15:guide id="1" orient="horz" pos="869">
          <p15:clr>
            <a:srgbClr val="FBAE40"/>
          </p15:clr>
        </p15:guide>
        <p15:guide id="4" pos="1875">
          <p15:clr>
            <a:srgbClr val="FBAE40"/>
          </p15:clr>
        </p15:guide>
        <p15:guide id="5" pos="205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Picture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6231732"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567147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Abgerundete rechteckige Legende 10">
            <a:extLst>
              <a:ext uri="{FF2B5EF4-FFF2-40B4-BE49-F238E27FC236}">
                <a16:creationId xmlns:a16="http://schemas.microsoft.com/office/drawing/2014/main" id="{1805CF94-FE17-9230-DCCC-89FF05560935}"/>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1131354715"/>
      </p:ext>
    </p:extLst>
  </p:cSld>
  <p:clrMapOvr>
    <a:masterClrMapping/>
  </p:clrMapOvr>
  <p:extLst>
    <p:ext uri="{DCECCB84-F9BA-43D5-87BE-67443E8EF086}">
      <p15:sldGuideLst xmlns:p15="http://schemas.microsoft.com/office/powerpoint/2012/main">
        <p15:guide id="1" orient="horz" pos="869">
          <p15:clr>
            <a:srgbClr val="FBAE40"/>
          </p15:clr>
        </p15:guide>
        <p15:guide id="2" pos="3754">
          <p15:clr>
            <a:srgbClr val="FBAE40"/>
          </p15:clr>
        </p15:guide>
        <p15:guide id="3" pos="392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cture, Text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288000"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6231600" y="1378800"/>
            <a:ext cx="5671475"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Abgerundete rechteckige Legende 10">
            <a:extLst>
              <a:ext uri="{FF2B5EF4-FFF2-40B4-BE49-F238E27FC236}">
                <a16:creationId xmlns:a16="http://schemas.microsoft.com/office/drawing/2014/main" id="{CDB40201-C61D-0920-C074-E6A86E218167}"/>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297781178"/>
      </p:ext>
    </p:extLst>
  </p:cSld>
  <p:clrMapOvr>
    <a:masterClrMapping/>
  </p:clrMapOvr>
  <p:extLst>
    <p:ext uri="{DCECCB84-F9BA-43D5-87BE-67443E8EF086}">
      <p15:sldGuideLst xmlns:p15="http://schemas.microsoft.com/office/powerpoint/2012/main">
        <p15:guide id="1" orient="horz" pos="869">
          <p15:clr>
            <a:srgbClr val="FBAE40"/>
          </p15:clr>
        </p15:guide>
        <p15:guide id="2" pos="3754">
          <p15:clr>
            <a:srgbClr val="FBAE40"/>
          </p15:clr>
        </p15:guide>
        <p15:guide id="3" pos="392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Picture (1: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a:extLst>
              <a:ext uri="{FF2B5EF4-FFF2-40B4-BE49-F238E27FC236}">
                <a16:creationId xmlns:a16="http://schemas.microsoft.com/office/drawing/2014/main" id="{3D9C72D0-9C75-B7FA-B88A-327B8440D377}"/>
              </a:ext>
            </a:extLst>
          </p:cNvPr>
          <p:cNvSpPr>
            <a:spLocks noGrp="1"/>
          </p:cNvSpPr>
          <p:nvPr>
            <p:ph type="pic" sz="quarter" idx="23"/>
          </p:nvPr>
        </p:nvSpPr>
        <p:spPr>
          <a:xfrm>
            <a:off x="3265200"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7" name="Abgerundete rechteckige Legende 10">
            <a:extLst>
              <a:ext uri="{FF2B5EF4-FFF2-40B4-BE49-F238E27FC236}">
                <a16:creationId xmlns:a16="http://schemas.microsoft.com/office/drawing/2014/main" id="{BD40C23B-4547-5650-806A-66D2ACFDC3B7}"/>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3339023622"/>
      </p:ext>
    </p:extLst>
  </p:cSld>
  <p:clrMapOvr>
    <a:masterClrMapping/>
  </p:clrMapOvr>
  <p:extLst>
    <p:ext uri="{DCECCB84-F9BA-43D5-87BE-67443E8EF086}">
      <p15:sldGuideLst xmlns:p15="http://schemas.microsoft.com/office/powerpoint/2012/main">
        <p15:guide id="1" orient="horz" pos="869">
          <p15:clr>
            <a:srgbClr val="FBAE40"/>
          </p15:clr>
        </p15:guide>
        <p15:guide id="4" pos="1875">
          <p15:clr>
            <a:srgbClr val="FBAE40"/>
          </p15:clr>
        </p15:guide>
        <p15:guide id="5" pos="205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icture, Text (3: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9219600" y="1378800"/>
            <a:ext cx="2685600" cy="4903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9">
            <a:extLst>
              <a:ext uri="{FF2B5EF4-FFF2-40B4-BE49-F238E27FC236}">
                <a16:creationId xmlns:a16="http://schemas.microsoft.com/office/drawing/2014/main" id="{FEE23C52-6DAD-95DC-ED98-591B9334BBEE}"/>
              </a:ext>
            </a:extLst>
          </p:cNvPr>
          <p:cNvSpPr>
            <a:spLocks noGrp="1"/>
          </p:cNvSpPr>
          <p:nvPr>
            <p:ph type="pic" sz="quarter" idx="21"/>
          </p:nvPr>
        </p:nvSpPr>
        <p:spPr>
          <a:xfrm>
            <a:off x="287338"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endParaRPr lang="en-US" dirty="0"/>
          </a:p>
        </p:txBody>
      </p:sp>
      <p:sp>
        <p:nvSpPr>
          <p:cNvPr id="5" name="Abgerundete rechteckige Legende 10">
            <a:extLst>
              <a:ext uri="{FF2B5EF4-FFF2-40B4-BE49-F238E27FC236}">
                <a16:creationId xmlns:a16="http://schemas.microsoft.com/office/drawing/2014/main" id="{6D057797-A263-E907-9FA6-6DE2C8F31C3B}"/>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392532067"/>
      </p:ext>
    </p:extLst>
  </p:cSld>
  <p:clrMapOvr>
    <a:masterClrMapping/>
  </p:clrMapOvr>
  <p:extLst>
    <p:ext uri="{DCECCB84-F9BA-43D5-87BE-67443E8EF086}">
      <p15:sldGuideLst xmlns:p15="http://schemas.microsoft.com/office/powerpoint/2012/main">
        <p15:guide id="1" orient="horz" pos="869">
          <p15:clr>
            <a:srgbClr val="FBAE40"/>
          </p15:clr>
        </p15:guide>
        <p15:guide id="6" pos="5622">
          <p15:clr>
            <a:srgbClr val="FBAE40"/>
          </p15:clr>
        </p15:guide>
        <p15:guide id="7" pos="580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icture (full widt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US" noProof="0" smtClean="0"/>
              <a:pPr/>
              <a:t>‹Nº›</a:t>
            </a:fld>
            <a:endParaRPr lang="en-US" noProof="0" dirty="0"/>
          </a:p>
        </p:txBody>
      </p:sp>
      <p:sp>
        <p:nvSpPr>
          <p:cNvPr id="5" name="Picture Placeholder 4">
            <a:extLst>
              <a:ext uri="{FF2B5EF4-FFF2-40B4-BE49-F238E27FC236}">
                <a16:creationId xmlns:a16="http://schemas.microsoft.com/office/drawing/2014/main" id="{84F0F322-EA25-ACAE-609C-DC51DE703108}"/>
              </a:ext>
            </a:extLst>
          </p:cNvPr>
          <p:cNvSpPr>
            <a:spLocks noGrp="1"/>
          </p:cNvSpPr>
          <p:nvPr>
            <p:ph type="pic" sz="quarter" idx="22"/>
          </p:nvPr>
        </p:nvSpPr>
        <p:spPr>
          <a:xfrm>
            <a:off x="287337" y="1378800"/>
            <a:ext cx="11615736" cy="4903787"/>
          </a:xfrm>
          <a:custGeom>
            <a:avLst/>
            <a:gdLst>
              <a:gd name="connsiteX0" fmla="*/ 3245194 w 11615736"/>
              <a:gd name="connsiteY0" fmla="*/ 0 h 4903787"/>
              <a:gd name="connsiteX1" fmla="*/ 11348690 w 11615736"/>
              <a:gd name="connsiteY1" fmla="*/ 0 h 4903787"/>
              <a:gd name="connsiteX2" fmla="*/ 11396664 w 11615736"/>
              <a:gd name="connsiteY2" fmla="*/ 4836 h 4903787"/>
              <a:gd name="connsiteX3" fmla="*/ 11615736 w 11615736"/>
              <a:gd name="connsiteY3" fmla="*/ 273629 h 4903787"/>
              <a:gd name="connsiteX4" fmla="*/ 11615736 w 11615736"/>
              <a:gd name="connsiteY4" fmla="*/ 4628682 h 4903787"/>
              <a:gd name="connsiteX5" fmla="*/ 11341369 w 11615736"/>
              <a:gd name="connsiteY5" fmla="*/ 4903049 h 4903787"/>
              <a:gd name="connsiteX6" fmla="*/ 8375123 w 11615736"/>
              <a:gd name="connsiteY6" fmla="*/ 4903049 h 4903787"/>
              <a:gd name="connsiteX7" fmla="*/ 8370541 w 11615736"/>
              <a:gd name="connsiteY7" fmla="*/ 4903049 h 4903787"/>
              <a:gd name="connsiteX8" fmla="*/ 8363220 w 11615736"/>
              <a:gd name="connsiteY8" fmla="*/ 4903787 h 4903787"/>
              <a:gd name="connsiteX9" fmla="*/ 5396974 w 11615736"/>
              <a:gd name="connsiteY9" fmla="*/ 4903787 h 4903787"/>
              <a:gd name="connsiteX10" fmla="*/ 3240612 w 11615736"/>
              <a:gd name="connsiteY10" fmla="*/ 4903787 h 4903787"/>
              <a:gd name="connsiteX11" fmla="*/ 274366 w 11615736"/>
              <a:gd name="connsiteY11" fmla="*/ 4903787 h 4903787"/>
              <a:gd name="connsiteX12" fmla="*/ 21560 w 11615736"/>
              <a:gd name="connsiteY12" fmla="*/ 4736216 h 4903787"/>
              <a:gd name="connsiteX13" fmla="*/ 0 w 11615736"/>
              <a:gd name="connsiteY13" fmla="*/ 4629425 h 4903787"/>
              <a:gd name="connsiteX14" fmla="*/ 0 w 11615736"/>
              <a:gd name="connsiteY14" fmla="*/ 274363 h 4903787"/>
              <a:gd name="connsiteX15" fmla="*/ 21560 w 11615736"/>
              <a:gd name="connsiteY15" fmla="*/ 167571 h 4903787"/>
              <a:gd name="connsiteX16" fmla="*/ 219071 w 11615736"/>
              <a:gd name="connsiteY16" fmla="*/ 5574 h 4903787"/>
              <a:gd name="connsiteX17" fmla="*/ 267045 w 11615736"/>
              <a:gd name="connsiteY17" fmla="*/ 738 h 4903787"/>
              <a:gd name="connsiteX18" fmla="*/ 3237874 w 11615736"/>
              <a:gd name="connsiteY18" fmla="*/ 738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15736" h="4903787">
                <a:moveTo>
                  <a:pt x="3245194" y="0"/>
                </a:moveTo>
                <a:lnTo>
                  <a:pt x="11348690" y="0"/>
                </a:lnTo>
                <a:lnTo>
                  <a:pt x="11396664" y="4836"/>
                </a:lnTo>
                <a:cubicBezTo>
                  <a:pt x="11521688" y="30420"/>
                  <a:pt x="11615736" y="141041"/>
                  <a:pt x="11615736" y="273629"/>
                </a:cubicBezTo>
                <a:lnTo>
                  <a:pt x="11615736" y="4628682"/>
                </a:lnTo>
                <a:cubicBezTo>
                  <a:pt x="11615736" y="4780211"/>
                  <a:pt x="11492898" y="4903049"/>
                  <a:pt x="11341369" y="4903049"/>
                </a:cubicBezTo>
                <a:lnTo>
                  <a:pt x="8375123" y="4903049"/>
                </a:lnTo>
                <a:lnTo>
                  <a:pt x="8370541" y="4903049"/>
                </a:lnTo>
                <a:lnTo>
                  <a:pt x="8363220" y="4903787"/>
                </a:lnTo>
                <a:lnTo>
                  <a:pt x="5396974" y="4903787"/>
                </a:lnTo>
                <a:lnTo>
                  <a:pt x="3240612" y="4903787"/>
                </a:lnTo>
                <a:lnTo>
                  <a:pt x="274366" y="4903787"/>
                </a:lnTo>
                <a:cubicBezTo>
                  <a:pt x="160719" y="4903787"/>
                  <a:pt x="63211" y="4834691"/>
                  <a:pt x="21560" y="4736216"/>
                </a:cubicBezTo>
                <a:lnTo>
                  <a:pt x="0" y="4629425"/>
                </a:lnTo>
                <a:lnTo>
                  <a:pt x="0" y="274363"/>
                </a:lnTo>
                <a:lnTo>
                  <a:pt x="21560" y="167571"/>
                </a:lnTo>
                <a:cubicBezTo>
                  <a:pt x="56270" y="85509"/>
                  <a:pt x="129768" y="23848"/>
                  <a:pt x="219071" y="5574"/>
                </a:cubicBezTo>
                <a:lnTo>
                  <a:pt x="267045" y="738"/>
                </a:lnTo>
                <a:lnTo>
                  <a:pt x="3237874" y="738"/>
                </a:lnTo>
                <a:close/>
              </a:path>
            </a:pathLst>
          </a:custGeom>
        </p:spPr>
        <p:txBody>
          <a:bodyPr wrap="square">
            <a:noAutofit/>
          </a:bodyPr>
          <a:lstStyle/>
          <a:p>
            <a:endParaRPr lang="en-US" dirty="0"/>
          </a:p>
        </p:txBody>
      </p:sp>
      <p:sp>
        <p:nvSpPr>
          <p:cNvPr id="4" name="Abgerundete rechteckige Legende 10">
            <a:extLst>
              <a:ext uri="{FF2B5EF4-FFF2-40B4-BE49-F238E27FC236}">
                <a16:creationId xmlns:a16="http://schemas.microsoft.com/office/drawing/2014/main" id="{28614153-6F76-F841-A3AA-B129FA966F36}"/>
              </a:ext>
            </a:extLst>
          </p:cNvPr>
          <p:cNvSpPr/>
          <p:nvPr userDrawn="1"/>
        </p:nvSpPr>
        <p:spPr>
          <a:xfrm>
            <a:off x="-2808000" y="1378800"/>
            <a:ext cx="2696941" cy="917513"/>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he size of the image placeholder must not be changed.</a:t>
            </a:r>
          </a:p>
        </p:txBody>
      </p:sp>
    </p:spTree>
    <p:extLst>
      <p:ext uri="{BB962C8B-B14F-4D97-AF65-F5344CB8AC3E}">
        <p14:creationId xmlns:p14="http://schemas.microsoft.com/office/powerpoint/2010/main" val="2276752954"/>
      </p:ext>
    </p:extLst>
  </p:cSld>
  <p:clrMapOvr>
    <a:masterClrMapping/>
  </p:clrMapOvr>
  <p:extLst>
    <p:ext uri="{DCECCB84-F9BA-43D5-87BE-67443E8EF086}">
      <p15:sldGuideLst xmlns:p15="http://schemas.microsoft.com/office/powerpoint/2012/main">
        <p15:guide id="1" orient="horz" pos="86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Large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9AFD43-5FF5-07CF-598F-C6154BEE6A91}"/>
              </a:ext>
            </a:extLst>
          </p:cNvPr>
          <p:cNvSpPr>
            <a:spLocks noGrp="1"/>
          </p:cNvSpPr>
          <p:nvPr>
            <p:ph type="pic" sz="quarter" idx="23"/>
          </p:nvPr>
        </p:nvSpPr>
        <p:spPr>
          <a:xfrm>
            <a:off x="0" y="0"/>
            <a:ext cx="12192000" cy="6858000"/>
          </a:xfrm>
        </p:spPr>
        <p:txBody>
          <a:bodyPr/>
          <a:lstStyle/>
          <a:p>
            <a:endParaRPr lang="en-US" dirty="0"/>
          </a:p>
        </p:txBody>
      </p:sp>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n-US" dirty="0"/>
              <a:t>Footer</a:t>
            </a:r>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Nº›</a:t>
            </a:fld>
            <a:endParaRPr lang="en-US" dirty="0"/>
          </a:p>
        </p:txBody>
      </p:sp>
      <p:sp>
        <p:nvSpPr>
          <p:cNvPr id="2" name="Abgerundete rechteckige Legende 10">
            <a:extLst>
              <a:ext uri="{FF2B5EF4-FFF2-40B4-BE49-F238E27FC236}">
                <a16:creationId xmlns:a16="http://schemas.microsoft.com/office/drawing/2014/main" id="{06152B2D-3AB1-CE60-F401-149A55D40E0F}"/>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2630952557"/>
      </p:ext>
    </p:extLst>
  </p:cSld>
  <p:clrMapOvr>
    <a:masterClrMapping/>
  </p:clrMapOvr>
  <p:extLst>
    <p:ext uri="{DCECCB84-F9BA-43D5-87BE-67443E8EF086}">
      <p15:sldGuideLst xmlns:p15="http://schemas.microsoft.com/office/powerpoint/2012/main">
        <p15:guide id="1" pos="626">
          <p15:clr>
            <a:srgbClr val="FBAE40"/>
          </p15:clr>
        </p15:guide>
        <p15:guide id="2" pos="808">
          <p15:clr>
            <a:srgbClr val="FBAE40"/>
          </p15:clr>
        </p15:guide>
        <p15:guide id="3" pos="1253">
          <p15:clr>
            <a:srgbClr val="FBAE40"/>
          </p15:clr>
        </p15:guide>
        <p15:guide id="4" pos="1432">
          <p15:clr>
            <a:srgbClr val="FBAE40"/>
          </p15:clr>
        </p15:guide>
        <p15:guide id="5" pos="1877">
          <p15:clr>
            <a:srgbClr val="FBAE40"/>
          </p15:clr>
        </p15:guide>
        <p15:guide id="6" pos="2056">
          <p15:clr>
            <a:srgbClr val="FBAE40"/>
          </p15:clr>
        </p15:guide>
        <p15:guide id="7" pos="2505">
          <p15:clr>
            <a:srgbClr val="FBAE40"/>
          </p15:clr>
        </p15:guide>
        <p15:guide id="8" pos="2683">
          <p15:clr>
            <a:srgbClr val="FBAE40"/>
          </p15:clr>
        </p15:guide>
        <p15:guide id="9" pos="3130">
          <p15:clr>
            <a:srgbClr val="FBAE40"/>
          </p15:clr>
        </p15:guide>
        <p15:guide id="10" pos="3308">
          <p15:clr>
            <a:srgbClr val="FBAE40"/>
          </p15:clr>
        </p15:guide>
        <p15:guide id="11" pos="3753">
          <p15:clr>
            <a:srgbClr val="FBAE40"/>
          </p15:clr>
        </p15:guide>
        <p15:guide id="12" pos="3926">
          <p15:clr>
            <a:srgbClr val="FBAE40"/>
          </p15:clr>
        </p15:guide>
        <p15:guide id="13" pos="4373">
          <p15:clr>
            <a:srgbClr val="FBAE40"/>
          </p15:clr>
        </p15:guide>
        <p15:guide id="14" pos="4551">
          <p15:clr>
            <a:srgbClr val="FBAE40"/>
          </p15:clr>
        </p15:guide>
        <p15:guide id="15" pos="4997">
          <p15:clr>
            <a:srgbClr val="FBAE40"/>
          </p15:clr>
        </p15:guide>
        <p15:guide id="16" pos="5176">
          <p15:clr>
            <a:srgbClr val="FBAE40"/>
          </p15:clr>
        </p15:guide>
        <p15:guide id="17" pos="5624">
          <p15:clr>
            <a:srgbClr val="FBAE40"/>
          </p15:clr>
        </p15:guide>
        <p15:guide id="18" pos="5804">
          <p15:clr>
            <a:srgbClr val="FBAE40"/>
          </p15:clr>
        </p15:guide>
        <p15:guide id="19" pos="6248">
          <p15:clr>
            <a:srgbClr val="FBAE40"/>
          </p15:clr>
        </p15:guide>
        <p15:guide id="20" pos="6427">
          <p15:clr>
            <a:srgbClr val="FBAE40"/>
          </p15:clr>
        </p15:guide>
        <p15:guide id="21" pos="6873">
          <p15:clr>
            <a:srgbClr val="FBAE40"/>
          </p15:clr>
        </p15:guide>
        <p15:guide id="22" pos="7053">
          <p15:clr>
            <a:srgbClr val="FBAE40"/>
          </p15:clr>
        </p15:guide>
        <p15:guide id="23" orient="horz" pos="86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Contents with 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endParaRPr lang="de-DE"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9BC6E3AB-0636-57B2-4C36-AC798D6B0659}"/>
              </a:ext>
            </a:extLst>
          </p:cNvPr>
          <p:cNvSpPr>
            <a:spLocks noGrp="1"/>
          </p:cNvSpPr>
          <p:nvPr>
            <p:ph type="body" sz="quarter" idx="18"/>
          </p:nvPr>
        </p:nvSpPr>
        <p:spPr>
          <a:xfrm>
            <a:off x="2880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1" name="Text Placeholder 20">
            <a:extLst>
              <a:ext uri="{FF2B5EF4-FFF2-40B4-BE49-F238E27FC236}">
                <a16:creationId xmlns:a16="http://schemas.microsoft.com/office/drawing/2014/main" id="{A5A7C009-966B-009A-E119-D98EDBB9609A}"/>
              </a:ext>
            </a:extLst>
          </p:cNvPr>
          <p:cNvSpPr>
            <a:spLocks noGrp="1"/>
          </p:cNvSpPr>
          <p:nvPr>
            <p:ph type="body" sz="quarter" idx="22"/>
          </p:nvPr>
        </p:nvSpPr>
        <p:spPr>
          <a:xfrm>
            <a:off x="2880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0">
            <a:extLst>
              <a:ext uri="{FF2B5EF4-FFF2-40B4-BE49-F238E27FC236}">
                <a16:creationId xmlns:a16="http://schemas.microsoft.com/office/drawing/2014/main" id="{7FCEF823-670B-2AD2-6E20-55B1F88A48E7}"/>
              </a:ext>
            </a:extLst>
          </p:cNvPr>
          <p:cNvSpPr>
            <a:spLocks noGrp="1"/>
          </p:cNvSpPr>
          <p:nvPr>
            <p:ph type="body" sz="quarter" idx="23"/>
          </p:nvPr>
        </p:nvSpPr>
        <p:spPr>
          <a:xfrm>
            <a:off x="32688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0">
            <a:extLst>
              <a:ext uri="{FF2B5EF4-FFF2-40B4-BE49-F238E27FC236}">
                <a16:creationId xmlns:a16="http://schemas.microsoft.com/office/drawing/2014/main" id="{2B4FBDE2-69A3-83BC-90B8-D68A711F9E74}"/>
              </a:ext>
            </a:extLst>
          </p:cNvPr>
          <p:cNvSpPr>
            <a:spLocks noGrp="1"/>
          </p:cNvSpPr>
          <p:nvPr>
            <p:ph type="body" sz="quarter" idx="24"/>
          </p:nvPr>
        </p:nvSpPr>
        <p:spPr>
          <a:xfrm>
            <a:off x="62352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0">
            <a:extLst>
              <a:ext uri="{FF2B5EF4-FFF2-40B4-BE49-F238E27FC236}">
                <a16:creationId xmlns:a16="http://schemas.microsoft.com/office/drawing/2014/main" id="{070E2F6E-F2A4-9A59-115B-08EEEAF78B03}"/>
              </a:ext>
            </a:extLst>
          </p:cNvPr>
          <p:cNvSpPr>
            <a:spLocks noGrp="1"/>
          </p:cNvSpPr>
          <p:nvPr>
            <p:ph type="body" sz="quarter" idx="25"/>
          </p:nvPr>
        </p:nvSpPr>
        <p:spPr>
          <a:xfrm>
            <a:off x="9219600" y="1774800"/>
            <a:ext cx="2685600" cy="4507200"/>
          </a:xfrm>
        </p:spPr>
        <p:txBody>
          <a:bodyPr tIns="5688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3">
            <a:extLst>
              <a:ext uri="{FF2B5EF4-FFF2-40B4-BE49-F238E27FC236}">
                <a16:creationId xmlns:a16="http://schemas.microsoft.com/office/drawing/2014/main" id="{93BBFB66-7482-7164-A64A-968F6356FA57}"/>
              </a:ext>
            </a:extLst>
          </p:cNvPr>
          <p:cNvSpPr>
            <a:spLocks noGrp="1"/>
          </p:cNvSpPr>
          <p:nvPr>
            <p:ph type="body" sz="quarter" idx="26"/>
          </p:nvPr>
        </p:nvSpPr>
        <p:spPr>
          <a:xfrm>
            <a:off x="3270275"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7" name="Text Placeholder 13">
            <a:extLst>
              <a:ext uri="{FF2B5EF4-FFF2-40B4-BE49-F238E27FC236}">
                <a16:creationId xmlns:a16="http://schemas.microsoft.com/office/drawing/2014/main" id="{31F66869-8715-1AC4-BB36-53CF23C5B2E2}"/>
              </a:ext>
            </a:extLst>
          </p:cNvPr>
          <p:cNvSpPr>
            <a:spLocks noGrp="1"/>
          </p:cNvSpPr>
          <p:nvPr>
            <p:ph type="body" sz="quarter" idx="27"/>
          </p:nvPr>
        </p:nvSpPr>
        <p:spPr>
          <a:xfrm>
            <a:off x="62352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28" name="Text Placeholder 13">
            <a:extLst>
              <a:ext uri="{FF2B5EF4-FFF2-40B4-BE49-F238E27FC236}">
                <a16:creationId xmlns:a16="http://schemas.microsoft.com/office/drawing/2014/main" id="{C197165B-607C-959F-F199-34120D434673}"/>
              </a:ext>
            </a:extLst>
          </p:cNvPr>
          <p:cNvSpPr>
            <a:spLocks noGrp="1"/>
          </p:cNvSpPr>
          <p:nvPr>
            <p:ph type="body" sz="quarter" idx="28"/>
          </p:nvPr>
        </p:nvSpPr>
        <p:spPr>
          <a:xfrm>
            <a:off x="92196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dirty="0"/>
              <a:t>Click to edit Master text styles</a:t>
            </a:r>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n-US" noProof="0"/>
              <a:t>Footer</a:t>
            </a:r>
            <a:endParaRPr lang="en-US"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Nº›</a:t>
            </a:fld>
            <a:endParaRPr lang="en-US" noProof="0" dirty="0"/>
          </a:p>
        </p:txBody>
      </p:sp>
      <p:sp>
        <p:nvSpPr>
          <p:cNvPr id="5" name="Abgerundete rechteckige Legende 10">
            <a:extLst>
              <a:ext uri="{FF2B5EF4-FFF2-40B4-BE49-F238E27FC236}">
                <a16:creationId xmlns:a16="http://schemas.microsoft.com/office/drawing/2014/main" id="{41369B32-9D60-34D0-D34D-8D4BD7279FD0}"/>
              </a:ext>
            </a:extLst>
          </p:cNvPr>
          <p:cNvSpPr/>
          <p:nvPr userDrawn="1"/>
        </p:nvSpPr>
        <p:spPr>
          <a:xfrm>
            <a:off x="-2808000" y="1379539"/>
            <a:ext cx="2696941" cy="1471511"/>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If the subheading gets longer than one line, the bottom line moves down according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o keep the distance to the content below even, move the upper handle of the lower placeholder to the bottom of the line.</a:t>
            </a:r>
          </a:p>
        </p:txBody>
      </p:sp>
    </p:spTree>
    <p:extLst>
      <p:ext uri="{BB962C8B-B14F-4D97-AF65-F5344CB8AC3E}">
        <p14:creationId xmlns:p14="http://schemas.microsoft.com/office/powerpoint/2010/main" val="894004043"/>
      </p:ext>
    </p:extLst>
  </p:cSld>
  <p:clrMapOvr>
    <a:masterClrMapping/>
  </p:clrMapOvr>
  <p:extLst>
    <p:ext uri="{DCECCB84-F9BA-43D5-87BE-67443E8EF086}">
      <p15:sldGuideLst xmlns:p15="http://schemas.microsoft.com/office/powerpoint/2012/main">
        <p15:guide id="1" orient="horz" pos="869">
          <p15:clr>
            <a:srgbClr val="FBAE40"/>
          </p15:clr>
        </p15:guide>
        <p15:guide id="2" pos="3754">
          <p15:clr>
            <a:srgbClr val="FBAE40"/>
          </p15:clr>
        </p15:guide>
        <p15:guide id="3" pos="3926">
          <p15:clr>
            <a:srgbClr val="FBAE40"/>
          </p15:clr>
        </p15:guide>
        <p15:guide id="4" pos="1875">
          <p15:clr>
            <a:srgbClr val="FBAE40"/>
          </p15:clr>
        </p15:guide>
        <p15:guide id="5" pos="2058">
          <p15:clr>
            <a:srgbClr val="FBAE40"/>
          </p15:clr>
        </p15:guide>
        <p15:guide id="6" pos="5622">
          <p15:clr>
            <a:srgbClr val="FBAE40"/>
          </p15:clr>
        </p15:guide>
        <p15:guide id="7" pos="5804">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Eight Contents with Deposit">
    <p:spTree>
      <p:nvGrpSpPr>
        <p:cNvPr id="1" name=""/>
        <p:cNvGrpSpPr/>
        <p:nvPr/>
      </p:nvGrpSpPr>
      <p:grpSpPr>
        <a:xfrm>
          <a:off x="0" y="0"/>
          <a:ext cx="0" cy="0"/>
          <a:chOff x="0" y="0"/>
          <a:chExt cx="0" cy="0"/>
        </a:xfrm>
      </p:grpSpPr>
      <p:sp>
        <p:nvSpPr>
          <p:cNvPr id="54" name="Text Placeholder 53">
            <a:extLst>
              <a:ext uri="{FF2B5EF4-FFF2-40B4-BE49-F238E27FC236}">
                <a16:creationId xmlns:a16="http://schemas.microsoft.com/office/drawing/2014/main" id="{C1E507DF-D53B-3BE4-1A00-07C74C890A50}"/>
              </a:ext>
            </a:extLst>
          </p:cNvPr>
          <p:cNvSpPr>
            <a:spLocks noGrp="1"/>
          </p:cNvSpPr>
          <p:nvPr>
            <p:ph type="body" sz="quarter" idx="45"/>
          </p:nvPr>
        </p:nvSpPr>
        <p:spPr>
          <a:xfrm>
            <a:off x="288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bg2"/>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20" name="Picture Placeholder 19">
            <a:extLst>
              <a:ext uri="{FF2B5EF4-FFF2-40B4-BE49-F238E27FC236}">
                <a16:creationId xmlns:a16="http://schemas.microsoft.com/office/drawing/2014/main" id="{B81DD2EF-6E62-0069-4582-4CFA7F89136A}"/>
              </a:ext>
            </a:extLst>
          </p:cNvPr>
          <p:cNvSpPr>
            <a:spLocks noGrp="1"/>
          </p:cNvSpPr>
          <p:nvPr>
            <p:ph type="pic" sz="quarter" idx="32"/>
          </p:nvPr>
        </p:nvSpPr>
        <p:spPr>
          <a:xfrm>
            <a:off x="288000" y="3968525"/>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n-US" noProof="0" dirty="0"/>
              <a:t>Footer</a:t>
            </a:r>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Nº›</a:t>
            </a:fld>
            <a:endParaRPr lang="en-US" noProof="0" dirty="0"/>
          </a:p>
        </p:txBody>
      </p:sp>
      <p:sp>
        <p:nvSpPr>
          <p:cNvPr id="25" name="Picture Placeholder 24">
            <a:extLst>
              <a:ext uri="{FF2B5EF4-FFF2-40B4-BE49-F238E27FC236}">
                <a16:creationId xmlns:a16="http://schemas.microsoft.com/office/drawing/2014/main" id="{DAA20D63-B477-B8C1-E93C-EFEB50581D3B}"/>
              </a:ext>
            </a:extLst>
          </p:cNvPr>
          <p:cNvSpPr>
            <a:spLocks noGrp="1"/>
          </p:cNvSpPr>
          <p:nvPr>
            <p:ph type="pic" sz="quarter" idx="33"/>
          </p:nvPr>
        </p:nvSpPr>
        <p:spPr>
          <a:xfrm>
            <a:off x="6231600" y="1378800"/>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endParaRPr lang="en-US" dirty="0"/>
          </a:p>
        </p:txBody>
      </p:sp>
      <p:sp>
        <p:nvSpPr>
          <p:cNvPr id="55" name="Text Placeholder 54">
            <a:extLst>
              <a:ext uri="{FF2B5EF4-FFF2-40B4-BE49-F238E27FC236}">
                <a16:creationId xmlns:a16="http://schemas.microsoft.com/office/drawing/2014/main" id="{B8735F24-7570-5F03-F59D-0B5175E0FC14}"/>
              </a:ext>
            </a:extLst>
          </p:cNvPr>
          <p:cNvSpPr>
            <a:spLocks noGrp="1"/>
          </p:cNvSpPr>
          <p:nvPr>
            <p:ph type="body" sz="quarter" idx="46"/>
          </p:nvPr>
        </p:nvSpPr>
        <p:spPr>
          <a:xfrm>
            <a:off x="32688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8EEA74"/>
          </a:solidFill>
        </p:spPr>
        <p:txBody>
          <a:bodyPr wrap="square" lIns="144000" tIns="144000" rIns="144000" bIns="144000" anchor="ctr" anchorCtr="0">
            <a:noAutofit/>
          </a:bodyPr>
          <a:lstStyle>
            <a:lvl1pPr algn="ctr">
              <a:defRPr>
                <a:solidFill>
                  <a:srgbClr val="25421C"/>
                </a:solidFill>
              </a:defRPr>
            </a:lvl1pPr>
            <a:lvl2pPr marL="0" indent="0" algn="ctr">
              <a:spcAft>
                <a:spcPts val="600"/>
              </a:spcAft>
              <a:buNone/>
              <a:defRPr sz="2000" b="1">
                <a:solidFill>
                  <a:srgbClr val="25421C"/>
                </a:solidFill>
              </a:defRPr>
            </a:lvl2pPr>
            <a:lvl3pPr marL="0" indent="0" algn="ctr">
              <a:spcAft>
                <a:spcPts val="600"/>
              </a:spcAft>
              <a:buNone/>
              <a:defRPr sz="3000" b="0">
                <a:solidFill>
                  <a:srgbClr val="25421C"/>
                </a:solidFill>
              </a:defRPr>
            </a:lvl3pPr>
            <a:lvl4pPr marL="0" indent="0" algn="ctr">
              <a:spcAft>
                <a:spcPts val="600"/>
              </a:spcAft>
              <a:buNone/>
              <a:defRPr sz="4800">
                <a:solidFill>
                  <a:srgbClr val="25421C"/>
                </a:solidFill>
              </a:defRPr>
            </a:lvl4pPr>
            <a:lvl5pPr>
              <a:spcAft>
                <a:spcPts val="600"/>
              </a:spcAft>
              <a:defRPr sz="1400">
                <a:solidFill>
                  <a:srgbClr val="25421C"/>
                </a:solidFill>
              </a:defRPr>
            </a:lvl5pPr>
            <a:lvl6pPr>
              <a:spcAft>
                <a:spcPts val="600"/>
              </a:spcAft>
              <a:defRPr sz="1400">
                <a:solidFill>
                  <a:srgbClr val="25421C"/>
                </a:solidFill>
              </a:defRPr>
            </a:lvl6pPr>
            <a:lvl7pPr>
              <a:spcAft>
                <a:spcPts val="600"/>
              </a:spcAft>
              <a:defRPr sz="1400">
                <a:solidFill>
                  <a:srgbClr val="25421C"/>
                </a:solidFill>
              </a:defRPr>
            </a:lvl7pPr>
            <a:lvl8pPr>
              <a:spcAft>
                <a:spcPts val="600"/>
              </a:spcAft>
              <a:defRPr sz="1400">
                <a:solidFill>
                  <a:srgbClr val="25421C"/>
                </a:solidFill>
              </a:defRPr>
            </a:lvl8pPr>
            <a:lvl9pPr>
              <a:defRPr>
                <a:solidFill>
                  <a:srgbClr val="25421C"/>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6" name="Text Placeholder 55">
            <a:extLst>
              <a:ext uri="{FF2B5EF4-FFF2-40B4-BE49-F238E27FC236}">
                <a16:creationId xmlns:a16="http://schemas.microsoft.com/office/drawing/2014/main" id="{0E93F332-4FA1-F307-866F-643689147FF1}"/>
              </a:ext>
            </a:extLst>
          </p:cNvPr>
          <p:cNvSpPr>
            <a:spLocks noGrp="1"/>
          </p:cNvSpPr>
          <p:nvPr>
            <p:ph type="body" sz="quarter" idx="47"/>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F1F1F1"/>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7" name="Text Placeholder 56">
            <a:extLst>
              <a:ext uri="{FF2B5EF4-FFF2-40B4-BE49-F238E27FC236}">
                <a16:creationId xmlns:a16="http://schemas.microsoft.com/office/drawing/2014/main" id="{70C187E0-20D0-F7FF-79B9-F04FD6912A4D}"/>
              </a:ext>
            </a:extLst>
          </p:cNvPr>
          <p:cNvSpPr>
            <a:spLocks noGrp="1"/>
          </p:cNvSpPr>
          <p:nvPr>
            <p:ph type="body" sz="quarter" idx="48"/>
          </p:nvPr>
        </p:nvSpPr>
        <p:spPr>
          <a:xfrm>
            <a:off x="32688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25421C"/>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8" name="Text Placeholder 57">
            <a:extLst>
              <a:ext uri="{FF2B5EF4-FFF2-40B4-BE49-F238E27FC236}">
                <a16:creationId xmlns:a16="http://schemas.microsoft.com/office/drawing/2014/main" id="{1BC731CC-642E-FB66-5FD0-1285316114EF}"/>
              </a:ext>
            </a:extLst>
          </p:cNvPr>
          <p:cNvSpPr>
            <a:spLocks noGrp="1"/>
          </p:cNvSpPr>
          <p:nvPr>
            <p:ph type="body" sz="quarter" idx="49"/>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9" name="Text Placeholder 58">
            <a:extLst>
              <a:ext uri="{FF2B5EF4-FFF2-40B4-BE49-F238E27FC236}">
                <a16:creationId xmlns:a16="http://schemas.microsoft.com/office/drawing/2014/main" id="{C83C8507-E210-DECE-2D86-30260E35228F}"/>
              </a:ext>
            </a:extLst>
          </p:cNvPr>
          <p:cNvSpPr>
            <a:spLocks noGrp="1"/>
          </p:cNvSpPr>
          <p:nvPr>
            <p:ph type="body" sz="quarter" idx="50"/>
          </p:nvPr>
        </p:nvSpPr>
        <p:spPr>
          <a:xfrm>
            <a:off x="6231600" y="3968525"/>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6" name="Abgerundete rechteckige Legende 10">
            <a:extLst>
              <a:ext uri="{FF2B5EF4-FFF2-40B4-BE49-F238E27FC236}">
                <a16:creationId xmlns:a16="http://schemas.microsoft.com/office/drawing/2014/main" id="{7A83FDD1-5D7F-AB43-7505-67B40F321B4D}"/>
              </a:ext>
            </a:extLst>
          </p:cNvPr>
          <p:cNvSpPr/>
          <p:nvPr userDrawn="1"/>
        </p:nvSpPr>
        <p:spPr>
          <a:xfrm>
            <a:off x="-2808000" y="1448049"/>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on’t change placeholder sizes!</a:t>
            </a:r>
          </a:p>
        </p:txBody>
      </p:sp>
    </p:spTree>
    <p:extLst>
      <p:ext uri="{BB962C8B-B14F-4D97-AF65-F5344CB8AC3E}">
        <p14:creationId xmlns:p14="http://schemas.microsoft.com/office/powerpoint/2010/main" val="1304841620"/>
      </p:ext>
    </p:extLst>
  </p:cSld>
  <p:clrMapOvr>
    <a:masterClrMapping/>
  </p:clrMapOvr>
  <p:extLst>
    <p:ext uri="{DCECCB84-F9BA-43D5-87BE-67443E8EF086}">
      <p15:sldGuideLst xmlns:p15="http://schemas.microsoft.com/office/powerpoint/2012/main">
        <p15:guide id="1" orient="horz" pos="867">
          <p15:clr>
            <a:srgbClr val="FBAE40"/>
          </p15:clr>
        </p15:guide>
        <p15:guide id="2" pos="3754">
          <p15:clr>
            <a:srgbClr val="FBAE40"/>
          </p15:clr>
        </p15:guide>
        <p15:guide id="3" pos="3926">
          <p15:clr>
            <a:srgbClr val="FBAE40"/>
          </p15:clr>
        </p15:guide>
        <p15:guide id="4" pos="1875">
          <p15:clr>
            <a:srgbClr val="FBAE40"/>
          </p15:clr>
        </p15:guide>
        <p15:guide id="5" pos="2058">
          <p15:clr>
            <a:srgbClr val="FBAE40"/>
          </p15:clr>
        </p15:guide>
        <p15:guide id="6" pos="5622">
          <p15:clr>
            <a:srgbClr val="FBAE40"/>
          </p15:clr>
        </p15:guide>
        <p15:guide id="7" pos="5804">
          <p15:clr>
            <a:srgbClr val="FBAE40"/>
          </p15:clr>
        </p15:guide>
        <p15:guide id="8" orient="horz" pos="2327">
          <p15:clr>
            <a:srgbClr val="FBAE40"/>
          </p15:clr>
        </p15:guide>
        <p15:guide id="9" orient="horz" pos="249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ighlight light">
    <p:bg>
      <p:bgPr>
        <a:solidFill>
          <a:srgbClr val="003C7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US" dirty="0"/>
              <a:t>.</a:t>
            </a:r>
          </a:p>
        </p:txBody>
      </p:sp>
      <p:pic>
        <p:nvPicPr>
          <p:cNvPr id="5" name="Grafik 10">
            <a:extLst>
              <a:ext uri="{FF2B5EF4-FFF2-40B4-BE49-F238E27FC236}">
                <a16:creationId xmlns:a16="http://schemas.microsoft.com/office/drawing/2014/main" id="{BED2D7BF-9930-126A-5935-B5206190108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4" name="Abgerundete rechteckige Legende 10">
            <a:extLst>
              <a:ext uri="{FF2B5EF4-FFF2-40B4-BE49-F238E27FC236}">
                <a16:creationId xmlns:a16="http://schemas.microsoft.com/office/drawing/2014/main" id="{569217B6-1E3E-67C3-76AF-901E29B8ED0B}"/>
              </a:ext>
            </a:extLst>
          </p:cNvPr>
          <p:cNvSpPr/>
          <p:nvPr userDrawn="1"/>
        </p:nvSpPr>
        <p:spPr>
          <a:xfrm>
            <a:off x="12312000" y="5594238"/>
            <a:ext cx="2696941" cy="13330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dirty="0">
                <a:solidFill>
                  <a:schemeClr val="tx1"/>
                </a:solidFill>
              </a:rPr>
              <a:t>.</a:t>
            </a:r>
          </a:p>
        </p:txBody>
      </p:sp>
    </p:spTree>
    <p:extLst>
      <p:ext uri="{BB962C8B-B14F-4D97-AF65-F5344CB8AC3E}">
        <p14:creationId xmlns:p14="http://schemas.microsoft.com/office/powerpoint/2010/main" val="3179904174"/>
      </p:ext>
    </p:extLst>
  </p:cSld>
  <p:clrMapOvr>
    <a:masterClrMapping/>
  </p:clrMapOvr>
  <p:extLst>
    <p:ext uri="{DCECCB84-F9BA-43D5-87BE-67443E8EF086}">
      <p15:sldGuideLst xmlns:p15="http://schemas.microsoft.com/office/powerpoint/2012/main">
        <p15:guide id="1" orient="horz" pos="869">
          <p15:clr>
            <a:srgbClr val="FBAE40"/>
          </p15:clr>
        </p15:guide>
        <p15:guide id="2" pos="498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Eight different Contents with Deposit">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F687EB98-B074-7A44-75A0-1471BA240A4A}"/>
              </a:ext>
            </a:extLst>
          </p:cNvPr>
          <p:cNvSpPr>
            <a:spLocks noGrp="1"/>
          </p:cNvSpPr>
          <p:nvPr>
            <p:ph type="pic" sz="quarter" idx="46"/>
          </p:nvPr>
        </p:nvSpPr>
        <p:spPr>
          <a:xfrm>
            <a:off x="288001" y="1379538"/>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r>
              <a:rPr lang="en-US" noProof="0" dirty="0"/>
              <a:t>Footer</a:t>
            </a:r>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US" noProof="0" smtClean="0"/>
              <a:pPr/>
              <a:t>‹Nº›</a:t>
            </a:fld>
            <a:endParaRPr lang="en-US" noProof="0" dirty="0"/>
          </a:p>
        </p:txBody>
      </p:sp>
      <p:sp>
        <p:nvSpPr>
          <p:cNvPr id="28" name="Picture Placeholder 27">
            <a:extLst>
              <a:ext uri="{FF2B5EF4-FFF2-40B4-BE49-F238E27FC236}">
                <a16:creationId xmlns:a16="http://schemas.microsoft.com/office/drawing/2014/main" id="{D9EE9B09-12C0-5733-2DA6-5E041426680E}"/>
              </a:ext>
            </a:extLst>
          </p:cNvPr>
          <p:cNvSpPr>
            <a:spLocks noGrp="1"/>
          </p:cNvSpPr>
          <p:nvPr>
            <p:ph type="pic" sz="quarter" idx="47"/>
          </p:nvPr>
        </p:nvSpPr>
        <p:spPr>
          <a:xfrm>
            <a:off x="32688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29" name="Picture Placeholder 28">
            <a:extLst>
              <a:ext uri="{FF2B5EF4-FFF2-40B4-BE49-F238E27FC236}">
                <a16:creationId xmlns:a16="http://schemas.microsoft.com/office/drawing/2014/main" id="{0732F8AC-AEB3-A27F-8C44-736695E49607}"/>
              </a:ext>
            </a:extLst>
          </p:cNvPr>
          <p:cNvSpPr>
            <a:spLocks noGrp="1"/>
          </p:cNvSpPr>
          <p:nvPr>
            <p:ph type="pic" sz="quarter" idx="48"/>
          </p:nvPr>
        </p:nvSpPr>
        <p:spPr>
          <a:xfrm>
            <a:off x="62316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endParaRPr lang="en-US" dirty="0"/>
          </a:p>
        </p:txBody>
      </p:sp>
      <p:sp>
        <p:nvSpPr>
          <p:cNvPr id="30" name="Text Placeholder 29">
            <a:extLst>
              <a:ext uri="{FF2B5EF4-FFF2-40B4-BE49-F238E27FC236}">
                <a16:creationId xmlns:a16="http://schemas.microsoft.com/office/drawing/2014/main" id="{A1AC30F5-0F2F-BFF5-D1BA-25A2F146EDF7}"/>
              </a:ext>
            </a:extLst>
          </p:cNvPr>
          <p:cNvSpPr>
            <a:spLocks noGrp="1"/>
          </p:cNvSpPr>
          <p:nvPr>
            <p:ph type="body" sz="quarter" idx="49"/>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25421C"/>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1" name="Text Placeholder 30">
            <a:extLst>
              <a:ext uri="{FF2B5EF4-FFF2-40B4-BE49-F238E27FC236}">
                <a16:creationId xmlns:a16="http://schemas.microsoft.com/office/drawing/2014/main" id="{203FA84C-056A-53BE-456B-CCD449F5A7DB}"/>
              </a:ext>
            </a:extLst>
          </p:cNvPr>
          <p:cNvSpPr>
            <a:spLocks noGrp="1"/>
          </p:cNvSpPr>
          <p:nvPr>
            <p:ph type="body" sz="quarter" idx="50"/>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25421C"/>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0">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8" name="Text Placeholder 37">
            <a:extLst>
              <a:ext uri="{FF2B5EF4-FFF2-40B4-BE49-F238E27FC236}">
                <a16:creationId xmlns:a16="http://schemas.microsoft.com/office/drawing/2014/main" id="{84754BB6-3C5A-A7FC-96F2-0712A88702E9}"/>
              </a:ext>
            </a:extLst>
          </p:cNvPr>
          <p:cNvSpPr>
            <a:spLocks noGrp="1"/>
          </p:cNvSpPr>
          <p:nvPr>
            <p:ph type="body" sz="quarter" idx="51"/>
          </p:nvPr>
        </p:nvSpPr>
        <p:spPr>
          <a:xfrm>
            <a:off x="2880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9" name="Text Placeholder 38">
            <a:extLst>
              <a:ext uri="{FF2B5EF4-FFF2-40B4-BE49-F238E27FC236}">
                <a16:creationId xmlns:a16="http://schemas.microsoft.com/office/drawing/2014/main" id="{E974E1D0-D962-84A4-9F54-83801EF3D47C}"/>
              </a:ext>
            </a:extLst>
          </p:cNvPr>
          <p:cNvSpPr>
            <a:spLocks noGrp="1"/>
          </p:cNvSpPr>
          <p:nvPr>
            <p:ph type="body" sz="quarter" idx="52"/>
          </p:nvPr>
        </p:nvSpPr>
        <p:spPr>
          <a:xfrm>
            <a:off x="32688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bg2"/>
          </a:solidFill>
        </p:spPr>
        <p:txBody>
          <a:bodyPr wrap="square" lIns="144000" tIns="144000" rIns="144000" bIns="144000" anchor="ctr" anchorCtr="0">
            <a:noAutofit/>
          </a:bodyPr>
          <a:lstStyle>
            <a:lvl1pPr algn="ctr">
              <a:defRPr>
                <a:solidFill>
                  <a:schemeClr val="tx2"/>
                </a:solidFill>
              </a:defRPr>
            </a:lvl1pPr>
            <a:lvl2pPr marL="0" indent="0" algn="ctr">
              <a:spcAft>
                <a:spcPts val="600"/>
              </a:spcAft>
              <a:buNone/>
              <a:defRPr sz="2000" b="1">
                <a:solidFill>
                  <a:schemeClr val="tx2"/>
                </a:solidFill>
              </a:defRPr>
            </a:lvl2pPr>
            <a:lvl3pPr marL="0" indent="0" algn="ctr">
              <a:spcAft>
                <a:spcPts val="600"/>
              </a:spcAft>
              <a:buNone/>
              <a:defRPr sz="3000" b="0">
                <a:solidFill>
                  <a:schemeClr val="tx2"/>
                </a:solidFill>
              </a:defRPr>
            </a:lvl3pPr>
            <a:lvl4pPr marL="0" indent="0" algn="ctr">
              <a:spcAft>
                <a:spcPts val="600"/>
              </a:spcAft>
              <a:buNone/>
              <a:defRPr sz="4800">
                <a:solidFill>
                  <a:schemeClr val="tx2"/>
                </a:solidFill>
              </a:defRPr>
            </a:lvl4pPr>
            <a:lvl5pPr>
              <a:spcAft>
                <a:spcPts val="600"/>
              </a:spcAft>
              <a:defRPr sz="1400">
                <a:solidFill>
                  <a:schemeClr val="tx2"/>
                </a:solidFill>
              </a:defRPr>
            </a:lvl5pPr>
            <a:lvl6pPr>
              <a:spcAft>
                <a:spcPts val="600"/>
              </a:spcAft>
              <a:defRPr sz="1400">
                <a:solidFill>
                  <a:schemeClr val="tx2"/>
                </a:solidFill>
              </a:defRPr>
            </a:lvl6pPr>
            <a:lvl7pPr>
              <a:spcAft>
                <a:spcPts val="600"/>
              </a:spcAft>
              <a:defRPr sz="1400">
                <a:solidFill>
                  <a:schemeClr val="tx2"/>
                </a:solidFill>
              </a:defRPr>
            </a:lvl7pPr>
            <a:lvl8pPr>
              <a:spcAft>
                <a:spcPts val="600"/>
              </a:spcAft>
              <a:defRPr sz="1400">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40" name="Text Placeholder 39">
            <a:extLst>
              <a:ext uri="{FF2B5EF4-FFF2-40B4-BE49-F238E27FC236}">
                <a16:creationId xmlns:a16="http://schemas.microsoft.com/office/drawing/2014/main" id="{A6BCC89B-09E3-E8EB-D377-C04935A26673}"/>
              </a:ext>
            </a:extLst>
          </p:cNvPr>
          <p:cNvSpPr>
            <a:spLocks noGrp="1"/>
          </p:cNvSpPr>
          <p:nvPr>
            <p:ph type="body" sz="quarter" idx="53"/>
          </p:nvPr>
        </p:nvSpPr>
        <p:spPr>
          <a:xfrm>
            <a:off x="62316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6" name="Abgerundete rechteckige Legende 10">
            <a:extLst>
              <a:ext uri="{FF2B5EF4-FFF2-40B4-BE49-F238E27FC236}">
                <a16:creationId xmlns:a16="http://schemas.microsoft.com/office/drawing/2014/main" id="{FE4DB7AE-57D2-C57D-EA41-DAD925BBFED8}"/>
              </a:ext>
            </a:extLst>
          </p:cNvPr>
          <p:cNvSpPr/>
          <p:nvPr userDrawn="1"/>
        </p:nvSpPr>
        <p:spPr>
          <a:xfrm>
            <a:off x="-2808000" y="1448049"/>
            <a:ext cx="2696941" cy="779014"/>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on’t change placeholder sizes!</a:t>
            </a:r>
          </a:p>
        </p:txBody>
      </p:sp>
    </p:spTree>
    <p:extLst>
      <p:ext uri="{BB962C8B-B14F-4D97-AF65-F5344CB8AC3E}">
        <p14:creationId xmlns:p14="http://schemas.microsoft.com/office/powerpoint/2010/main" val="448020968"/>
      </p:ext>
    </p:extLst>
  </p:cSld>
  <p:clrMapOvr>
    <a:masterClrMapping/>
  </p:clrMapOvr>
  <p:extLst>
    <p:ext uri="{DCECCB84-F9BA-43D5-87BE-67443E8EF086}">
      <p15:sldGuideLst xmlns:p15="http://schemas.microsoft.com/office/powerpoint/2012/main">
        <p15:guide id="1" orient="horz" pos="867">
          <p15:clr>
            <a:srgbClr val="FBAE40"/>
          </p15:clr>
        </p15:guide>
        <p15:guide id="2" pos="3754">
          <p15:clr>
            <a:srgbClr val="FBAE40"/>
          </p15:clr>
        </p15:guide>
        <p15:guide id="3" pos="3926">
          <p15:clr>
            <a:srgbClr val="FBAE40"/>
          </p15:clr>
        </p15:guide>
        <p15:guide id="4" pos="1875">
          <p15:clr>
            <a:srgbClr val="FBAE40"/>
          </p15:clr>
        </p15:guide>
        <p15:guide id="5" pos="2058">
          <p15:clr>
            <a:srgbClr val="FBAE40"/>
          </p15:clr>
        </p15:guide>
        <p15:guide id="6" pos="5622">
          <p15:clr>
            <a:srgbClr val="FBAE40"/>
          </p15:clr>
        </p15:guide>
        <p15:guide id="7" pos="5804">
          <p15:clr>
            <a:srgbClr val="FBAE40"/>
          </p15:clr>
        </p15:guide>
        <p15:guide id="8" orient="horz" pos="2327">
          <p15:clr>
            <a:srgbClr val="FBAE40"/>
          </p15:clr>
        </p15:guide>
        <p15:guide id="9" orient="horz" pos="249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genda large light">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5" y="212400"/>
            <a:ext cx="8567739" cy="6073775"/>
          </a:xfrm>
        </p:spPr>
        <p:txBody>
          <a:bodyPr/>
          <a:lstStyle>
            <a:lvl1pPr>
              <a:defRPr sz="2000" b="0"/>
            </a:lvl1pPr>
          </a:lstStyle>
          <a:p>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pic>
        <p:nvPicPr>
          <p:cNvPr id="4" name="Grafik 10">
            <a:extLst>
              <a:ext uri="{FF2B5EF4-FFF2-40B4-BE49-F238E27FC236}">
                <a16:creationId xmlns:a16="http://schemas.microsoft.com/office/drawing/2014/main" id="{B581DD6D-83FF-0267-E76E-43ED8CE245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5" name="Abgerundete rechteckige Legende 10">
            <a:extLst>
              <a:ext uri="{FF2B5EF4-FFF2-40B4-BE49-F238E27FC236}">
                <a16:creationId xmlns:a16="http://schemas.microsoft.com/office/drawing/2014/main" id="{E065A6DC-EFCD-A20B-698B-B0343D60C4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3216638160"/>
      </p:ext>
    </p:extLst>
  </p:cSld>
  <p:clrMapOvr>
    <a:masterClrMapping/>
  </p:clrMapOvr>
  <p:extLst>
    <p:ext uri="{DCECCB84-F9BA-43D5-87BE-67443E8EF086}">
      <p15:sldGuideLst xmlns:p15="http://schemas.microsoft.com/office/powerpoint/2012/main">
        <p15:guide id="2" pos="5159">
          <p15:clr>
            <a:srgbClr val="FBAE40"/>
          </p15:clr>
        </p15:guide>
        <p15:guide id="3" pos="5579">
          <p15:clr>
            <a:srgbClr val="FBAE40"/>
          </p15:clr>
        </p15:guide>
        <p15:guide id="4" pos="845">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genda large dark">
    <p:bg>
      <p:bgPr>
        <a:solidFill>
          <a:srgbClr val="3C3E0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US"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8" y="212400"/>
            <a:ext cx="8568000" cy="6073775"/>
          </a:xfrm>
        </p:spPr>
        <p:txBody>
          <a:bodyPr/>
          <a:lstStyle>
            <a:lvl1pPr>
              <a:defRPr sz="2000" b="0">
                <a:solidFill>
                  <a:schemeClr val="bg1"/>
                </a:solidFill>
              </a:defRPr>
            </a:lvl1pPr>
          </a:lstStyle>
          <a:p>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lvl1pPr>
              <a:defRPr>
                <a:solidFill>
                  <a:schemeClr val="bg1"/>
                </a:solidFill>
              </a:defRPr>
            </a:lvl1pPr>
          </a:lstStyle>
          <a:p>
            <a:r>
              <a:rPr lang="en-US" dirty="0"/>
              <a:t>Footer</a:t>
            </a:r>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Nº›</a:t>
            </a:fld>
            <a:endParaRPr lang="en-US" dirty="0"/>
          </a:p>
        </p:txBody>
      </p:sp>
      <p:pic>
        <p:nvPicPr>
          <p:cNvPr id="4" name="Grafik 10">
            <a:extLst>
              <a:ext uri="{FF2B5EF4-FFF2-40B4-BE49-F238E27FC236}">
                <a16:creationId xmlns:a16="http://schemas.microsoft.com/office/drawing/2014/main" id="{CAC3FDC3-BFBF-F503-C15E-859DD8CB74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a:solidFill>
            <a:srgbClr val="25421C"/>
          </a:solidFill>
        </p:spPr>
        <p:txBody>
          <a:bodyPr wrap="square" lIns="288000">
            <a:noAutofit/>
          </a:bodyPr>
          <a:lstStyle>
            <a:lvl1pPr>
              <a:defRPr>
                <a:solidFill>
                  <a:schemeClr val="bg1"/>
                </a:solidFill>
              </a:defRPr>
            </a:lvl1pPr>
          </a:lstStyle>
          <a:p>
            <a:endParaRPr lang="en-US" dirty="0"/>
          </a:p>
        </p:txBody>
      </p:sp>
      <p:sp>
        <p:nvSpPr>
          <p:cNvPr id="5" name="Abgerundete rechteckige Legende 10">
            <a:extLst>
              <a:ext uri="{FF2B5EF4-FFF2-40B4-BE49-F238E27FC236}">
                <a16:creationId xmlns:a16="http://schemas.microsoft.com/office/drawing/2014/main" id="{437FB8C9-FCA3-EE10-9158-56F19DB093D2}"/>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2519124443"/>
      </p:ext>
    </p:extLst>
  </p:cSld>
  <p:clrMapOvr>
    <a:masterClrMapping/>
  </p:clrMapOvr>
  <p:extLst>
    <p:ext uri="{DCECCB84-F9BA-43D5-87BE-67443E8EF086}">
      <p15:sldGuideLst xmlns:p15="http://schemas.microsoft.com/office/powerpoint/2012/main">
        <p15:guide id="2" pos="5161">
          <p15:clr>
            <a:srgbClr val="FBAE40"/>
          </p15:clr>
        </p15:guide>
        <p15:guide id="3" pos="5579">
          <p15:clr>
            <a:srgbClr val="FBAE40"/>
          </p15:clr>
        </p15:guide>
        <p15:guide id="4" pos="843">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genda small light">
    <p:bg>
      <p:bgPr>
        <a:solidFill>
          <a:srgbClr val="25421C"/>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9" name="Table Placeholder 14">
            <a:extLst>
              <a:ext uri="{FF2B5EF4-FFF2-40B4-BE49-F238E27FC236}">
                <a16:creationId xmlns:a16="http://schemas.microsoft.com/office/drawing/2014/main" id="{7BE4ABD4-8A17-D127-FE2B-06483E4EF321}"/>
              </a:ext>
            </a:extLst>
          </p:cNvPr>
          <p:cNvSpPr>
            <a:spLocks noGrp="1"/>
          </p:cNvSpPr>
          <p:nvPr>
            <p:ph type="tbl" sz="quarter" idx="24"/>
          </p:nvPr>
        </p:nvSpPr>
        <p:spPr>
          <a:xfrm>
            <a:off x="287338" y="212400"/>
            <a:ext cx="5356225" cy="6073775"/>
          </a:xfrm>
        </p:spPr>
        <p:txBody>
          <a:bodyPr/>
          <a:lstStyle>
            <a:lvl1pPr>
              <a:defRPr sz="2000" b="0"/>
            </a:lvl1pPr>
          </a:lstStyle>
          <a:p>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n-US" noProof="0"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pic>
        <p:nvPicPr>
          <p:cNvPr id="4" name="Grafik 10">
            <a:extLst>
              <a:ext uri="{FF2B5EF4-FFF2-40B4-BE49-F238E27FC236}">
                <a16:creationId xmlns:a16="http://schemas.microsoft.com/office/drawing/2014/main" id="{16741C30-F2D2-5A43-164C-4D6DA6BFA2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 name="Abgerundete rechteckige Legende 10">
            <a:extLst>
              <a:ext uri="{FF2B5EF4-FFF2-40B4-BE49-F238E27FC236}">
                <a16:creationId xmlns:a16="http://schemas.microsoft.com/office/drawing/2014/main" id="{51F8C44E-1146-FBE5-7960-A4903CC29DE4}"/>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Tree>
    <p:extLst>
      <p:ext uri="{BB962C8B-B14F-4D97-AF65-F5344CB8AC3E}">
        <p14:creationId xmlns:p14="http://schemas.microsoft.com/office/powerpoint/2010/main" val="3312990988"/>
      </p:ext>
    </p:extLst>
  </p:cSld>
  <p:clrMapOvr>
    <a:masterClrMapping/>
  </p:clrMapOvr>
  <p:extLst>
    <p:ext uri="{DCECCB84-F9BA-43D5-87BE-67443E8EF086}">
      <p15:sldGuideLst xmlns:p15="http://schemas.microsoft.com/office/powerpoint/2012/main">
        <p15:guide id="2" pos="3555">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with sub-poi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p:txBody>
          <a:bodyPr/>
          <a:lstStyle/>
          <a:p>
            <a:r>
              <a:rPr lang="en-US" noProof="0" dirty="0"/>
              <a:t>Click to edit Master title style</a:t>
            </a:r>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r>
              <a:rPr lang="en-US" noProof="0" dirty="0"/>
              <a:t>Footer</a:t>
            </a:r>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12" name="Table Placeholder 11">
            <a:extLst>
              <a:ext uri="{FF2B5EF4-FFF2-40B4-BE49-F238E27FC236}">
                <a16:creationId xmlns:a16="http://schemas.microsoft.com/office/drawing/2014/main" id="{19E379EB-7AC3-7232-E7ED-82AAD359758C}"/>
              </a:ext>
            </a:extLst>
          </p:cNvPr>
          <p:cNvSpPr>
            <a:spLocks noGrp="1"/>
          </p:cNvSpPr>
          <p:nvPr>
            <p:ph type="tbl" sz="quarter" idx="18"/>
          </p:nvPr>
        </p:nvSpPr>
        <p:spPr>
          <a:xfrm>
            <a:off x="287338" y="1378800"/>
            <a:ext cx="11617200" cy="4903200"/>
          </a:xfrm>
        </p:spPr>
        <p:txBody>
          <a:bodyPr/>
          <a:lstStyle>
            <a:lvl1pPr>
              <a:defRPr b="0"/>
            </a:lvl1pPr>
          </a:lstStyle>
          <a:p>
            <a:endParaRPr lang="en-US" dirty="0"/>
          </a:p>
        </p:txBody>
      </p:sp>
    </p:spTree>
    <p:extLst>
      <p:ext uri="{BB962C8B-B14F-4D97-AF65-F5344CB8AC3E}">
        <p14:creationId xmlns:p14="http://schemas.microsoft.com/office/powerpoint/2010/main" val="1343172036"/>
      </p:ext>
    </p:extLst>
  </p:cSld>
  <p:clrMapOvr>
    <a:masterClrMapping/>
  </p:clrMapOvr>
  <p:extLst>
    <p:ext uri="{DCECCB84-F9BA-43D5-87BE-67443E8EF086}">
      <p15:sldGuideLst xmlns:p15="http://schemas.microsoft.com/office/powerpoint/2012/main">
        <p15:guide id="1" orient="horz" pos="869">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n-US" noProof="0"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fik 10">
            <a:extLst>
              <a:ext uri="{FF2B5EF4-FFF2-40B4-BE49-F238E27FC236}">
                <a16:creationId xmlns:a16="http://schemas.microsoft.com/office/drawing/2014/main" id="{49018480-D069-72D4-6596-EE4F4966719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7" name="Abgerundete rechteckige Legende 10">
            <a:extLst>
              <a:ext uri="{FF2B5EF4-FFF2-40B4-BE49-F238E27FC236}">
                <a16:creationId xmlns:a16="http://schemas.microsoft.com/office/drawing/2014/main" id="{17815FB8-BE65-43E5-C132-2A6BF4B82190}"/>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946D2E3D-7A80-AEAD-7A02-3C8ADA6D4CD1}"/>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3672021452"/>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orient="horz" pos="913">
          <p15:clr>
            <a:srgbClr val="FBAE40"/>
          </p15:clr>
        </p15:guide>
        <p15:guide id="4" pos="872">
          <p15:clr>
            <a:srgbClr val="FBAE40"/>
          </p15:clr>
        </p15:guide>
        <p15:guide id="5" orient="horz" pos="1911">
          <p15:clr>
            <a:srgbClr val="FBAE40"/>
          </p15:clr>
        </p15:guide>
        <p15:guide id="6" orient="horz" pos="290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act small light,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n-US" noProof="0"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Abgerundete rechteckige Legende 10">
            <a:extLst>
              <a:ext uri="{FF2B5EF4-FFF2-40B4-BE49-F238E27FC236}">
                <a16:creationId xmlns:a16="http://schemas.microsoft.com/office/drawing/2014/main" id="{D47EAAA7-B323-051A-3A9A-700216EC7912}"/>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7" name="Abgerundete rechteckige Legende 10">
            <a:extLst>
              <a:ext uri="{FF2B5EF4-FFF2-40B4-BE49-F238E27FC236}">
                <a16:creationId xmlns:a16="http://schemas.microsoft.com/office/drawing/2014/main" id="{6AA0F885-4F8F-E8FC-87E1-1BCBEA632984}"/>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2432519871"/>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orient="horz" pos="913">
          <p15:clr>
            <a:srgbClr val="FBAE40"/>
          </p15:clr>
        </p15:guide>
        <p15:guide id="4" pos="872">
          <p15:clr>
            <a:srgbClr val="FBAE40"/>
          </p15:clr>
        </p15:guide>
        <p15:guide id="5" orient="horz" pos="1911">
          <p15:clr>
            <a:srgbClr val="FBAE40"/>
          </p15:clr>
        </p15:guide>
        <p15:guide id="6" orient="horz" pos="290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act large l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6" y="211525"/>
            <a:ext cx="7669213"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n-US" noProof="0"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59"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endParaRPr lang="en-US" dirty="0"/>
          </a:p>
        </p:txBody>
      </p:sp>
      <p:sp>
        <p:nvSpPr>
          <p:cNvPr id="5" name="Abgerundete rechteckige Legende 10">
            <a:extLst>
              <a:ext uri="{FF2B5EF4-FFF2-40B4-BE49-F238E27FC236}">
                <a16:creationId xmlns:a16="http://schemas.microsoft.com/office/drawing/2014/main" id="{B2DAF909-A1A2-E1E1-72DB-73022240E5D5}"/>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7A281D4B-EB59-DE9F-0273-5D689A5BB17B}"/>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2033026363"/>
      </p:ext>
    </p:extLst>
  </p:cSld>
  <p:clrMapOvr>
    <a:masterClrMapping/>
  </p:clrMapOvr>
  <p:extLst>
    <p:ext uri="{DCECCB84-F9BA-43D5-87BE-67443E8EF086}">
      <p15:sldGuideLst xmlns:p15="http://schemas.microsoft.com/office/powerpoint/2012/main">
        <p15:guide id="1" orient="horz" pos="869">
          <p15:clr>
            <a:srgbClr val="FBAE40"/>
          </p15:clr>
        </p15:guide>
        <p15:guide id="2" pos="2819">
          <p15:clr>
            <a:srgbClr val="FBAE40"/>
          </p15:clr>
        </p15:guide>
        <p15:guide id="3" orient="horz" pos="913">
          <p15:clr>
            <a:srgbClr val="FBAE40"/>
          </p15:clr>
        </p15:guide>
        <p15:guide id="4" pos="872">
          <p15:clr>
            <a:srgbClr val="FBAE40"/>
          </p15:clr>
        </p15:guide>
        <p15:guide id="5" orient="horz" pos="1911">
          <p15:clr>
            <a:srgbClr val="FBAE40"/>
          </p15:clr>
        </p15:guide>
        <p15:guide id="6" orient="horz" pos="2908">
          <p15:clr>
            <a:srgbClr val="FBAE40"/>
          </p15:clr>
        </p15:guide>
        <p15:guide id="7" pos="3512">
          <p15:clr>
            <a:srgbClr val="FBAE40"/>
          </p15:clr>
        </p15:guide>
        <p15:guide id="8" pos="501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act large dark">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endParaRPr lang="en-US" dirty="0"/>
          </a:p>
        </p:txBody>
      </p:sp>
      <p:sp>
        <p:nvSpPr>
          <p:cNvPr id="7" name="Graphic 4">
            <a:extLst>
              <a:ext uri="{FF2B5EF4-FFF2-40B4-BE49-F238E27FC236}">
                <a16:creationId xmlns:a16="http://schemas.microsoft.com/office/drawing/2014/main" id="{18856E0D-BA88-5530-3929-C472EBBF987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tx2"/>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7668000" cy="612000"/>
          </a:xfrm>
        </p:spPr>
        <p:txBody>
          <a:bodyPr/>
          <a:lstStyle>
            <a:lvl1pPr>
              <a:defRPr>
                <a:solidFill>
                  <a:schemeClr val="bg1"/>
                </a:solidFill>
              </a:defRPr>
            </a:lvl1p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lvl1pPr>
              <a:defRPr>
                <a:solidFill>
                  <a:schemeClr val="bg1"/>
                </a:solidFill>
              </a:defRPr>
            </a:lvl1pPr>
          </a:lstStyle>
          <a:p>
            <a:r>
              <a:rPr lang="en-US"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US" smtClean="0"/>
              <a:pPr/>
              <a:t>‹Nº›</a:t>
            </a:fld>
            <a:endParaRPr lang="en-US"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60"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endParaRPr lang="en-US" dirty="0"/>
          </a:p>
        </p:txBody>
      </p:sp>
      <p:cxnSp>
        <p:nvCxnSpPr>
          <p:cNvPr id="17" name="Gerade Verbindung 61">
            <a:extLst>
              <a:ext uri="{FF2B5EF4-FFF2-40B4-BE49-F238E27FC236}">
                <a16:creationId xmlns:a16="http://schemas.microsoft.com/office/drawing/2014/main" id="{80C5D521-F036-9A83-0F87-2C8872A57862}"/>
              </a:ext>
            </a:extLst>
          </p:cNvPr>
          <p:cNvCxnSpPr>
            <a:cxnSpLocks/>
          </p:cNvCxnSpPr>
          <p:nvPr userDrawn="1"/>
        </p:nvCxnSpPr>
        <p:spPr>
          <a:xfrm>
            <a:off x="0" y="1036800"/>
            <a:ext cx="803583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Online Image Placeholder 45">
            <a:extLst>
              <a:ext uri="{FF2B5EF4-FFF2-40B4-BE49-F238E27FC236}">
                <a16:creationId xmlns:a16="http://schemas.microsoft.com/office/drawing/2014/main" id="{5316C3A1-F248-4622-463A-34208F436AF0}"/>
              </a:ext>
            </a:extLst>
          </p:cNvPr>
          <p:cNvSpPr>
            <a:spLocks noGrp="1"/>
          </p:cNvSpPr>
          <p:nvPr>
            <p:ph type="clipArt" sz="quarter" idx="36" hasCustomPrompt="1"/>
          </p:nvPr>
        </p:nvSpPr>
        <p:spPr>
          <a:xfrm>
            <a:off x="8211600" y="568800"/>
            <a:ext cx="3693600" cy="1234387"/>
          </a:xfrm>
          <a:custGeom>
            <a:avLst/>
            <a:gdLst>
              <a:gd name="connsiteX0" fmla="*/ 3669331 w 3693600"/>
              <a:gd name="connsiteY0" fmla="*/ 0 h 1234387"/>
              <a:gd name="connsiteX1" fmla="*/ 3693600 w 3693600"/>
              <a:gd name="connsiteY1" fmla="*/ 0 h 1234387"/>
              <a:gd name="connsiteX2" fmla="*/ 3693600 w 3693600"/>
              <a:gd name="connsiteY2" fmla="*/ 11828 h 1234387"/>
              <a:gd name="connsiteX3" fmla="*/ 3684966 w 3693600"/>
              <a:gd name="connsiteY3" fmla="*/ 97215 h 1234387"/>
              <a:gd name="connsiteX4" fmla="*/ 3211826 w 3693600"/>
              <a:gd name="connsiteY4" fmla="*/ 482976 h 1234387"/>
              <a:gd name="connsiteX5" fmla="*/ 482971 w 3693600"/>
              <a:gd name="connsiteY5" fmla="*/ 482976 h 1234387"/>
              <a:gd name="connsiteX6" fmla="*/ 25466 w 3693600"/>
              <a:gd name="connsiteY6" fmla="*/ 940487 h 1234387"/>
              <a:gd name="connsiteX7" fmla="*/ 25466 w 3693600"/>
              <a:gd name="connsiteY7" fmla="*/ 1234387 h 1234387"/>
              <a:gd name="connsiteX8" fmla="*/ 25465 w 3693600"/>
              <a:gd name="connsiteY8" fmla="*/ 1234387 h 1234387"/>
              <a:gd name="connsiteX9" fmla="*/ 0 w 3693600"/>
              <a:gd name="connsiteY9" fmla="*/ 1234387 h 1234387"/>
              <a:gd name="connsiteX10" fmla="*/ 0 w 3693600"/>
              <a:gd name="connsiteY10" fmla="*/ 940487 h 1234387"/>
              <a:gd name="connsiteX11" fmla="*/ 482970 w 3693600"/>
              <a:gd name="connsiteY11" fmla="*/ 457511 h 1234387"/>
              <a:gd name="connsiteX12" fmla="*/ 3211826 w 3693600"/>
              <a:gd name="connsiteY12" fmla="*/ 457511 h 1234387"/>
              <a:gd name="connsiteX13" fmla="*/ 3669331 w 3693600"/>
              <a:gd name="connsiteY13" fmla="*/ 0 h 123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93600" h="1234387">
                <a:moveTo>
                  <a:pt x="3669331" y="0"/>
                </a:moveTo>
                <a:lnTo>
                  <a:pt x="3693600" y="0"/>
                </a:lnTo>
                <a:lnTo>
                  <a:pt x="3693600" y="11828"/>
                </a:lnTo>
                <a:lnTo>
                  <a:pt x="3684966" y="97215"/>
                </a:lnTo>
                <a:cubicBezTo>
                  <a:pt x="3639855" y="317095"/>
                  <a:pt x="3444846" y="482976"/>
                  <a:pt x="3211826" y="482976"/>
                </a:cubicBezTo>
                <a:lnTo>
                  <a:pt x="482971" y="482976"/>
                </a:lnTo>
                <a:cubicBezTo>
                  <a:pt x="230699" y="482976"/>
                  <a:pt x="25466" y="688215"/>
                  <a:pt x="25466" y="940487"/>
                </a:cubicBezTo>
                <a:lnTo>
                  <a:pt x="25466" y="1234387"/>
                </a:lnTo>
                <a:lnTo>
                  <a:pt x="25465" y="1234387"/>
                </a:lnTo>
                <a:lnTo>
                  <a:pt x="0" y="1234387"/>
                </a:lnTo>
                <a:lnTo>
                  <a:pt x="0" y="940487"/>
                </a:lnTo>
                <a:cubicBezTo>
                  <a:pt x="0" y="674172"/>
                  <a:pt x="216661" y="457511"/>
                  <a:pt x="482970" y="457511"/>
                </a:cubicBezTo>
                <a:lnTo>
                  <a:pt x="3211826" y="457511"/>
                </a:lnTo>
                <a:cubicBezTo>
                  <a:pt x="3464098" y="457511"/>
                  <a:pt x="3669331" y="252271"/>
                  <a:pt x="3669331" y="0"/>
                </a:cubicBezTo>
                <a:close/>
              </a:path>
            </a:pathLst>
          </a:custGeom>
          <a:solidFill>
            <a:schemeClr val="accent1"/>
          </a:solidFill>
        </p:spPr>
        <p:txBody>
          <a:bodyPr wrap="square">
            <a:noAutofit/>
          </a:bodyPr>
          <a:lstStyle>
            <a:lvl1pPr>
              <a:defRPr sz="100" b="0"/>
            </a:lvl1pPr>
          </a:lstStyle>
          <a:p>
            <a:r>
              <a:rPr lang="en-US" dirty="0"/>
              <a:t>.</a:t>
            </a:r>
          </a:p>
        </p:txBody>
      </p:sp>
      <p:sp>
        <p:nvSpPr>
          <p:cNvPr id="5" name="Abgerundete rechteckige Legende 10">
            <a:extLst>
              <a:ext uri="{FF2B5EF4-FFF2-40B4-BE49-F238E27FC236}">
                <a16:creationId xmlns:a16="http://schemas.microsoft.com/office/drawing/2014/main" id="{D884BB73-4B88-0D28-EEBD-7D0F8108B708}"/>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9C1990D3-2136-F6AA-532B-6B2F9A159231}"/>
              </a:ext>
            </a:extLst>
          </p:cNvPr>
          <p:cNvSpPr/>
          <p:nvPr userDrawn="1"/>
        </p:nvSpPr>
        <p:spPr>
          <a:xfrm>
            <a:off x="-2808000" y="1449388"/>
            <a:ext cx="2696941" cy="17485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placeholder and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1775765573"/>
      </p:ext>
    </p:extLst>
  </p:cSld>
  <p:clrMapOvr>
    <a:masterClrMapping/>
  </p:clrMapOvr>
  <p:extLst>
    <p:ext uri="{DCECCB84-F9BA-43D5-87BE-67443E8EF086}">
      <p15:sldGuideLst xmlns:p15="http://schemas.microsoft.com/office/powerpoint/2012/main">
        <p15:guide id="1" orient="horz" pos="869">
          <p15:clr>
            <a:srgbClr val="FBAE40"/>
          </p15:clr>
        </p15:guide>
        <p15:guide id="2" pos="2819">
          <p15:clr>
            <a:srgbClr val="FBAE40"/>
          </p15:clr>
        </p15:guide>
        <p15:guide id="3" orient="horz" pos="913">
          <p15:clr>
            <a:srgbClr val="FBAE40"/>
          </p15:clr>
        </p15:guide>
        <p15:guide id="4" pos="872">
          <p15:clr>
            <a:srgbClr val="FBAE40"/>
          </p15:clr>
        </p15:guide>
        <p15:guide id="5" orient="horz" pos="1911">
          <p15:clr>
            <a:srgbClr val="FBAE40"/>
          </p15:clr>
        </p15:guide>
        <p15:guide id="6" orient="horz" pos="2908">
          <p15:clr>
            <a:srgbClr val="FBAE40"/>
          </p15:clr>
        </p15:guide>
        <p15:guide id="7" pos="3512">
          <p15:clr>
            <a:srgbClr val="FBAE40"/>
          </p15:clr>
        </p15:guide>
        <p15:guide id="8" pos="501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QR,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n-US" noProof="0"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pic>
        <p:nvPicPr>
          <p:cNvPr id="6" name="Grafik 10">
            <a:extLst>
              <a:ext uri="{FF2B5EF4-FFF2-40B4-BE49-F238E27FC236}">
                <a16:creationId xmlns:a16="http://schemas.microsoft.com/office/drawing/2014/main" id="{6FAD160A-5087-060D-4C02-28422E86AB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7" name="Abgerundete rechteckige Legende 10">
            <a:extLst>
              <a:ext uri="{FF2B5EF4-FFF2-40B4-BE49-F238E27FC236}">
                <a16:creationId xmlns:a16="http://schemas.microsoft.com/office/drawing/2014/main" id="{7E0670F7-087B-2972-690A-DDBE89979A57}"/>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9" name="Abgerundete rechteckige Legende 10">
            <a:extLst>
              <a:ext uri="{FF2B5EF4-FFF2-40B4-BE49-F238E27FC236}">
                <a16:creationId xmlns:a16="http://schemas.microsoft.com/office/drawing/2014/main" id="{3E546B0A-9AF6-2F95-4067-6B9A59DDB260}"/>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3325386556"/>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orient="horz" pos="913">
          <p15:clr>
            <a:srgbClr val="FBAE40"/>
          </p15:clr>
        </p15:guide>
        <p15:guide id="4" pos="872">
          <p15:clr>
            <a:srgbClr val="FBAE40"/>
          </p15:clr>
        </p15:guide>
        <p15:guide id="5" orient="horz" pos="1911">
          <p15:clr>
            <a:srgbClr val="FBAE40"/>
          </p15:clr>
        </p15:guide>
        <p15:guide id="6" orient="horz" pos="2908">
          <p15:clr>
            <a:srgbClr val="FBAE40"/>
          </p15:clr>
        </p15:guide>
        <p15:guide id="7" pos="1592">
          <p15:clr>
            <a:srgbClr val="FBAE40"/>
          </p15:clr>
        </p15:guide>
        <p15:guide id="8" pos="93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ighlight light, Line dark">
    <p:bg>
      <p:bgPr>
        <a:solidFill>
          <a:schemeClr val="accent1"/>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11525"/>
            <a:ext cx="7617600" cy="61200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noProof="0" dirty="0"/>
              <a:t>Seventh</a:t>
            </a:r>
            <a:r>
              <a:rPr lang="en-US" dirty="0"/>
              <a:t> level</a:t>
            </a:r>
          </a:p>
          <a:p>
            <a:pPr lvl="7"/>
            <a:r>
              <a:rPr lang="en-US" noProof="0" dirty="0"/>
              <a:t>Eighth</a:t>
            </a:r>
            <a:r>
              <a:rPr lang="en-US" dirty="0"/>
              <a:t> level</a:t>
            </a:r>
          </a:p>
          <a:p>
            <a:pPr lvl="8"/>
            <a:r>
              <a:rPr lang="en-US" noProof="0" dirty="0"/>
              <a:t>Ninth</a:t>
            </a:r>
            <a:r>
              <a:rPr lang="en-US" dirty="0"/>
              <a:t> level</a:t>
            </a:r>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rgbClr val="003C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r>
              <a:rPr lang="en-US" noProof="0" dirty="0"/>
              <a:t>Footer</a:t>
            </a:r>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12" name="Online Image Placeholder 9">
            <a:extLst>
              <a:ext uri="{FF2B5EF4-FFF2-40B4-BE49-F238E27FC236}">
                <a16:creationId xmlns:a16="http://schemas.microsoft.com/office/drawing/2014/main" id="{AE64E78E-FF5F-6F08-E64D-99FC4BBD1066}"/>
              </a:ext>
            </a:extLst>
          </p:cNvPr>
          <p:cNvSpPr>
            <a:spLocks noGrp="1"/>
          </p:cNvSpPr>
          <p:nvPr>
            <p:ph type="clipArt" sz="quarter" idx="21" hasCustomPrompt="1"/>
          </p:nvPr>
        </p:nvSpPr>
        <p:spPr>
          <a:xfrm>
            <a:off x="10751366" y="1036800"/>
            <a:ext cx="1440634" cy="25200"/>
          </a:xfrm>
          <a:solidFill>
            <a:srgbClr val="003C70"/>
          </a:solidFill>
        </p:spPr>
        <p:txBody>
          <a:bodyPr/>
          <a:lstStyle>
            <a:lvl1pPr>
              <a:defRPr sz="100" b="0">
                <a:solidFill>
                  <a:srgbClr val="3C3E00"/>
                </a:solidFill>
              </a:defRPr>
            </a:lvl1pPr>
          </a:lstStyle>
          <a:p>
            <a:r>
              <a:rPr lang="en-US" dirty="0"/>
              <a:t>.</a:t>
            </a:r>
          </a:p>
        </p:txBody>
      </p:sp>
      <p:pic>
        <p:nvPicPr>
          <p:cNvPr id="3" name="Grafik 10">
            <a:extLst>
              <a:ext uri="{FF2B5EF4-FFF2-40B4-BE49-F238E27FC236}">
                <a16:creationId xmlns:a16="http://schemas.microsoft.com/office/drawing/2014/main" id="{FC9AD835-EDF7-941C-5AC5-D89F9EE7FA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4168075507"/>
      </p:ext>
    </p:extLst>
  </p:cSld>
  <p:clrMapOvr>
    <a:masterClrMapping/>
  </p:clrMapOvr>
  <p:extLst>
    <p:ext uri="{DCECCB84-F9BA-43D5-87BE-67443E8EF086}">
      <p15:sldGuideLst xmlns:p15="http://schemas.microsoft.com/office/powerpoint/2012/main">
        <p15:guide id="1" orient="horz" pos="869">
          <p15:clr>
            <a:srgbClr val="FBAE40"/>
          </p15:clr>
        </p15:guide>
        <p15:guide id="2" pos="498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act small light QR,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n-US" noProof="0"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endParaRPr lang="en-US" dirty="0"/>
          </a:p>
        </p:txBody>
      </p:sp>
      <p:sp>
        <p:nvSpPr>
          <p:cNvPr id="5" name="Abgerundete rechteckige Legende 10">
            <a:extLst>
              <a:ext uri="{FF2B5EF4-FFF2-40B4-BE49-F238E27FC236}">
                <a16:creationId xmlns:a16="http://schemas.microsoft.com/office/drawing/2014/main" id="{5956739D-2000-5719-2909-846499B7C9CC}"/>
              </a:ext>
            </a:extLst>
          </p:cNvPr>
          <p:cNvSpPr/>
          <p:nvPr userDrawn="1"/>
        </p:nvSpPr>
        <p:spPr>
          <a:xfrm>
            <a:off x="12312000" y="5663488"/>
            <a:ext cx="2696941" cy="1194512"/>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Depending on background color of the placed picture, use the color or negative logo from Efficient Elements. Footer color is blue or white.</a:t>
            </a:r>
          </a:p>
        </p:txBody>
      </p:sp>
      <p:sp>
        <p:nvSpPr>
          <p:cNvPr id="7" name="Abgerundete rechteckige Legende 10">
            <a:extLst>
              <a:ext uri="{FF2B5EF4-FFF2-40B4-BE49-F238E27FC236}">
                <a16:creationId xmlns:a16="http://schemas.microsoft.com/office/drawing/2014/main" id="{EDC84F04-6A48-BBAE-A7B0-359C13100431}"/>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2817852400"/>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orient="horz" pos="913">
          <p15:clr>
            <a:srgbClr val="FBAE40"/>
          </p15:clr>
        </p15:guide>
        <p15:guide id="4" pos="872">
          <p15:clr>
            <a:srgbClr val="FBAE40"/>
          </p15:clr>
        </p15:guide>
        <p15:guide id="5" orient="horz" pos="1911">
          <p15:clr>
            <a:srgbClr val="FBAE40"/>
          </p15:clr>
        </p15:guide>
        <p15:guide id="6" orient="horz" pos="2908">
          <p15:clr>
            <a:srgbClr val="FBAE40"/>
          </p15:clr>
        </p15:guide>
        <p15:guide id="7" pos="1592">
          <p15:clr>
            <a:srgbClr val="FBAE40"/>
          </p15:clr>
        </p15:guide>
        <p15:guide id="8" pos="93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act large light QR">
    <p:spTree>
      <p:nvGrpSpPr>
        <p:cNvPr id="1" name=""/>
        <p:cNvGrpSpPr/>
        <p:nvPr/>
      </p:nvGrpSpPr>
      <p:grpSpPr>
        <a:xfrm>
          <a:off x="0" y="0"/>
          <a:ext cx="0" cy="0"/>
          <a:chOff x="0" y="0"/>
          <a:chExt cx="0" cy="0"/>
        </a:xfrm>
      </p:grpSpPr>
      <p:sp>
        <p:nvSpPr>
          <p:cNvPr id="26" name="Text Placeholder 18">
            <a:extLst>
              <a:ext uri="{FF2B5EF4-FFF2-40B4-BE49-F238E27FC236}">
                <a16:creationId xmlns:a16="http://schemas.microsoft.com/office/drawing/2014/main" id="{9C45C550-67C8-8E0E-76B2-10F7BAEB016D}"/>
              </a:ext>
            </a:extLst>
          </p:cNvPr>
          <p:cNvSpPr>
            <a:spLocks noGrp="1"/>
          </p:cNvSpPr>
          <p:nvPr>
            <p:ph type="body" sz="quarter" idx="33"/>
          </p:nvPr>
        </p:nvSpPr>
        <p:spPr>
          <a:xfrm>
            <a:off x="8411048" y="145080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Picture Placeholder 14">
            <a:extLst>
              <a:ext uri="{FF2B5EF4-FFF2-40B4-BE49-F238E27FC236}">
                <a16:creationId xmlns:a16="http://schemas.microsoft.com/office/drawing/2014/main" id="{226A956F-BF0B-11B1-BA4F-4767F296B544}"/>
              </a:ext>
            </a:extLst>
          </p:cNvPr>
          <p:cNvSpPr>
            <a:spLocks noGrp="1" noChangeAspect="1"/>
          </p:cNvSpPr>
          <p:nvPr>
            <p:ph type="pic" sz="quarter" idx="34"/>
          </p:nvPr>
        </p:nvSpPr>
        <p:spPr>
          <a:xfrm>
            <a:off x="6170764" y="1382400"/>
            <a:ext cx="961200" cy="961200"/>
          </a:xfrm>
          <a:prstGeom prst="ellipse">
            <a:avLst/>
          </a:prstGeom>
          <a:noFill/>
        </p:spPr>
        <p:txBody>
          <a:bodyPr/>
          <a:lstStyle>
            <a:lvl1pPr>
              <a:defRPr sz="1200" b="0"/>
            </a:lvl1pPr>
          </a:lstStyle>
          <a:p>
            <a:endParaRPr lang="en-US" dirty="0"/>
          </a:p>
        </p:txBody>
      </p:sp>
      <p:sp>
        <p:nvSpPr>
          <p:cNvPr id="34" name="Picture Placeholder 11">
            <a:extLst>
              <a:ext uri="{FF2B5EF4-FFF2-40B4-BE49-F238E27FC236}">
                <a16:creationId xmlns:a16="http://schemas.microsoft.com/office/drawing/2014/main" id="{438F40B8-7652-6E88-69E0-B92FC96B5734}"/>
              </a:ext>
            </a:extLst>
          </p:cNvPr>
          <p:cNvSpPr>
            <a:spLocks noGrp="1"/>
          </p:cNvSpPr>
          <p:nvPr>
            <p:ph type="pic" sz="quarter" idx="39"/>
          </p:nvPr>
        </p:nvSpPr>
        <p:spPr>
          <a:xfrm>
            <a:off x="7373429" y="1450800"/>
            <a:ext cx="831600" cy="831600"/>
          </a:xfrm>
        </p:spPr>
        <p:txBody>
          <a:bodyPr/>
          <a:lstStyle>
            <a:lvl1pPr>
              <a:defRPr sz="1200" b="0"/>
            </a:lvl1pPr>
          </a:lstStyle>
          <a:p>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11617200" cy="61200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r>
              <a:rPr lang="en-US" noProof="0" dirty="0"/>
              <a:t>Footer</a:t>
            </a:r>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US" noProof="0" smtClean="0"/>
              <a:pPr/>
              <a:t>‹Nº›</a:t>
            </a:fld>
            <a:endParaRPr lang="en-US"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endParaRPr lang="en-US" dirty="0"/>
          </a:p>
        </p:txBody>
      </p:sp>
      <p:sp>
        <p:nvSpPr>
          <p:cNvPr id="30" name="Text Placeholder 18">
            <a:extLst>
              <a:ext uri="{FF2B5EF4-FFF2-40B4-BE49-F238E27FC236}">
                <a16:creationId xmlns:a16="http://schemas.microsoft.com/office/drawing/2014/main" id="{6066C757-B811-657B-3587-2CB2D5EE6710}"/>
              </a:ext>
            </a:extLst>
          </p:cNvPr>
          <p:cNvSpPr>
            <a:spLocks noGrp="1"/>
          </p:cNvSpPr>
          <p:nvPr>
            <p:ph type="body" sz="quarter" idx="35"/>
          </p:nvPr>
        </p:nvSpPr>
        <p:spPr>
          <a:xfrm>
            <a:off x="84096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Picture Placeholder 14">
            <a:extLst>
              <a:ext uri="{FF2B5EF4-FFF2-40B4-BE49-F238E27FC236}">
                <a16:creationId xmlns:a16="http://schemas.microsoft.com/office/drawing/2014/main" id="{D75DA5FC-FAB4-BE50-0AF6-4801151645F3}"/>
              </a:ext>
            </a:extLst>
          </p:cNvPr>
          <p:cNvSpPr>
            <a:spLocks noGrp="1" noChangeAspect="1"/>
          </p:cNvSpPr>
          <p:nvPr>
            <p:ph type="pic" sz="quarter" idx="36"/>
          </p:nvPr>
        </p:nvSpPr>
        <p:spPr>
          <a:xfrm>
            <a:off x="6170400" y="2970000"/>
            <a:ext cx="961200" cy="961200"/>
          </a:xfrm>
          <a:prstGeom prst="ellipse">
            <a:avLst/>
          </a:prstGeom>
          <a:noFill/>
        </p:spPr>
        <p:txBody>
          <a:bodyPr/>
          <a:lstStyle>
            <a:lvl1pPr>
              <a:defRPr sz="1200" b="0"/>
            </a:lvl1pPr>
          </a:lstStyle>
          <a:p>
            <a:endParaRPr lang="en-US" dirty="0"/>
          </a:p>
        </p:txBody>
      </p:sp>
      <p:sp>
        <p:nvSpPr>
          <p:cNvPr id="32" name="Text Placeholder 18">
            <a:extLst>
              <a:ext uri="{FF2B5EF4-FFF2-40B4-BE49-F238E27FC236}">
                <a16:creationId xmlns:a16="http://schemas.microsoft.com/office/drawing/2014/main" id="{553B8A1D-0F52-FC28-B579-9725A8C28F57}"/>
              </a:ext>
            </a:extLst>
          </p:cNvPr>
          <p:cNvSpPr>
            <a:spLocks noGrp="1"/>
          </p:cNvSpPr>
          <p:nvPr>
            <p:ph type="body" sz="quarter" idx="37"/>
          </p:nvPr>
        </p:nvSpPr>
        <p:spPr>
          <a:xfrm>
            <a:off x="84096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Picture Placeholder 14">
            <a:extLst>
              <a:ext uri="{FF2B5EF4-FFF2-40B4-BE49-F238E27FC236}">
                <a16:creationId xmlns:a16="http://schemas.microsoft.com/office/drawing/2014/main" id="{BFE1E6D1-EC3E-D0A2-7C0B-A87A65F18092}"/>
              </a:ext>
            </a:extLst>
          </p:cNvPr>
          <p:cNvSpPr>
            <a:spLocks noGrp="1" noChangeAspect="1"/>
          </p:cNvSpPr>
          <p:nvPr>
            <p:ph type="pic" sz="quarter" idx="38"/>
          </p:nvPr>
        </p:nvSpPr>
        <p:spPr>
          <a:xfrm>
            <a:off x="6170400" y="4550400"/>
            <a:ext cx="961200" cy="961200"/>
          </a:xfrm>
          <a:prstGeom prst="ellipse">
            <a:avLst/>
          </a:prstGeom>
          <a:noFill/>
        </p:spPr>
        <p:txBody>
          <a:bodyPr/>
          <a:lstStyle>
            <a:lvl1pPr>
              <a:defRPr sz="1200" b="0"/>
            </a:lvl1pPr>
          </a:lstStyle>
          <a:p>
            <a:endParaRPr lang="en-US" dirty="0"/>
          </a:p>
        </p:txBody>
      </p:sp>
      <p:sp>
        <p:nvSpPr>
          <p:cNvPr id="35" name="Picture Placeholder 11">
            <a:extLst>
              <a:ext uri="{FF2B5EF4-FFF2-40B4-BE49-F238E27FC236}">
                <a16:creationId xmlns:a16="http://schemas.microsoft.com/office/drawing/2014/main" id="{C3D8EE79-660C-D0CF-5B57-462E641198C5}"/>
              </a:ext>
            </a:extLst>
          </p:cNvPr>
          <p:cNvSpPr>
            <a:spLocks noGrp="1"/>
          </p:cNvSpPr>
          <p:nvPr>
            <p:ph type="pic" sz="quarter" idx="40"/>
          </p:nvPr>
        </p:nvSpPr>
        <p:spPr>
          <a:xfrm>
            <a:off x="7372800" y="3034800"/>
            <a:ext cx="831600" cy="831600"/>
          </a:xfrm>
        </p:spPr>
        <p:txBody>
          <a:bodyPr/>
          <a:lstStyle>
            <a:lvl1pPr>
              <a:defRPr sz="1200" b="0"/>
            </a:lvl1pPr>
          </a:lstStyle>
          <a:p>
            <a:endParaRPr lang="en-US" dirty="0"/>
          </a:p>
        </p:txBody>
      </p:sp>
      <p:sp>
        <p:nvSpPr>
          <p:cNvPr id="36" name="Picture Placeholder 11">
            <a:extLst>
              <a:ext uri="{FF2B5EF4-FFF2-40B4-BE49-F238E27FC236}">
                <a16:creationId xmlns:a16="http://schemas.microsoft.com/office/drawing/2014/main" id="{7BA30EF2-DB58-8C3A-3BAA-2769229A1D49}"/>
              </a:ext>
            </a:extLst>
          </p:cNvPr>
          <p:cNvSpPr>
            <a:spLocks noGrp="1"/>
          </p:cNvSpPr>
          <p:nvPr>
            <p:ph type="pic" sz="quarter" idx="41"/>
          </p:nvPr>
        </p:nvSpPr>
        <p:spPr>
          <a:xfrm>
            <a:off x="7372800" y="4618800"/>
            <a:ext cx="831600" cy="831600"/>
          </a:xfrm>
        </p:spPr>
        <p:txBody>
          <a:bodyPr/>
          <a:lstStyle>
            <a:lvl1pPr>
              <a:defRPr sz="1200" b="0"/>
            </a:lvl1pPr>
          </a:lstStyle>
          <a:p>
            <a:endParaRPr lang="en-US" dirty="0"/>
          </a:p>
        </p:txBody>
      </p:sp>
      <p:sp>
        <p:nvSpPr>
          <p:cNvPr id="5" name="Abgerundete rechteckige Legende 10">
            <a:extLst>
              <a:ext uri="{FF2B5EF4-FFF2-40B4-BE49-F238E27FC236}">
                <a16:creationId xmlns:a16="http://schemas.microsoft.com/office/drawing/2014/main" id="{48FD78C1-1453-4ECC-E796-DE179FBB1171}"/>
              </a:ext>
            </a:extLst>
          </p:cNvPr>
          <p:cNvSpPr/>
          <p:nvPr userDrawn="1"/>
        </p:nvSpPr>
        <p:spPr>
          <a:xfrm>
            <a:off x="-2808000" y="1449388"/>
            <a:ext cx="2696941" cy="1887010"/>
          </a:xfrm>
          <a:prstGeom prst="rect">
            <a:avLst/>
          </a:prstGeom>
          <a:solidFill>
            <a:srgbClr val="EBF1FF"/>
          </a:solidFill>
          <a:ln w="25400">
            <a:solidFill>
              <a:srgbClr val="0085EB"/>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54000" bIns="180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lace picture in the round placeholder and QR code in the square one. Add the follow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Name Surname (First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Position (Second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Tel: +49 511 5604 – 0000 (Third level)</a:t>
            </a:r>
            <a:br>
              <a:rPr lang="en-US" sz="900" b="0" noProof="0" dirty="0">
                <a:solidFill>
                  <a:schemeClr val="tx1"/>
                </a:solidFill>
              </a:rPr>
            </a:br>
            <a:r>
              <a:rPr lang="en-US" sz="900" b="0" noProof="0" dirty="0">
                <a:solidFill>
                  <a:schemeClr val="tx1"/>
                </a:solidFill>
              </a:rPr>
              <a:t>name.surname@hannover-re.com (Fourth level)</a:t>
            </a:r>
          </a:p>
        </p:txBody>
      </p:sp>
    </p:spTree>
    <p:extLst>
      <p:ext uri="{BB962C8B-B14F-4D97-AF65-F5344CB8AC3E}">
        <p14:creationId xmlns:p14="http://schemas.microsoft.com/office/powerpoint/2010/main" val="3731012236"/>
      </p:ext>
    </p:extLst>
  </p:cSld>
  <p:clrMapOvr>
    <a:masterClrMapping/>
  </p:clrMapOvr>
  <p:extLst>
    <p:ext uri="{DCECCB84-F9BA-43D5-87BE-67443E8EF086}">
      <p15:sldGuideLst xmlns:p15="http://schemas.microsoft.com/office/powerpoint/2012/main">
        <p15:guide id="1" orient="horz" pos="869">
          <p15:clr>
            <a:srgbClr val="FBAE40"/>
          </p15:clr>
        </p15:guide>
        <p15:guide id="2" pos="3386">
          <p15:clr>
            <a:srgbClr val="FBAE40"/>
          </p15:clr>
        </p15:guide>
        <p15:guide id="3" orient="horz" pos="913">
          <p15:clr>
            <a:srgbClr val="FBAE40"/>
          </p15:clr>
        </p15:guide>
        <p15:guide id="4" pos="872">
          <p15:clr>
            <a:srgbClr val="FBAE40"/>
          </p15:clr>
        </p15:guide>
        <p15:guide id="5" orient="horz" pos="1911">
          <p15:clr>
            <a:srgbClr val="FBAE40"/>
          </p15:clr>
        </p15:guide>
        <p15:guide id="6" orient="horz" pos="2908">
          <p15:clr>
            <a:srgbClr val="FBAE40"/>
          </p15:clr>
        </p15:guide>
        <p15:guide id="7" pos="1592">
          <p15:clr>
            <a:srgbClr val="FBAE40"/>
          </p15:clr>
        </p15:guide>
        <p15:guide id="8" pos="937">
          <p15:clr>
            <a:srgbClr val="FBAE40"/>
          </p15:clr>
        </p15:guide>
        <p15:guide id="9" pos="5299">
          <p15:clr>
            <a:srgbClr val="FBAE40"/>
          </p15:clr>
        </p15:guide>
        <p15:guide id="10" pos="4644">
          <p15:clr>
            <a:srgbClr val="FBAE40"/>
          </p15:clr>
        </p15:guide>
        <p15:guide id="11" pos="3885">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BCED6-8891-A832-3C0A-9345E3B251EE}"/>
              </a:ext>
            </a:extLst>
          </p:cNvPr>
          <p:cNvSpPr>
            <a:spLocks noGrp="1"/>
          </p:cNvSpPr>
          <p:nvPr>
            <p:ph type="title"/>
          </p:nvPr>
        </p:nvSpPr>
        <p:spPr/>
        <p:txBody>
          <a:bodyPr/>
          <a:lstStyle/>
          <a:p>
            <a:r>
              <a:rPr lang="en-US" dirty="0"/>
              <a:t>Click to edit Master title style</a:t>
            </a:r>
            <a:endParaRPr lang="de-DE" dirty="0"/>
          </a:p>
        </p:txBody>
      </p:sp>
      <p:sp>
        <p:nvSpPr>
          <p:cNvPr id="22" name="Rectangle 21">
            <a:extLst>
              <a:ext uri="{FF2B5EF4-FFF2-40B4-BE49-F238E27FC236}">
                <a16:creationId xmlns:a16="http://schemas.microsoft.com/office/drawing/2014/main" id="{27975940-1288-FF90-7A5E-C4F6F23C3282}"/>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oter Placeholder 6">
            <a:extLst>
              <a:ext uri="{FF2B5EF4-FFF2-40B4-BE49-F238E27FC236}">
                <a16:creationId xmlns:a16="http://schemas.microsoft.com/office/drawing/2014/main" id="{99F3BD1D-1CC2-2F07-D67E-F6637C2FBA0D}"/>
              </a:ext>
            </a:extLst>
          </p:cNvPr>
          <p:cNvSpPr>
            <a:spLocks noGrp="1"/>
          </p:cNvSpPr>
          <p:nvPr>
            <p:ph type="ftr" sz="quarter" idx="10"/>
          </p:nvPr>
        </p:nvSpPr>
        <p:spPr/>
        <p:txBody>
          <a:bodyPr/>
          <a:lstStyle/>
          <a:p>
            <a:r>
              <a:rPr lang="en-US" noProof="0"/>
              <a:t>Footer</a:t>
            </a:r>
            <a:endParaRPr lang="en-US" noProof="0" dirty="0"/>
          </a:p>
        </p:txBody>
      </p:sp>
      <p:sp>
        <p:nvSpPr>
          <p:cNvPr id="8" name="Slide Number Placeholder 7">
            <a:extLst>
              <a:ext uri="{FF2B5EF4-FFF2-40B4-BE49-F238E27FC236}">
                <a16:creationId xmlns:a16="http://schemas.microsoft.com/office/drawing/2014/main" id="{E387CFEA-9729-4263-17A0-DA881A8DA15A}"/>
              </a:ext>
            </a:extLst>
          </p:cNvPr>
          <p:cNvSpPr>
            <a:spLocks noGrp="1"/>
          </p:cNvSpPr>
          <p:nvPr>
            <p:ph type="sldNum" sz="quarter" idx="11"/>
          </p:nvPr>
        </p:nvSpPr>
        <p:spPr/>
        <p:txBody>
          <a:bodyPr/>
          <a:lstStyle/>
          <a:p>
            <a:fld id="{9A0F3412-00EB-454F-952B-1EB5D3D69307}" type="slidenum">
              <a:rPr lang="en-US" noProof="0" smtClean="0"/>
              <a:pPr/>
              <a:t>‹Nº›</a:t>
            </a:fld>
            <a:endParaRPr lang="en-US" noProof="0" dirty="0"/>
          </a:p>
        </p:txBody>
      </p:sp>
    </p:spTree>
    <p:extLst>
      <p:ext uri="{BB962C8B-B14F-4D97-AF65-F5344CB8AC3E}">
        <p14:creationId xmlns:p14="http://schemas.microsoft.com/office/powerpoint/2010/main" val="1829633666"/>
      </p:ext>
    </p:extLst>
  </p:cSld>
  <p:clrMapOvr>
    <a:masterClrMapping/>
  </p:clrMapOvr>
  <p:extLst>
    <p:ext uri="{DCECCB84-F9BA-43D5-87BE-67443E8EF086}">
      <p15:sldGuideLst xmlns:p15="http://schemas.microsoft.com/office/powerpoint/2012/main">
        <p15:guide id="1" pos="5176">
          <p15:clr>
            <a:srgbClr val="FBAE40"/>
          </p15:clr>
        </p15:guide>
        <p15:guide id="2" pos="5624">
          <p15:clr>
            <a:srgbClr val="FBAE40"/>
          </p15:clr>
        </p15:guide>
        <p15:guide id="3" pos="5803">
          <p15:clr>
            <a:srgbClr val="FBAE40"/>
          </p15:clr>
        </p15:guide>
        <p15:guide id="4" pos="6249">
          <p15:clr>
            <a:srgbClr val="FBAE40"/>
          </p15:clr>
        </p15:guide>
        <p15:guide id="5" pos="6428">
          <p15:clr>
            <a:srgbClr val="FBAE40"/>
          </p15:clr>
        </p15:guide>
        <p15:guide id="6" pos="6872">
          <p15:clr>
            <a:srgbClr val="FBAE40"/>
          </p15:clr>
        </p15:guide>
        <p15:guide id="7" pos="7053">
          <p15:clr>
            <a:srgbClr val="FBAE40"/>
          </p15:clr>
        </p15:guide>
        <p15:guide id="8" pos="4997">
          <p15:clr>
            <a:srgbClr val="FBAE40"/>
          </p15:clr>
        </p15:guide>
        <p15:guide id="9" pos="4551">
          <p15:clr>
            <a:srgbClr val="FBAE40"/>
          </p15:clr>
        </p15:guide>
        <p15:guide id="10" pos="626">
          <p15:clr>
            <a:srgbClr val="FBAE40"/>
          </p15:clr>
        </p15:guide>
        <p15:guide id="11" pos="807">
          <p15:clr>
            <a:srgbClr val="FBAE40"/>
          </p15:clr>
        </p15:guide>
        <p15:guide id="12" pos="1253">
          <p15:clr>
            <a:srgbClr val="FBAE40"/>
          </p15:clr>
        </p15:guide>
        <p15:guide id="13" pos="1432">
          <p15:clr>
            <a:srgbClr val="FBAE40"/>
          </p15:clr>
        </p15:guide>
        <p15:guide id="14" pos="1877">
          <p15:clr>
            <a:srgbClr val="FBAE40"/>
          </p15:clr>
        </p15:guide>
        <p15:guide id="15" pos="2055">
          <p15:clr>
            <a:srgbClr val="FBAE40"/>
          </p15:clr>
        </p15:guide>
        <p15:guide id="16" pos="2504">
          <p15:clr>
            <a:srgbClr val="FBAE40"/>
          </p15:clr>
        </p15:guide>
        <p15:guide id="17" pos="2683">
          <p15:clr>
            <a:srgbClr val="FBAE40"/>
          </p15:clr>
        </p15:guide>
        <p15:guide id="18" pos="3129">
          <p15:clr>
            <a:srgbClr val="FBAE40"/>
          </p15:clr>
        </p15:guide>
        <p15:guide id="19" pos="3308">
          <p15:clr>
            <a:srgbClr val="FBAE40"/>
          </p15:clr>
        </p15:guide>
        <p15:guide id="20" pos="3753">
          <p15:clr>
            <a:srgbClr val="FBAE40"/>
          </p15:clr>
        </p15:guide>
        <p15:guide id="21" pos="4373">
          <p15:clr>
            <a:srgbClr val="FBAE40"/>
          </p15:clr>
        </p15:guide>
        <p15:guide id="22" pos="3926">
          <p15:clr>
            <a:srgbClr val="FBAE40"/>
          </p15:clr>
        </p15:guide>
        <p15:guide id="23" orient="horz" pos="86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r>
              <a:rPr lang="en-US" noProof="0"/>
              <a:t>Footer</a:t>
            </a:r>
            <a:endParaRPr lang="en-US"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US" noProof="0" smtClean="0"/>
              <a:pPr/>
              <a:t>‹Nº›</a:t>
            </a:fld>
            <a:endParaRPr lang="en-US" noProof="0" dirty="0"/>
          </a:p>
        </p:txBody>
      </p:sp>
    </p:spTree>
    <p:extLst>
      <p:ext uri="{BB962C8B-B14F-4D97-AF65-F5344CB8AC3E}">
        <p14:creationId xmlns:p14="http://schemas.microsoft.com/office/powerpoint/2010/main" val="3209560250"/>
      </p:ext>
    </p:extLst>
  </p:cSld>
  <p:clrMapOvr>
    <a:masterClrMapping/>
  </p:clrMapOvr>
  <p:extLst>
    <p:ext uri="{DCECCB84-F9BA-43D5-87BE-67443E8EF086}">
      <p15:sldGuideLst xmlns:p15="http://schemas.microsoft.com/office/powerpoint/2012/main">
        <p15:guide id="1" pos="626">
          <p15:clr>
            <a:srgbClr val="FBAE40"/>
          </p15:clr>
        </p15:guide>
        <p15:guide id="2" pos="808">
          <p15:clr>
            <a:srgbClr val="FBAE40"/>
          </p15:clr>
        </p15:guide>
        <p15:guide id="3" pos="1253">
          <p15:clr>
            <a:srgbClr val="FBAE40"/>
          </p15:clr>
        </p15:guide>
        <p15:guide id="4" pos="1432">
          <p15:clr>
            <a:srgbClr val="FBAE40"/>
          </p15:clr>
        </p15:guide>
        <p15:guide id="5" pos="1877">
          <p15:clr>
            <a:srgbClr val="FBAE40"/>
          </p15:clr>
        </p15:guide>
        <p15:guide id="6" pos="2056">
          <p15:clr>
            <a:srgbClr val="FBAE40"/>
          </p15:clr>
        </p15:guide>
        <p15:guide id="7" pos="2505">
          <p15:clr>
            <a:srgbClr val="FBAE40"/>
          </p15:clr>
        </p15:guide>
        <p15:guide id="8" pos="2683">
          <p15:clr>
            <a:srgbClr val="FBAE40"/>
          </p15:clr>
        </p15:guide>
        <p15:guide id="9" pos="3130">
          <p15:clr>
            <a:srgbClr val="FBAE40"/>
          </p15:clr>
        </p15:guide>
        <p15:guide id="10" pos="3308">
          <p15:clr>
            <a:srgbClr val="FBAE40"/>
          </p15:clr>
        </p15:guide>
        <p15:guide id="11" pos="3753">
          <p15:clr>
            <a:srgbClr val="FBAE40"/>
          </p15:clr>
        </p15:guide>
        <p15:guide id="12" pos="3926">
          <p15:clr>
            <a:srgbClr val="FBAE40"/>
          </p15:clr>
        </p15:guide>
        <p15:guide id="13" pos="4373">
          <p15:clr>
            <a:srgbClr val="FBAE40"/>
          </p15:clr>
        </p15:guide>
        <p15:guide id="14" pos="4551">
          <p15:clr>
            <a:srgbClr val="FBAE40"/>
          </p15:clr>
        </p15:guide>
        <p15:guide id="15" pos="4997">
          <p15:clr>
            <a:srgbClr val="FBAE40"/>
          </p15:clr>
        </p15:guide>
        <p15:guide id="16" pos="5176">
          <p15:clr>
            <a:srgbClr val="FBAE40"/>
          </p15:clr>
        </p15:guide>
        <p15:guide id="17" pos="5624">
          <p15:clr>
            <a:srgbClr val="FBAE40"/>
          </p15:clr>
        </p15:guide>
        <p15:guide id="18" pos="5804">
          <p15:clr>
            <a:srgbClr val="FBAE40"/>
          </p15:clr>
        </p15:guide>
        <p15:guide id="19" pos="6248">
          <p15:clr>
            <a:srgbClr val="FBAE40"/>
          </p15:clr>
        </p15:guide>
        <p15:guide id="20" pos="6427">
          <p15:clr>
            <a:srgbClr val="FBAE40"/>
          </p15:clr>
        </p15:guide>
        <p15:guide id="21" pos="6873">
          <p15:clr>
            <a:srgbClr val="FBAE40"/>
          </p15:clr>
        </p15:guide>
        <p15:guide id="22" pos="7053">
          <p15:clr>
            <a:srgbClr val="FBAE40"/>
          </p15:clr>
        </p15:guide>
        <p15:guide id="23" orient="horz" pos="86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Blank light">
    <p:bg>
      <p:bgPr>
        <a:solidFill>
          <a:schemeClr val="accent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n-US" dirty="0"/>
              <a:t>Footer</a:t>
            </a:r>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Nº›</a:t>
            </a:fld>
            <a:endParaRPr lang="en-US" dirty="0"/>
          </a:p>
        </p:txBody>
      </p:sp>
      <p:pic>
        <p:nvPicPr>
          <p:cNvPr id="4" name="Grafik 10">
            <a:extLst>
              <a:ext uri="{FF2B5EF4-FFF2-40B4-BE49-F238E27FC236}">
                <a16:creationId xmlns:a16="http://schemas.microsoft.com/office/drawing/2014/main" id="{1BAE6905-FD07-5B0D-CB7E-5FE54EA1EA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950190816"/>
      </p:ext>
    </p:extLst>
  </p:cSld>
  <p:clrMapOvr>
    <a:masterClrMapping/>
  </p:clrMapOvr>
  <p:extLst>
    <p:ext uri="{DCECCB84-F9BA-43D5-87BE-67443E8EF086}">
      <p15:sldGuideLst xmlns:p15="http://schemas.microsoft.com/office/powerpoint/2012/main">
        <p15:guide id="1" pos="626">
          <p15:clr>
            <a:srgbClr val="FBAE40"/>
          </p15:clr>
        </p15:guide>
        <p15:guide id="2" pos="808">
          <p15:clr>
            <a:srgbClr val="FBAE40"/>
          </p15:clr>
        </p15:guide>
        <p15:guide id="3" pos="1253">
          <p15:clr>
            <a:srgbClr val="FBAE40"/>
          </p15:clr>
        </p15:guide>
        <p15:guide id="4" pos="1432">
          <p15:clr>
            <a:srgbClr val="FBAE40"/>
          </p15:clr>
        </p15:guide>
        <p15:guide id="5" pos="1877">
          <p15:clr>
            <a:srgbClr val="FBAE40"/>
          </p15:clr>
        </p15:guide>
        <p15:guide id="6" pos="2056">
          <p15:clr>
            <a:srgbClr val="FBAE40"/>
          </p15:clr>
        </p15:guide>
        <p15:guide id="7" pos="2505">
          <p15:clr>
            <a:srgbClr val="FBAE40"/>
          </p15:clr>
        </p15:guide>
        <p15:guide id="8" pos="2683">
          <p15:clr>
            <a:srgbClr val="FBAE40"/>
          </p15:clr>
        </p15:guide>
        <p15:guide id="9" pos="3130">
          <p15:clr>
            <a:srgbClr val="FBAE40"/>
          </p15:clr>
        </p15:guide>
        <p15:guide id="10" pos="3308">
          <p15:clr>
            <a:srgbClr val="FBAE40"/>
          </p15:clr>
        </p15:guide>
        <p15:guide id="11" pos="3753">
          <p15:clr>
            <a:srgbClr val="FBAE40"/>
          </p15:clr>
        </p15:guide>
        <p15:guide id="12" pos="3926">
          <p15:clr>
            <a:srgbClr val="FBAE40"/>
          </p15:clr>
        </p15:guide>
        <p15:guide id="13" pos="4373">
          <p15:clr>
            <a:srgbClr val="FBAE40"/>
          </p15:clr>
        </p15:guide>
        <p15:guide id="14" pos="4551">
          <p15:clr>
            <a:srgbClr val="FBAE40"/>
          </p15:clr>
        </p15:guide>
        <p15:guide id="15" pos="4997">
          <p15:clr>
            <a:srgbClr val="FBAE40"/>
          </p15:clr>
        </p15:guide>
        <p15:guide id="16" pos="5176">
          <p15:clr>
            <a:srgbClr val="FBAE40"/>
          </p15:clr>
        </p15:guide>
        <p15:guide id="17" pos="5624">
          <p15:clr>
            <a:srgbClr val="FBAE40"/>
          </p15:clr>
        </p15:guide>
        <p15:guide id="18" pos="5804">
          <p15:clr>
            <a:srgbClr val="FBAE40"/>
          </p15:clr>
        </p15:guide>
        <p15:guide id="19" pos="6248">
          <p15:clr>
            <a:srgbClr val="FBAE40"/>
          </p15:clr>
        </p15:guide>
        <p15:guide id="20" pos="6427">
          <p15:clr>
            <a:srgbClr val="FBAE40"/>
          </p15:clr>
        </p15:guide>
        <p15:guide id="21" pos="6873">
          <p15:clr>
            <a:srgbClr val="FBAE40"/>
          </p15:clr>
        </p15:guide>
        <p15:guide id="22" pos="7053">
          <p15:clr>
            <a:srgbClr val="FBAE40"/>
          </p15:clr>
        </p15:guide>
        <p15:guide id="23" orient="horz" pos="86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lank dark">
    <p:bg>
      <p:bgPr>
        <a:solidFill>
          <a:srgbClr val="25421C"/>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n-US" dirty="0"/>
              <a:t>Footer</a:t>
            </a:r>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Nº›</a:t>
            </a:fld>
            <a:endParaRPr lang="en-US"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846662378"/>
      </p:ext>
    </p:extLst>
  </p:cSld>
  <p:clrMapOvr>
    <a:masterClrMapping/>
  </p:clrMapOvr>
  <p:extLst>
    <p:ext uri="{DCECCB84-F9BA-43D5-87BE-67443E8EF086}">
      <p15:sldGuideLst xmlns:p15="http://schemas.microsoft.com/office/powerpoint/2012/main">
        <p15:guide id="1" pos="626">
          <p15:clr>
            <a:srgbClr val="FBAE40"/>
          </p15:clr>
        </p15:guide>
        <p15:guide id="2" pos="808">
          <p15:clr>
            <a:srgbClr val="FBAE40"/>
          </p15:clr>
        </p15:guide>
        <p15:guide id="3" pos="1253">
          <p15:clr>
            <a:srgbClr val="FBAE40"/>
          </p15:clr>
        </p15:guide>
        <p15:guide id="4" pos="1432">
          <p15:clr>
            <a:srgbClr val="FBAE40"/>
          </p15:clr>
        </p15:guide>
        <p15:guide id="5" pos="1877">
          <p15:clr>
            <a:srgbClr val="FBAE40"/>
          </p15:clr>
        </p15:guide>
        <p15:guide id="6" pos="2056">
          <p15:clr>
            <a:srgbClr val="FBAE40"/>
          </p15:clr>
        </p15:guide>
        <p15:guide id="7" pos="2505">
          <p15:clr>
            <a:srgbClr val="FBAE40"/>
          </p15:clr>
        </p15:guide>
        <p15:guide id="8" pos="2683">
          <p15:clr>
            <a:srgbClr val="FBAE40"/>
          </p15:clr>
        </p15:guide>
        <p15:guide id="9" pos="3130">
          <p15:clr>
            <a:srgbClr val="FBAE40"/>
          </p15:clr>
        </p15:guide>
        <p15:guide id="10" pos="3308">
          <p15:clr>
            <a:srgbClr val="FBAE40"/>
          </p15:clr>
        </p15:guide>
        <p15:guide id="11" pos="3753">
          <p15:clr>
            <a:srgbClr val="FBAE40"/>
          </p15:clr>
        </p15:guide>
        <p15:guide id="12" pos="3926">
          <p15:clr>
            <a:srgbClr val="FBAE40"/>
          </p15:clr>
        </p15:guide>
        <p15:guide id="13" pos="4373">
          <p15:clr>
            <a:srgbClr val="FBAE40"/>
          </p15:clr>
        </p15:guide>
        <p15:guide id="14" pos="4551">
          <p15:clr>
            <a:srgbClr val="FBAE40"/>
          </p15:clr>
        </p15:guide>
        <p15:guide id="15" pos="4997">
          <p15:clr>
            <a:srgbClr val="FBAE40"/>
          </p15:clr>
        </p15:guide>
        <p15:guide id="16" pos="5176">
          <p15:clr>
            <a:srgbClr val="FBAE40"/>
          </p15:clr>
        </p15:guide>
        <p15:guide id="17" pos="5624">
          <p15:clr>
            <a:srgbClr val="FBAE40"/>
          </p15:clr>
        </p15:guide>
        <p15:guide id="18" pos="5804">
          <p15:clr>
            <a:srgbClr val="FBAE40"/>
          </p15:clr>
        </p15:guide>
        <p15:guide id="19" pos="6248">
          <p15:clr>
            <a:srgbClr val="FBAE40"/>
          </p15:clr>
        </p15:guide>
        <p15:guide id="20" pos="6427">
          <p15:clr>
            <a:srgbClr val="FBAE40"/>
          </p15:clr>
        </p15:guide>
        <p15:guide id="21" pos="6873">
          <p15:clr>
            <a:srgbClr val="FBAE40"/>
          </p15:clr>
        </p15:guide>
        <p15:guide id="22" pos="7053">
          <p15:clr>
            <a:srgbClr val="FBAE40"/>
          </p15:clr>
        </p15:guide>
        <p15:guide id="23" orient="horz" pos="867">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grey">
    <p:bg>
      <p:bgPr>
        <a:solidFill>
          <a:srgbClr val="F1F1F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r>
              <a:rPr lang="en-US" noProof="0"/>
              <a:t>Footer</a:t>
            </a:r>
            <a:endParaRPr lang="en-US"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US" noProof="0" smtClean="0"/>
              <a:pPr/>
              <a:t>‹Nº›</a:t>
            </a:fld>
            <a:endParaRPr lang="en-US" noProof="0" dirty="0"/>
          </a:p>
        </p:txBody>
      </p:sp>
    </p:spTree>
    <p:extLst>
      <p:ext uri="{BB962C8B-B14F-4D97-AF65-F5344CB8AC3E}">
        <p14:creationId xmlns:p14="http://schemas.microsoft.com/office/powerpoint/2010/main" val="808325494"/>
      </p:ext>
    </p:extLst>
  </p:cSld>
  <p:clrMapOvr>
    <a:masterClrMapping/>
  </p:clrMapOvr>
  <p:extLst>
    <p:ext uri="{DCECCB84-F9BA-43D5-87BE-67443E8EF086}">
      <p15:sldGuideLst xmlns:p15="http://schemas.microsoft.com/office/powerpoint/2012/main">
        <p15:guide id="1" pos="626">
          <p15:clr>
            <a:srgbClr val="FBAE40"/>
          </p15:clr>
        </p15:guide>
        <p15:guide id="2" pos="808">
          <p15:clr>
            <a:srgbClr val="FBAE40"/>
          </p15:clr>
        </p15:guide>
        <p15:guide id="3" pos="1253">
          <p15:clr>
            <a:srgbClr val="FBAE40"/>
          </p15:clr>
        </p15:guide>
        <p15:guide id="4" pos="1432">
          <p15:clr>
            <a:srgbClr val="FBAE40"/>
          </p15:clr>
        </p15:guide>
        <p15:guide id="5" pos="1877">
          <p15:clr>
            <a:srgbClr val="FBAE40"/>
          </p15:clr>
        </p15:guide>
        <p15:guide id="6" pos="2056">
          <p15:clr>
            <a:srgbClr val="FBAE40"/>
          </p15:clr>
        </p15:guide>
        <p15:guide id="7" pos="2505">
          <p15:clr>
            <a:srgbClr val="FBAE40"/>
          </p15:clr>
        </p15:guide>
        <p15:guide id="8" pos="2683">
          <p15:clr>
            <a:srgbClr val="FBAE40"/>
          </p15:clr>
        </p15:guide>
        <p15:guide id="9" pos="3130">
          <p15:clr>
            <a:srgbClr val="FBAE40"/>
          </p15:clr>
        </p15:guide>
        <p15:guide id="10" pos="3308">
          <p15:clr>
            <a:srgbClr val="FBAE40"/>
          </p15:clr>
        </p15:guide>
        <p15:guide id="11" pos="3753">
          <p15:clr>
            <a:srgbClr val="FBAE40"/>
          </p15:clr>
        </p15:guide>
        <p15:guide id="12" pos="3926">
          <p15:clr>
            <a:srgbClr val="FBAE40"/>
          </p15:clr>
        </p15:guide>
        <p15:guide id="13" pos="4373">
          <p15:clr>
            <a:srgbClr val="FBAE40"/>
          </p15:clr>
        </p15:guide>
        <p15:guide id="14" pos="4551">
          <p15:clr>
            <a:srgbClr val="FBAE40"/>
          </p15:clr>
        </p15:guide>
        <p15:guide id="15" pos="4997">
          <p15:clr>
            <a:srgbClr val="FBAE40"/>
          </p15:clr>
        </p15:guide>
        <p15:guide id="16" pos="5176">
          <p15:clr>
            <a:srgbClr val="FBAE40"/>
          </p15:clr>
        </p15:guide>
        <p15:guide id="17" pos="5624">
          <p15:clr>
            <a:srgbClr val="FBAE40"/>
          </p15:clr>
        </p15:guide>
        <p15:guide id="18" pos="5804">
          <p15:clr>
            <a:srgbClr val="FBAE40"/>
          </p15:clr>
        </p15:guide>
        <p15:guide id="19" pos="6248">
          <p15:clr>
            <a:srgbClr val="FBAE40"/>
          </p15:clr>
        </p15:guide>
        <p15:guide id="20" pos="6427">
          <p15:clr>
            <a:srgbClr val="FBAE40"/>
          </p15:clr>
        </p15:guide>
        <p15:guide id="21" pos="6873">
          <p15:clr>
            <a:srgbClr val="FBAE40"/>
          </p15:clr>
        </p15:guide>
        <p15:guide id="22" pos="7053">
          <p15:clr>
            <a:srgbClr val="FBAE40"/>
          </p15:clr>
        </p15:guide>
        <p15:guide id="23" orient="horz" pos="867">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lank Dark Blue">
    <p:bg>
      <p:bgPr>
        <a:solidFill>
          <a:schemeClr val="tx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r>
              <a:rPr lang="en-US" dirty="0"/>
              <a:t>Footer</a:t>
            </a:r>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US" smtClean="0"/>
              <a:pPr/>
              <a:t>‹Nº›</a:t>
            </a:fld>
            <a:endParaRPr lang="en-US"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844880973"/>
      </p:ext>
    </p:extLst>
  </p:cSld>
  <p:clrMapOvr>
    <a:masterClrMapping/>
  </p:clrMapOvr>
  <p:extLst>
    <p:ext uri="{DCECCB84-F9BA-43D5-87BE-67443E8EF086}">
      <p15:sldGuideLst xmlns:p15="http://schemas.microsoft.com/office/powerpoint/2012/main">
        <p15:guide id="1" pos="626">
          <p15:clr>
            <a:srgbClr val="FBAE40"/>
          </p15:clr>
        </p15:guide>
        <p15:guide id="2" pos="808">
          <p15:clr>
            <a:srgbClr val="FBAE40"/>
          </p15:clr>
        </p15:guide>
        <p15:guide id="3" pos="1253">
          <p15:clr>
            <a:srgbClr val="FBAE40"/>
          </p15:clr>
        </p15:guide>
        <p15:guide id="4" pos="1432">
          <p15:clr>
            <a:srgbClr val="FBAE40"/>
          </p15:clr>
        </p15:guide>
        <p15:guide id="5" pos="1877">
          <p15:clr>
            <a:srgbClr val="FBAE40"/>
          </p15:clr>
        </p15:guide>
        <p15:guide id="6" pos="2056">
          <p15:clr>
            <a:srgbClr val="FBAE40"/>
          </p15:clr>
        </p15:guide>
        <p15:guide id="7" pos="2505">
          <p15:clr>
            <a:srgbClr val="FBAE40"/>
          </p15:clr>
        </p15:guide>
        <p15:guide id="8" pos="2683">
          <p15:clr>
            <a:srgbClr val="FBAE40"/>
          </p15:clr>
        </p15:guide>
        <p15:guide id="9" pos="3130">
          <p15:clr>
            <a:srgbClr val="FBAE40"/>
          </p15:clr>
        </p15:guide>
        <p15:guide id="10" pos="3308">
          <p15:clr>
            <a:srgbClr val="FBAE40"/>
          </p15:clr>
        </p15:guide>
        <p15:guide id="11" pos="3753">
          <p15:clr>
            <a:srgbClr val="FBAE40"/>
          </p15:clr>
        </p15:guide>
        <p15:guide id="12" pos="3926">
          <p15:clr>
            <a:srgbClr val="FBAE40"/>
          </p15:clr>
        </p15:guide>
        <p15:guide id="13" pos="4373">
          <p15:clr>
            <a:srgbClr val="FBAE40"/>
          </p15:clr>
        </p15:guide>
        <p15:guide id="14" pos="4551">
          <p15:clr>
            <a:srgbClr val="FBAE40"/>
          </p15:clr>
        </p15:guide>
        <p15:guide id="15" pos="4997">
          <p15:clr>
            <a:srgbClr val="FBAE40"/>
          </p15:clr>
        </p15:guide>
        <p15:guide id="16" pos="5176">
          <p15:clr>
            <a:srgbClr val="FBAE40"/>
          </p15:clr>
        </p15:guide>
        <p15:guide id="17" pos="5624">
          <p15:clr>
            <a:srgbClr val="FBAE40"/>
          </p15:clr>
        </p15:guide>
        <p15:guide id="18" pos="5804">
          <p15:clr>
            <a:srgbClr val="FBAE40"/>
          </p15:clr>
        </p15:guide>
        <p15:guide id="19" pos="6248">
          <p15:clr>
            <a:srgbClr val="FBAE40"/>
          </p15:clr>
        </p15:guide>
        <p15:guide id="20" pos="6427">
          <p15:clr>
            <a:srgbClr val="FBAE40"/>
          </p15:clr>
        </p15:guide>
        <p15:guide id="21" pos="6873">
          <p15:clr>
            <a:srgbClr val="FBAE40"/>
          </p15:clr>
        </p15:guide>
        <p15:guide id="22" pos="7053">
          <p15:clr>
            <a:srgbClr val="FBAE40"/>
          </p15:clr>
        </p15:guide>
        <p15:guide id="23" orient="horz" pos="867">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50" Type="http://schemas.openxmlformats.org/officeDocument/2006/relationships/image" Target="../media/image1.emf"/><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theme" Target="../theme/theme2.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8" Type="http://schemas.openxmlformats.org/officeDocument/2006/relationships/slideLayout" Target="../slideLayouts/slideLayout57.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1" Type="http://schemas.openxmlformats.org/officeDocument/2006/relationships/slideLayout" Target="../slideLayouts/slideLayout50.xml"/><Relationship Id="rId6"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B90DB8D-0673-781E-BCA9-62E8C9D50279}"/>
              </a:ext>
            </a:extLst>
          </p:cNvPr>
          <p:cNvSpPr>
            <a:spLocks noGrp="1"/>
          </p:cNvSpPr>
          <p:nvPr>
            <p:ph type="title"/>
          </p:nvPr>
        </p:nvSpPr>
        <p:spPr>
          <a:xfrm>
            <a:off x="287337" y="211525"/>
            <a:ext cx="11615737" cy="612000"/>
          </a:xfrm>
          <a:prstGeom prst="rect">
            <a:avLst/>
          </a:prstGeom>
        </p:spPr>
        <p:txBody>
          <a:bodyPr vert="horz" lIns="0" tIns="0" rIns="0" bIns="0" rtlCol="0" anchor="t" anchorCtr="0">
            <a:noAutofit/>
          </a:bodyPr>
          <a:lstStyle/>
          <a:p>
            <a:r>
              <a:rPr lang="en-US" dirty="0"/>
              <a:t>Click to edit Master title style</a:t>
            </a:r>
            <a:endParaRPr lang="en-US" noProof="0" dirty="0"/>
          </a:p>
        </p:txBody>
      </p:sp>
      <p:sp>
        <p:nvSpPr>
          <p:cNvPr id="3" name="Textplatzhalter 2">
            <a:extLst>
              <a:ext uri="{FF2B5EF4-FFF2-40B4-BE49-F238E27FC236}">
                <a16:creationId xmlns:a16="http://schemas.microsoft.com/office/drawing/2014/main" id="{B53CEAF0-FDF5-A52A-70B7-2DA6AE7B3F56}"/>
              </a:ext>
            </a:extLst>
          </p:cNvPr>
          <p:cNvSpPr>
            <a:spLocks noGrp="1"/>
          </p:cNvSpPr>
          <p:nvPr>
            <p:ph type="body" idx="1"/>
          </p:nvPr>
        </p:nvSpPr>
        <p:spPr>
          <a:xfrm>
            <a:off x="287337" y="1380661"/>
            <a:ext cx="11615737" cy="4902664"/>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 name="Fußzeilenplatzhalter 4">
            <a:extLst>
              <a:ext uri="{FF2B5EF4-FFF2-40B4-BE49-F238E27FC236}">
                <a16:creationId xmlns:a16="http://schemas.microsoft.com/office/drawing/2014/main" id="{B13722F9-A0D3-7C43-62B5-80960AF3865C}"/>
              </a:ext>
            </a:extLst>
          </p:cNvPr>
          <p:cNvSpPr>
            <a:spLocks noGrp="1"/>
          </p:cNvSpPr>
          <p:nvPr>
            <p:ph type="ftr" sz="quarter" idx="3"/>
          </p:nvPr>
        </p:nvSpPr>
        <p:spPr>
          <a:xfrm>
            <a:off x="1278000" y="6450420"/>
            <a:ext cx="6656400" cy="144000"/>
          </a:xfrm>
          <a:prstGeom prst="rect">
            <a:avLst/>
          </a:prstGeom>
        </p:spPr>
        <p:txBody>
          <a:bodyPr vert="horz" lIns="0" tIns="0" rIns="0" bIns="0" rtlCol="0" anchor="b" anchorCtr="0">
            <a:noAutofit/>
          </a:bodyPr>
          <a:lstStyle>
            <a:lvl1pPr algn="l">
              <a:defRPr sz="900" b="0">
                <a:solidFill>
                  <a:schemeClr val="tx2"/>
                </a:solidFill>
              </a:defRPr>
            </a:lvl1pPr>
          </a:lstStyle>
          <a:p>
            <a:r>
              <a:rPr lang="en-US" noProof="0" dirty="0"/>
              <a:t>Footer</a:t>
            </a:r>
          </a:p>
        </p:txBody>
      </p:sp>
      <p:sp>
        <p:nvSpPr>
          <p:cNvPr id="6" name="Foliennummernplatzhalter 5">
            <a:extLst>
              <a:ext uri="{FF2B5EF4-FFF2-40B4-BE49-F238E27FC236}">
                <a16:creationId xmlns:a16="http://schemas.microsoft.com/office/drawing/2014/main" id="{0F987E40-E517-6727-C893-BA09ADB46723}"/>
              </a:ext>
            </a:extLst>
          </p:cNvPr>
          <p:cNvSpPr>
            <a:spLocks noGrp="1"/>
          </p:cNvSpPr>
          <p:nvPr>
            <p:ph type="sldNum" sz="quarter" idx="4"/>
          </p:nvPr>
        </p:nvSpPr>
        <p:spPr>
          <a:xfrm>
            <a:off x="289199" y="6450420"/>
            <a:ext cx="540000" cy="144000"/>
          </a:xfrm>
          <a:prstGeom prst="rect">
            <a:avLst/>
          </a:prstGeom>
        </p:spPr>
        <p:txBody>
          <a:bodyPr vert="horz" lIns="0" tIns="0" rIns="0" bIns="0" rtlCol="0" anchor="b" anchorCtr="0">
            <a:noAutofit/>
          </a:bodyPr>
          <a:lstStyle>
            <a:lvl1pPr algn="l">
              <a:defRPr sz="900" b="0">
                <a:solidFill>
                  <a:schemeClr val="tx2"/>
                </a:solidFill>
              </a:defRPr>
            </a:lvl1pPr>
          </a:lstStyle>
          <a:p>
            <a:fld id="{9A0F3412-00EB-454F-952B-1EB5D3D69307}" type="slidenum">
              <a:rPr lang="en-US" noProof="0" smtClean="0"/>
              <a:pPr/>
              <a:t>‹Nº›</a:t>
            </a:fld>
            <a:endParaRPr lang="en-US" noProof="0" dirty="0"/>
          </a:p>
        </p:txBody>
      </p:sp>
      <p:pic>
        <p:nvPicPr>
          <p:cNvPr id="11" name="Grafik 10">
            <a:extLst>
              <a:ext uri="{FF2B5EF4-FFF2-40B4-BE49-F238E27FC236}">
                <a16:creationId xmlns:a16="http://schemas.microsoft.com/office/drawing/2014/main" id="{8251E36B-DCFE-24C9-8E47-8C69412F6AFF}"/>
              </a:ext>
            </a:extLst>
          </p:cNvPr>
          <p:cNvPicPr>
            <a:picLocks noChangeAspect="1"/>
          </p:cNvPicPr>
          <p:nvPr userDrawn="1"/>
        </p:nvPicPr>
        <p:blipFill>
          <a:blip r:embed="rId51">
            <a:extLst>
              <a:ext uri="{28A0092B-C50C-407E-A947-70E740481C1C}">
                <a14:useLocalDpi xmlns:a14="http://schemas.microsoft.com/office/drawing/2010/main" val="0"/>
              </a:ext>
            </a:extLst>
          </a:blip>
          <a:stretch>
            <a:fillRect/>
          </a:stretch>
        </p:blipFill>
        <p:spPr>
          <a:xfrm>
            <a:off x="10749987" y="6421753"/>
            <a:ext cx="1155600" cy="151690"/>
          </a:xfrm>
          <a:prstGeom prst="rect">
            <a:avLst/>
          </a:prstGeom>
        </p:spPr>
      </p:pic>
    </p:spTree>
    <p:extLst>
      <p:ext uri="{BB962C8B-B14F-4D97-AF65-F5344CB8AC3E}">
        <p14:creationId xmlns:p14="http://schemas.microsoft.com/office/powerpoint/2010/main" val="239603315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8" r:id="rId29"/>
    <p:sldLayoutId id="2147483809" r:id="rId30"/>
    <p:sldLayoutId id="2147483932" r:id="rId31"/>
    <p:sldLayoutId id="2147483933" r:id="rId32"/>
    <p:sldLayoutId id="2147483812" r:id="rId33"/>
    <p:sldLayoutId id="2147483927" r:id="rId34"/>
    <p:sldLayoutId id="2147483813" r:id="rId35"/>
    <p:sldLayoutId id="2147483814" r:id="rId36"/>
    <p:sldLayoutId id="2147483815" r:id="rId37"/>
    <p:sldLayoutId id="2147483816" r:id="rId38"/>
    <p:sldLayoutId id="2147483817" r:id="rId39"/>
    <p:sldLayoutId id="2147483818" r:id="rId40"/>
    <p:sldLayoutId id="2147483819" r:id="rId41"/>
    <p:sldLayoutId id="2147483820" r:id="rId42"/>
    <p:sldLayoutId id="2147483821" r:id="rId43"/>
    <p:sldLayoutId id="2147483822" r:id="rId44"/>
    <p:sldLayoutId id="2147483823" r:id="rId45"/>
    <p:sldLayoutId id="2147483824" r:id="rId46"/>
    <p:sldLayoutId id="2147483983" r:id="rId47"/>
    <p:sldLayoutId id="2147483984" r:id="rId48"/>
    <p:sldLayoutId id="2147483985" r:id="rId49"/>
  </p:sldLayoutIdLst>
  <p:hf hdr="0" dt="0"/>
  <p:txStyles>
    <p:titleStyle>
      <a:lvl1pPr algn="l" defTabSz="914400" rtl="0" eaLnBrk="1" latinLnBrk="0" hangingPunct="1">
        <a:lnSpc>
          <a:spcPct val="100000"/>
        </a:lnSpc>
        <a:spcBef>
          <a:spcPct val="0"/>
        </a:spcBef>
        <a:buNone/>
        <a:defRPr sz="2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bodyStyle>
    <p:otherStyle>
      <a:defPPr>
        <a:defRPr lang="de-DE"/>
      </a:defPPr>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otherStyle>
  </p:txStyles>
  <p:extLst>
    <p:ext uri="{27BBF7A9-308A-43DC-89C8-2F10F3537804}">
      <p15:sldGuideLst xmlns:p15="http://schemas.microsoft.com/office/powerpoint/2012/main">
        <p15:guide id="1" orient="horz" pos="132">
          <p15:clr>
            <a:srgbClr val="F26B43"/>
          </p15:clr>
        </p15:guide>
        <p15:guide id="2" pos="181">
          <p15:clr>
            <a:srgbClr val="F26B43"/>
          </p15:clr>
        </p15:guide>
        <p15:guide id="3" pos="7498">
          <p15:clr>
            <a:srgbClr val="F26B43"/>
          </p15:clr>
        </p15:guide>
        <p15:guide id="4" orient="horz" pos="4137">
          <p15:clr>
            <a:srgbClr val="F26B43"/>
          </p15:clr>
        </p15:guide>
        <p15:guide id="5" orient="horz" pos="395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B90DB8D-0673-781E-BCA9-62E8C9D50279}"/>
              </a:ext>
            </a:extLst>
          </p:cNvPr>
          <p:cNvSpPr>
            <a:spLocks noGrp="1"/>
          </p:cNvSpPr>
          <p:nvPr>
            <p:ph type="title"/>
          </p:nvPr>
        </p:nvSpPr>
        <p:spPr>
          <a:xfrm>
            <a:off x="287337" y="211525"/>
            <a:ext cx="11615737" cy="612000"/>
          </a:xfrm>
          <a:prstGeom prst="rect">
            <a:avLst/>
          </a:prstGeom>
        </p:spPr>
        <p:txBody>
          <a:bodyPr vert="horz" lIns="0" tIns="0" rIns="0" bIns="0" rtlCol="0" anchor="t" anchorCtr="0">
            <a:noAutofit/>
          </a:bodyPr>
          <a:lstStyle/>
          <a:p>
            <a:r>
              <a:rPr lang="en-US" dirty="0"/>
              <a:t>Click to edit Master title style</a:t>
            </a:r>
            <a:endParaRPr lang="en-US" noProof="0" dirty="0"/>
          </a:p>
        </p:txBody>
      </p:sp>
      <p:sp>
        <p:nvSpPr>
          <p:cNvPr id="3" name="Textplatzhalter 2">
            <a:extLst>
              <a:ext uri="{FF2B5EF4-FFF2-40B4-BE49-F238E27FC236}">
                <a16:creationId xmlns:a16="http://schemas.microsoft.com/office/drawing/2014/main" id="{B53CEAF0-FDF5-A52A-70B7-2DA6AE7B3F56}"/>
              </a:ext>
            </a:extLst>
          </p:cNvPr>
          <p:cNvSpPr>
            <a:spLocks noGrp="1"/>
          </p:cNvSpPr>
          <p:nvPr>
            <p:ph type="body" idx="1"/>
          </p:nvPr>
        </p:nvSpPr>
        <p:spPr>
          <a:xfrm>
            <a:off x="287337" y="1380661"/>
            <a:ext cx="11615737" cy="4902664"/>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5" name="Fußzeilenplatzhalter 4">
            <a:extLst>
              <a:ext uri="{FF2B5EF4-FFF2-40B4-BE49-F238E27FC236}">
                <a16:creationId xmlns:a16="http://schemas.microsoft.com/office/drawing/2014/main" id="{B13722F9-A0D3-7C43-62B5-80960AF3865C}"/>
              </a:ext>
            </a:extLst>
          </p:cNvPr>
          <p:cNvSpPr>
            <a:spLocks noGrp="1"/>
          </p:cNvSpPr>
          <p:nvPr>
            <p:ph type="ftr" sz="quarter" idx="3"/>
          </p:nvPr>
        </p:nvSpPr>
        <p:spPr>
          <a:xfrm>
            <a:off x="1278000" y="6450420"/>
            <a:ext cx="6656400" cy="144000"/>
          </a:xfrm>
          <a:prstGeom prst="rect">
            <a:avLst/>
          </a:prstGeom>
        </p:spPr>
        <p:txBody>
          <a:bodyPr vert="horz" lIns="0" tIns="0" rIns="0" bIns="0" rtlCol="0" anchor="b" anchorCtr="0">
            <a:noAutofit/>
          </a:bodyPr>
          <a:lstStyle>
            <a:lvl1pPr algn="l">
              <a:defRPr sz="900" b="0">
                <a:solidFill>
                  <a:schemeClr val="tx2"/>
                </a:solidFill>
              </a:defRPr>
            </a:lvl1pPr>
          </a:lstStyle>
          <a:p>
            <a:r>
              <a:rPr lang="en-US" noProof="0" dirty="0"/>
              <a:t>Footer</a:t>
            </a:r>
          </a:p>
        </p:txBody>
      </p:sp>
      <p:sp>
        <p:nvSpPr>
          <p:cNvPr id="6" name="Foliennummernplatzhalter 5">
            <a:extLst>
              <a:ext uri="{FF2B5EF4-FFF2-40B4-BE49-F238E27FC236}">
                <a16:creationId xmlns:a16="http://schemas.microsoft.com/office/drawing/2014/main" id="{0F987E40-E517-6727-C893-BA09ADB46723}"/>
              </a:ext>
            </a:extLst>
          </p:cNvPr>
          <p:cNvSpPr>
            <a:spLocks noGrp="1"/>
          </p:cNvSpPr>
          <p:nvPr>
            <p:ph type="sldNum" sz="quarter" idx="4"/>
          </p:nvPr>
        </p:nvSpPr>
        <p:spPr>
          <a:xfrm>
            <a:off x="289199" y="6450420"/>
            <a:ext cx="540000" cy="144000"/>
          </a:xfrm>
          <a:prstGeom prst="rect">
            <a:avLst/>
          </a:prstGeom>
        </p:spPr>
        <p:txBody>
          <a:bodyPr vert="horz" lIns="0" tIns="0" rIns="0" bIns="0" rtlCol="0" anchor="b" anchorCtr="0">
            <a:noAutofit/>
          </a:bodyPr>
          <a:lstStyle>
            <a:lvl1pPr algn="l">
              <a:defRPr sz="900" b="0">
                <a:solidFill>
                  <a:schemeClr val="tx2"/>
                </a:solidFill>
              </a:defRPr>
            </a:lvl1pPr>
          </a:lstStyle>
          <a:p>
            <a:fld id="{9A0F3412-00EB-454F-952B-1EB5D3D69307}" type="slidenum">
              <a:rPr lang="en-US" noProof="0" smtClean="0"/>
              <a:pPr/>
              <a:t>‹Nº›</a:t>
            </a:fld>
            <a:endParaRPr lang="en-US" noProof="0" dirty="0"/>
          </a:p>
        </p:txBody>
      </p:sp>
      <p:pic>
        <p:nvPicPr>
          <p:cNvPr id="11" name="Grafik 10">
            <a:extLst>
              <a:ext uri="{FF2B5EF4-FFF2-40B4-BE49-F238E27FC236}">
                <a16:creationId xmlns:a16="http://schemas.microsoft.com/office/drawing/2014/main" id="{8251E36B-DCFE-24C9-8E47-8C69412F6AFF}"/>
              </a:ext>
            </a:extLst>
          </p:cNvPr>
          <p:cNvPicPr>
            <a:picLocks noChangeAspect="1"/>
          </p:cNvPicPr>
          <p:nvPr userDrawn="1"/>
        </p:nvPicPr>
        <p:blipFill>
          <a:blip r:embed="rId50">
            <a:extLst>
              <a:ext uri="{28A0092B-C50C-407E-A947-70E740481C1C}">
                <a14:useLocalDpi xmlns:a14="http://schemas.microsoft.com/office/drawing/2010/main" val="0"/>
              </a:ext>
            </a:extLst>
          </a:blip>
          <a:stretch>
            <a:fillRect/>
          </a:stretch>
        </p:blipFill>
        <p:spPr>
          <a:xfrm>
            <a:off x="10749987" y="6421753"/>
            <a:ext cx="1155600" cy="151690"/>
          </a:xfrm>
          <a:prstGeom prst="rect">
            <a:avLst/>
          </a:prstGeom>
        </p:spPr>
      </p:pic>
    </p:spTree>
    <p:extLst>
      <p:ext uri="{BB962C8B-B14F-4D97-AF65-F5344CB8AC3E}">
        <p14:creationId xmlns:p14="http://schemas.microsoft.com/office/powerpoint/2010/main" val="2855262704"/>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 id="2147483946" r:id="rId12"/>
    <p:sldLayoutId id="2147483947" r:id="rId13"/>
    <p:sldLayoutId id="2147483948" r:id="rId14"/>
    <p:sldLayoutId id="2147483949" r:id="rId15"/>
    <p:sldLayoutId id="2147483950" r:id="rId16"/>
    <p:sldLayoutId id="2147483951" r:id="rId17"/>
    <p:sldLayoutId id="2147483952" r:id="rId18"/>
    <p:sldLayoutId id="2147483953" r:id="rId19"/>
    <p:sldLayoutId id="2147483954" r:id="rId20"/>
    <p:sldLayoutId id="2147483955" r:id="rId21"/>
    <p:sldLayoutId id="2147483956" r:id="rId22"/>
    <p:sldLayoutId id="2147483957" r:id="rId23"/>
    <p:sldLayoutId id="2147483958" r:id="rId24"/>
    <p:sldLayoutId id="2147483959" r:id="rId25"/>
    <p:sldLayoutId id="2147483960" r:id="rId26"/>
    <p:sldLayoutId id="2147483961" r:id="rId27"/>
    <p:sldLayoutId id="2147483962" r:id="rId28"/>
    <p:sldLayoutId id="2147483963" r:id="rId29"/>
    <p:sldLayoutId id="2147483964" r:id="rId30"/>
    <p:sldLayoutId id="2147483965" r:id="rId31"/>
    <p:sldLayoutId id="2147483966" r:id="rId32"/>
    <p:sldLayoutId id="2147483967" r:id="rId33"/>
    <p:sldLayoutId id="2147483968" r:id="rId34"/>
    <p:sldLayoutId id="2147483969" r:id="rId35"/>
    <p:sldLayoutId id="2147483970" r:id="rId36"/>
    <p:sldLayoutId id="2147483971" r:id="rId37"/>
    <p:sldLayoutId id="2147483972" r:id="rId38"/>
    <p:sldLayoutId id="2147483973" r:id="rId39"/>
    <p:sldLayoutId id="2147483974" r:id="rId40"/>
    <p:sldLayoutId id="2147483975" r:id="rId41"/>
    <p:sldLayoutId id="2147483976" r:id="rId42"/>
    <p:sldLayoutId id="2147483977" r:id="rId43"/>
    <p:sldLayoutId id="2147483978" r:id="rId44"/>
    <p:sldLayoutId id="2147483979" r:id="rId45"/>
    <p:sldLayoutId id="2147483980" r:id="rId46"/>
    <p:sldLayoutId id="2147483981" r:id="rId47"/>
    <p:sldLayoutId id="2147483982" r:id="rId48"/>
  </p:sldLayoutIdLst>
  <p:hf hdr="0" dt="0"/>
  <p:txStyles>
    <p:titleStyle>
      <a:lvl1pPr algn="l" defTabSz="914400" rtl="0" eaLnBrk="1" latinLnBrk="0" hangingPunct="1">
        <a:lnSpc>
          <a:spcPct val="100000"/>
        </a:lnSpc>
        <a:spcBef>
          <a:spcPct val="0"/>
        </a:spcBef>
        <a:buNone/>
        <a:defRPr sz="2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bodyStyle>
    <p:otherStyle>
      <a:defPPr>
        <a:defRPr lang="de-DE"/>
      </a:defPPr>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otherStyle>
  </p:txStyles>
  <p:extLst>
    <p:ext uri="{27BBF7A9-308A-43DC-89C8-2F10F3537804}">
      <p15:sldGuideLst xmlns:p15="http://schemas.microsoft.com/office/powerpoint/2012/main">
        <p15:guide id="1" orient="horz" pos="132">
          <p15:clr>
            <a:srgbClr val="F26B43"/>
          </p15:clr>
        </p15:guide>
        <p15:guide id="2" pos="181">
          <p15:clr>
            <a:srgbClr val="F26B43"/>
          </p15:clr>
        </p15:guide>
        <p15:guide id="3" pos="7498">
          <p15:clr>
            <a:srgbClr val="F26B43"/>
          </p15:clr>
        </p15:guide>
        <p15:guide id="4" orient="horz" pos="4137">
          <p15:clr>
            <a:srgbClr val="F26B43"/>
          </p15:clr>
        </p15:guide>
        <p15:guide id="5" orient="horz" pos="395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3.jpeg"/><Relationship Id="rId2" Type="http://schemas.openxmlformats.org/officeDocument/2006/relationships/slideLayout" Target="../slideLayouts/slideLayout49.xml"/><Relationship Id="rId1" Type="http://schemas.openxmlformats.org/officeDocument/2006/relationships/tags" Target="../tags/tag12.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5.jpe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4.jpeg"/><Relationship Id="rId5" Type="http://schemas.openxmlformats.org/officeDocument/2006/relationships/notesSlide" Target="../notesSlides/notesSlide9.xml"/><Relationship Id="rId4"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9.png"/><Relationship Id="rId4"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hyperlink" Target="https://asiamd.com/2023/07/18/is-it-safe-to-use-ai-chatbots-for-your-health-diagnosis/" TargetMode="External"/><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30.png"/><Relationship Id="rId5" Type="http://schemas.openxmlformats.org/officeDocument/2006/relationships/image" Target="../media/image29.jpg"/><Relationship Id="rId4" Type="http://schemas.openxmlformats.org/officeDocument/2006/relationships/image" Target="../media/image28.jpg"/></Relationships>
</file>

<file path=ppt/slides/_rels/slide1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31.png"/><Relationship Id="rId4"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7.xml"/></Relationships>
</file>

<file path=ppt/slides/_rels/slide2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1.png"/><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42.xml"/><Relationship Id="rId5" Type="http://schemas.openxmlformats.org/officeDocument/2006/relationships/hyperlink" Target="https://creativecommons.org/licenses/by/3.0/" TargetMode="External"/><Relationship Id="rId4" Type="http://schemas.openxmlformats.org/officeDocument/2006/relationships/hyperlink" Target="https://medium.com/@andrewng/opening-a-new-chapter-of-my-work-in-ai-c6a4d1595d7b"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4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9.png"/><Relationship Id="rId4"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0.xml"/><Relationship Id="rId7" Type="http://schemas.openxmlformats.org/officeDocument/2006/relationships/image" Target="../media/image20.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notesSlide" Target="../notesSlides/notesSlide6.xml"/><Relationship Id="rId5" Type="http://schemas.openxmlformats.org/officeDocument/2006/relationships/slideLayout" Target="../slideLayouts/slideLayout48.xml"/><Relationship Id="rId4"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CADB5C49-8BC0-8190-B0A9-D4B33E660205}"/>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0370" r="20370"/>
          <a:stretch>
            <a:fillRect/>
          </a:stretch>
        </p:blipFill>
        <p:spPr/>
      </p:pic>
      <p:sp>
        <p:nvSpPr>
          <p:cNvPr id="3" name="Title 2">
            <a:extLst>
              <a:ext uri="{FF2B5EF4-FFF2-40B4-BE49-F238E27FC236}">
                <a16:creationId xmlns:a16="http://schemas.microsoft.com/office/drawing/2014/main" id="{9139D69B-7C48-4D5B-CC1F-27CF0365AE7D}"/>
              </a:ext>
            </a:extLst>
          </p:cNvPr>
          <p:cNvSpPr>
            <a:spLocks noGrp="1"/>
          </p:cNvSpPr>
          <p:nvPr>
            <p:ph type="ctrTitle"/>
          </p:nvPr>
        </p:nvSpPr>
        <p:spPr>
          <a:xfrm>
            <a:off x="287338" y="2375159"/>
            <a:ext cx="5709425" cy="720000"/>
          </a:xfrm>
        </p:spPr>
        <p:txBody>
          <a:bodyPr/>
          <a:lstStyle/>
          <a:p>
            <a:r>
              <a:rPr lang="es-ES" b="1" dirty="0"/>
              <a:t>Tendencias y Retos de los</a:t>
            </a:r>
            <a:br>
              <a:rPr lang="es-ES" b="1" dirty="0"/>
            </a:br>
            <a:r>
              <a:rPr lang="es-ES" dirty="0"/>
              <a:t>Seguros de Vida y Salud</a:t>
            </a:r>
          </a:p>
        </p:txBody>
      </p:sp>
      <p:sp>
        <p:nvSpPr>
          <p:cNvPr id="4" name="Subtitle 3">
            <a:extLst>
              <a:ext uri="{FF2B5EF4-FFF2-40B4-BE49-F238E27FC236}">
                <a16:creationId xmlns:a16="http://schemas.microsoft.com/office/drawing/2014/main" id="{1E10CA0F-258D-0EF4-6A16-49A20BB4B925}"/>
              </a:ext>
            </a:extLst>
          </p:cNvPr>
          <p:cNvSpPr>
            <a:spLocks noGrp="1"/>
          </p:cNvSpPr>
          <p:nvPr>
            <p:ph type="subTitle" idx="1"/>
          </p:nvPr>
        </p:nvSpPr>
        <p:spPr/>
        <p:txBody>
          <a:bodyPr/>
          <a:lstStyle/>
          <a:p>
            <a:r>
              <a:rPr lang="es-ES" b="0" dirty="0"/>
              <a:t>Alejandra Bautista</a:t>
            </a:r>
          </a:p>
          <a:p>
            <a:r>
              <a:rPr lang="es-ES" b="0" dirty="0"/>
              <a:t>Gerente General Hannover Re México</a:t>
            </a:r>
          </a:p>
          <a:p>
            <a:r>
              <a:rPr lang="es-ES" b="0" dirty="0"/>
              <a:t>26 de Septiembre 2025</a:t>
            </a:r>
          </a:p>
          <a:p>
            <a:endParaRPr lang="es-ES" b="0" dirty="0"/>
          </a:p>
        </p:txBody>
      </p:sp>
    </p:spTree>
    <p:extLst>
      <p:ext uri="{BB962C8B-B14F-4D97-AF65-F5344CB8AC3E}">
        <p14:creationId xmlns:p14="http://schemas.microsoft.com/office/powerpoint/2010/main" val="36562688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500" y="387942"/>
            <a:ext cx="11401567" cy="369236"/>
          </a:xfrm>
        </p:spPr>
        <p:txBody>
          <a:bodyPr/>
          <a:lstStyle/>
          <a:p>
            <a:r>
              <a:rPr lang="es-ES" dirty="0"/>
              <a:t>¿Dónde se vive más?</a:t>
            </a:r>
            <a:endParaRPr lang="es-ES" b="0" dirty="0"/>
          </a:p>
        </p:txBody>
      </p:sp>
      <p:sp>
        <p:nvSpPr>
          <p:cNvPr id="5" name="TextBox 4"/>
          <p:cNvSpPr txBox="1"/>
          <p:nvPr>
            <p:custDataLst>
              <p:tags r:id="rId1"/>
            </p:custDataLst>
          </p:nvPr>
        </p:nvSpPr>
        <p:spPr>
          <a:xfrm>
            <a:off x="337500" y="723679"/>
            <a:ext cx="8867748" cy="276799"/>
          </a:xfrm>
          <a:prstGeom prst="rect">
            <a:avLst/>
          </a:prstGeom>
          <a:noFill/>
          <a:effectLst>
            <a:reflection endPos="0" dir="5400000" sy="-100000" algn="bl" rotWithShape="0"/>
          </a:effectLst>
        </p:spPr>
        <p:txBody>
          <a:bodyPr vert="horz" wrap="square" lIns="0" tIns="0" rIns="0" bIns="0" rtlCol="0" anchor="t">
            <a:spAutoFit/>
          </a:bodyPr>
          <a:lstStyle/>
          <a:p>
            <a:pPr eaLnBrk="0" hangingPunct="0">
              <a:buClr>
                <a:schemeClr val="accent2"/>
              </a:buClr>
            </a:pPr>
            <a:r>
              <a:rPr lang="es-ES" sz="1799" dirty="0">
                <a:solidFill>
                  <a:schemeClr val="accent2"/>
                </a:solidFill>
              </a:rPr>
              <a:t>La esperanza de vida es diferente debido a varios factores</a:t>
            </a:r>
            <a:endParaRPr lang="es-ES" sz="1799" dirty="0">
              <a:solidFill>
                <a:schemeClr val="accent2"/>
              </a:solidFill>
              <a:latin typeface="Arial" panose="020B0604020202020204" pitchFamily="34" charset="0"/>
            </a:endParaRPr>
          </a:p>
        </p:txBody>
      </p:sp>
      <p:graphicFrame>
        <p:nvGraphicFramePr>
          <p:cNvPr id="6" name="Chart 5"/>
          <p:cNvGraphicFramePr>
            <a:graphicFrameLocks/>
          </p:cNvGraphicFramePr>
          <p:nvPr/>
        </p:nvGraphicFramePr>
        <p:xfrm>
          <a:off x="747769" y="3069094"/>
          <a:ext cx="10581029" cy="3023213"/>
        </p:xfrm>
        <a:graphic>
          <a:graphicData uri="http://schemas.openxmlformats.org/drawingml/2006/chart">
            <c:chart xmlns:c="http://schemas.openxmlformats.org/drawingml/2006/chart" xmlns:r="http://schemas.openxmlformats.org/officeDocument/2006/relationships" r:id="rId4"/>
          </a:graphicData>
        </a:graphic>
      </p:graphicFrame>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05144" y="1160578"/>
            <a:ext cx="2622816" cy="1748544"/>
          </a:xfrm>
          <a:prstGeom prst="rect">
            <a:avLst/>
          </a:prstGeom>
        </p:spPr>
      </p:pic>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84394" y="1160578"/>
            <a:ext cx="2622816" cy="1748544"/>
          </a:xfrm>
          <a:prstGeom prst="rect">
            <a:avLst/>
          </a:prstGeom>
        </p:spPr>
      </p:pic>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63644" y="1177972"/>
            <a:ext cx="2663306" cy="1731149"/>
          </a:xfrm>
          <a:prstGeom prst="rect">
            <a:avLst/>
          </a:prstGeom>
        </p:spPr>
      </p:pic>
      <p:sp>
        <p:nvSpPr>
          <p:cNvPr id="8" name="Textplatzhalter 12">
            <a:extLst>
              <a:ext uri="{FF2B5EF4-FFF2-40B4-BE49-F238E27FC236}">
                <a16:creationId xmlns:a16="http://schemas.microsoft.com/office/drawing/2014/main" id="{09F61DC1-7B68-43F4-B0AA-6FF480E6ADA7}"/>
              </a:ext>
            </a:extLst>
          </p:cNvPr>
          <p:cNvSpPr txBox="1">
            <a:spLocks/>
          </p:cNvSpPr>
          <p:nvPr/>
        </p:nvSpPr>
        <p:spPr bwMode="gray">
          <a:xfrm>
            <a:off x="338051" y="6235763"/>
            <a:ext cx="11515885" cy="145043"/>
          </a:xfrm>
          <a:prstGeom prst="rect">
            <a:avLst/>
          </a:prstGeom>
        </p:spPr>
        <p:txBody>
          <a:bodyPr lIns="0" tIns="0" rIns="0" bIns="0" anchor="b"/>
          <a:lstStyle>
            <a:lvl1pPr marL="0" indent="0" algn="l" rtl="0" fontAlgn="base">
              <a:lnSpc>
                <a:spcPct val="100000"/>
              </a:lnSpc>
              <a:spcBef>
                <a:spcPts val="1200"/>
              </a:spcBef>
              <a:spcAft>
                <a:spcPts val="0"/>
              </a:spcAft>
              <a:buClr>
                <a:schemeClr val="accent2"/>
              </a:buClr>
              <a:buSzPct val="100000"/>
              <a:buFont typeface="Arial" panose="020B0604020202020204" pitchFamily="34" charset="0"/>
              <a:buNone/>
              <a:defRPr sz="1600" b="1" i="0" baseline="0">
                <a:solidFill>
                  <a:schemeClr val="tx1"/>
                </a:solidFill>
                <a:latin typeface="+mn-lt"/>
                <a:ea typeface="+mn-ea"/>
                <a:cs typeface="+mn-cs"/>
              </a:defRPr>
            </a:lvl1pPr>
            <a:lvl2pPr marL="0" indent="0" algn="l" rtl="0" fontAlgn="base">
              <a:lnSpc>
                <a:spcPct val="100000"/>
              </a:lnSpc>
              <a:spcBef>
                <a:spcPts val="600"/>
              </a:spcBef>
              <a:spcAft>
                <a:spcPts val="0"/>
              </a:spcAft>
              <a:buClr>
                <a:schemeClr val="accent1"/>
              </a:buClr>
              <a:buSzPct val="100000"/>
              <a:buFontTx/>
              <a:buNone/>
              <a:defRPr sz="1600">
                <a:solidFill>
                  <a:schemeClr val="tx1"/>
                </a:solidFill>
                <a:latin typeface="+mn-lt"/>
              </a:defRPr>
            </a:lvl2pPr>
            <a:lvl3pPr marL="216000" indent="-216000" algn="l" rtl="0" fontAlgn="base">
              <a:lnSpc>
                <a:spcPct val="100000"/>
              </a:lnSpc>
              <a:spcBef>
                <a:spcPts val="600"/>
              </a:spcBef>
              <a:spcAft>
                <a:spcPts val="0"/>
              </a:spcAft>
              <a:buClr>
                <a:schemeClr val="accent2"/>
              </a:buClr>
              <a:buFont typeface="Arial" panose="020B0604020202020204" pitchFamily="34" charset="0"/>
              <a:buChar char="•"/>
              <a:defRPr sz="1600" b="0">
                <a:solidFill>
                  <a:schemeClr val="tx1"/>
                </a:solidFill>
                <a:latin typeface="+mn-lt"/>
              </a:defRPr>
            </a:lvl3pPr>
            <a:lvl4pPr marL="432000" indent="-216000" algn="l" rtl="0" fontAlgn="base">
              <a:lnSpc>
                <a:spcPct val="100000"/>
              </a:lnSpc>
              <a:spcBef>
                <a:spcPts val="300"/>
              </a:spcBef>
              <a:spcAft>
                <a:spcPts val="0"/>
              </a:spcAft>
              <a:buClr>
                <a:schemeClr val="accent2"/>
              </a:buClr>
              <a:buFont typeface="Arial" panose="020B0604020202020204" pitchFamily="34" charset="0"/>
              <a:buChar char="–"/>
              <a:defRPr sz="1600" b="0">
                <a:solidFill>
                  <a:schemeClr val="tx1"/>
                </a:solidFill>
                <a:latin typeface="+mn-lt"/>
              </a:defRPr>
            </a:lvl4pPr>
            <a:lvl5pPr marL="648000" indent="-216000" algn="l" rtl="0" fontAlgn="base">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5pPr>
            <a:lvl6pPr marL="648000" indent="-216000"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6pPr>
            <a:lvl7pPr marL="648000" indent="-216000"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7pPr>
            <a:lvl8pPr marL="648000" indent="-216000"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8pPr>
            <a:lvl9pPr marL="648000" indent="-216000"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9pPr>
          </a:lstStyle>
          <a:p>
            <a:r>
              <a:rPr lang="en-GB" sz="800" b="0" dirty="0">
                <a:solidFill>
                  <a:schemeClr val="bg1">
                    <a:lumMod val="50000"/>
                  </a:schemeClr>
                </a:solidFill>
              </a:rPr>
              <a:t>https://ourworldindata.org/life-expectancy</a:t>
            </a:r>
          </a:p>
        </p:txBody>
      </p:sp>
    </p:spTree>
    <p:extLst>
      <p:ext uri="{BB962C8B-B14F-4D97-AF65-F5344CB8AC3E}">
        <p14:creationId xmlns:p14="http://schemas.microsoft.com/office/powerpoint/2010/main" val="2457755036"/>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1011" y="156938"/>
            <a:ext cx="11515901" cy="908487"/>
          </a:xfrm>
        </p:spPr>
        <p:txBody>
          <a:bodyPr/>
          <a:lstStyle/>
          <a:p>
            <a:r>
              <a:rPr lang="en-GB" kern="1200" dirty="0"/>
              <a:t>¿</a:t>
            </a:r>
            <a:r>
              <a:rPr lang="es-ES" kern="1200" dirty="0"/>
              <a:t>Qué determina la esperanza de vida?</a:t>
            </a:r>
            <a:br>
              <a:rPr lang="es-ES" kern="1200" dirty="0"/>
            </a:br>
            <a:r>
              <a:rPr lang="es-ES" b="0" dirty="0">
                <a:solidFill>
                  <a:srgbClr val="005192"/>
                </a:solidFill>
              </a:rPr>
              <a:t>El estatus socio-económico y el estilo de vida son factores importantes</a:t>
            </a:r>
            <a:endParaRPr lang="es-ES" b="0" dirty="0"/>
          </a:p>
        </p:txBody>
      </p:sp>
      <p:sp>
        <p:nvSpPr>
          <p:cNvPr id="34" name="TextBox 33"/>
          <p:cNvSpPr txBox="1"/>
          <p:nvPr/>
        </p:nvSpPr>
        <p:spPr>
          <a:xfrm>
            <a:off x="4478875" y="3906442"/>
            <a:ext cx="2232427" cy="523084"/>
          </a:xfrm>
          <a:prstGeom prst="rect">
            <a:avLst/>
          </a:prstGeom>
          <a:noFill/>
        </p:spPr>
        <p:txBody>
          <a:bodyPr wrap="square" rtlCol="0">
            <a:spAutoFit/>
          </a:bodyPr>
          <a:lstStyle/>
          <a:p>
            <a:pPr>
              <a:spcBef>
                <a:spcPts val="600"/>
              </a:spcBef>
              <a:buClr>
                <a:schemeClr val="accent2"/>
              </a:buClr>
            </a:pPr>
            <a:r>
              <a:rPr lang="es-ES" sz="2799" b="1" dirty="0">
                <a:solidFill>
                  <a:srgbClr val="ACD819"/>
                </a:solidFill>
              </a:rPr>
              <a:t>tabaquismo</a:t>
            </a:r>
          </a:p>
        </p:txBody>
      </p:sp>
      <p:sp>
        <p:nvSpPr>
          <p:cNvPr id="35" name="TextBox 34"/>
          <p:cNvSpPr txBox="1"/>
          <p:nvPr/>
        </p:nvSpPr>
        <p:spPr>
          <a:xfrm>
            <a:off x="602396" y="5296770"/>
            <a:ext cx="3046241" cy="830781"/>
          </a:xfrm>
          <a:prstGeom prst="rect">
            <a:avLst/>
          </a:prstGeom>
          <a:noFill/>
        </p:spPr>
        <p:txBody>
          <a:bodyPr wrap="square" rtlCol="0">
            <a:spAutoFit/>
          </a:bodyPr>
          <a:lstStyle/>
          <a:p>
            <a:pPr>
              <a:spcBef>
                <a:spcPts val="600"/>
              </a:spcBef>
              <a:buClr>
                <a:schemeClr val="accent2"/>
              </a:buClr>
            </a:pPr>
            <a:r>
              <a:rPr lang="es-ES" sz="4799" b="1" dirty="0">
                <a:solidFill>
                  <a:schemeClr val="accent2"/>
                </a:solidFill>
              </a:rPr>
              <a:t>género</a:t>
            </a:r>
          </a:p>
        </p:txBody>
      </p:sp>
      <p:sp>
        <p:nvSpPr>
          <p:cNvPr id="36" name="TextBox 35"/>
          <p:cNvSpPr txBox="1"/>
          <p:nvPr/>
        </p:nvSpPr>
        <p:spPr>
          <a:xfrm>
            <a:off x="7506441" y="2762208"/>
            <a:ext cx="4881852" cy="584623"/>
          </a:xfrm>
          <a:prstGeom prst="rect">
            <a:avLst/>
          </a:prstGeom>
          <a:noFill/>
        </p:spPr>
        <p:txBody>
          <a:bodyPr wrap="square" rtlCol="0">
            <a:spAutoFit/>
          </a:bodyPr>
          <a:lstStyle/>
          <a:p>
            <a:pPr>
              <a:spcBef>
                <a:spcPts val="600"/>
              </a:spcBef>
              <a:buClr>
                <a:schemeClr val="accent2"/>
              </a:buClr>
            </a:pPr>
            <a:r>
              <a:rPr lang="en-GB" sz="3199" b="1" dirty="0" err="1">
                <a:solidFill>
                  <a:srgbClr val="7A9501"/>
                </a:solidFill>
              </a:rPr>
              <a:t>consumo</a:t>
            </a:r>
            <a:r>
              <a:rPr lang="en-GB" sz="3199" b="1" dirty="0">
                <a:solidFill>
                  <a:srgbClr val="7A9501"/>
                </a:solidFill>
              </a:rPr>
              <a:t> de alcohol</a:t>
            </a:r>
          </a:p>
        </p:txBody>
      </p:sp>
      <p:sp>
        <p:nvSpPr>
          <p:cNvPr id="38" name="TextBox 37"/>
          <p:cNvSpPr txBox="1"/>
          <p:nvPr/>
        </p:nvSpPr>
        <p:spPr>
          <a:xfrm>
            <a:off x="6737419" y="1109278"/>
            <a:ext cx="7751705" cy="707866"/>
          </a:xfrm>
          <a:prstGeom prst="rect">
            <a:avLst/>
          </a:prstGeom>
          <a:noFill/>
        </p:spPr>
        <p:txBody>
          <a:bodyPr wrap="square" rtlCol="0">
            <a:spAutoFit/>
          </a:bodyPr>
          <a:lstStyle/>
          <a:p>
            <a:pPr>
              <a:spcBef>
                <a:spcPts val="600"/>
              </a:spcBef>
              <a:buClr>
                <a:schemeClr val="accent2"/>
              </a:buClr>
            </a:pPr>
            <a:r>
              <a:rPr lang="es-ES" sz="4000" b="1" dirty="0">
                <a:solidFill>
                  <a:schemeClr val="accent1">
                    <a:lumMod val="40000"/>
                    <a:lumOff val="60000"/>
                  </a:schemeClr>
                </a:solidFill>
              </a:rPr>
              <a:t>salud</a:t>
            </a:r>
          </a:p>
        </p:txBody>
      </p:sp>
      <p:sp>
        <p:nvSpPr>
          <p:cNvPr id="39" name="TextBox 38"/>
          <p:cNvSpPr txBox="1"/>
          <p:nvPr/>
        </p:nvSpPr>
        <p:spPr>
          <a:xfrm>
            <a:off x="323489" y="3726882"/>
            <a:ext cx="2888124" cy="923218"/>
          </a:xfrm>
          <a:prstGeom prst="rect">
            <a:avLst/>
          </a:prstGeom>
          <a:noFill/>
        </p:spPr>
        <p:txBody>
          <a:bodyPr wrap="square" rtlCol="0">
            <a:spAutoFit/>
          </a:bodyPr>
          <a:lstStyle/>
          <a:p>
            <a:pPr>
              <a:spcBef>
                <a:spcPts val="600"/>
              </a:spcBef>
              <a:buClr>
                <a:schemeClr val="accent2"/>
              </a:buClr>
            </a:pPr>
            <a:r>
              <a:rPr lang="es-ES" sz="5399" b="1" dirty="0">
                <a:solidFill>
                  <a:schemeClr val="accent5"/>
                </a:solidFill>
              </a:rPr>
              <a:t>deporte</a:t>
            </a:r>
          </a:p>
        </p:txBody>
      </p:sp>
      <p:sp>
        <p:nvSpPr>
          <p:cNvPr id="40" name="TextBox 39"/>
          <p:cNvSpPr txBox="1"/>
          <p:nvPr/>
        </p:nvSpPr>
        <p:spPr>
          <a:xfrm>
            <a:off x="2909173" y="5158296"/>
            <a:ext cx="9479119" cy="646291"/>
          </a:xfrm>
          <a:prstGeom prst="rect">
            <a:avLst/>
          </a:prstGeom>
          <a:noFill/>
        </p:spPr>
        <p:txBody>
          <a:bodyPr wrap="square" rtlCol="0">
            <a:spAutoFit/>
          </a:bodyPr>
          <a:lstStyle/>
          <a:p>
            <a:pPr>
              <a:spcBef>
                <a:spcPts val="600"/>
              </a:spcBef>
              <a:buClr>
                <a:schemeClr val="accent2"/>
              </a:buClr>
            </a:pPr>
            <a:r>
              <a:rPr lang="es-ES" sz="3600" b="1" dirty="0">
                <a:solidFill>
                  <a:schemeClr val="accent1">
                    <a:lumMod val="20000"/>
                    <a:lumOff val="80000"/>
                  </a:schemeClr>
                </a:solidFill>
              </a:rPr>
              <a:t>tratamiento de enfermedades existentes</a:t>
            </a:r>
          </a:p>
        </p:txBody>
      </p:sp>
      <p:sp>
        <p:nvSpPr>
          <p:cNvPr id="42" name="TextBox 41"/>
          <p:cNvSpPr txBox="1"/>
          <p:nvPr/>
        </p:nvSpPr>
        <p:spPr>
          <a:xfrm>
            <a:off x="7103738" y="2100525"/>
            <a:ext cx="3343102" cy="400099"/>
          </a:xfrm>
          <a:prstGeom prst="rect">
            <a:avLst/>
          </a:prstGeom>
          <a:noFill/>
        </p:spPr>
        <p:txBody>
          <a:bodyPr wrap="square" rtlCol="0">
            <a:spAutoFit/>
          </a:bodyPr>
          <a:lstStyle/>
          <a:p>
            <a:pPr>
              <a:spcBef>
                <a:spcPts val="600"/>
              </a:spcBef>
              <a:buClr>
                <a:schemeClr val="accent2"/>
              </a:buClr>
            </a:pPr>
            <a:r>
              <a:rPr lang="es-ES" sz="1999" b="1" dirty="0">
                <a:solidFill>
                  <a:srgbClr val="00A6D6"/>
                </a:solidFill>
              </a:rPr>
              <a:t>estilo de conducción</a:t>
            </a:r>
          </a:p>
        </p:txBody>
      </p:sp>
      <p:sp>
        <p:nvSpPr>
          <p:cNvPr id="43" name="TextBox 42"/>
          <p:cNvSpPr txBox="1"/>
          <p:nvPr/>
        </p:nvSpPr>
        <p:spPr>
          <a:xfrm>
            <a:off x="4478875" y="3003566"/>
            <a:ext cx="2130807" cy="1015527"/>
          </a:xfrm>
          <a:prstGeom prst="rect">
            <a:avLst/>
          </a:prstGeom>
          <a:noFill/>
        </p:spPr>
        <p:txBody>
          <a:bodyPr wrap="square" rtlCol="0">
            <a:spAutoFit/>
          </a:bodyPr>
          <a:lstStyle/>
          <a:p>
            <a:pPr>
              <a:spcBef>
                <a:spcPts val="600"/>
              </a:spcBef>
              <a:buClr>
                <a:schemeClr val="accent2"/>
              </a:buClr>
            </a:pPr>
            <a:r>
              <a:rPr lang="es-ES" sz="5999" b="1" dirty="0">
                <a:solidFill>
                  <a:schemeClr val="bg1">
                    <a:lumMod val="50000"/>
                  </a:schemeClr>
                </a:solidFill>
              </a:rPr>
              <a:t>edad</a:t>
            </a:r>
            <a:endParaRPr lang="es-ES" sz="5399" b="1" dirty="0">
              <a:solidFill>
                <a:schemeClr val="bg1">
                  <a:lumMod val="50000"/>
                </a:schemeClr>
              </a:solidFill>
            </a:endParaRPr>
          </a:p>
        </p:txBody>
      </p:sp>
      <p:sp>
        <p:nvSpPr>
          <p:cNvPr id="44" name="TextBox 43"/>
          <p:cNvSpPr txBox="1"/>
          <p:nvPr/>
        </p:nvSpPr>
        <p:spPr>
          <a:xfrm>
            <a:off x="3648637" y="1917013"/>
            <a:ext cx="2858382" cy="523084"/>
          </a:xfrm>
          <a:prstGeom prst="rect">
            <a:avLst/>
          </a:prstGeom>
          <a:noFill/>
        </p:spPr>
        <p:txBody>
          <a:bodyPr wrap="square" rtlCol="0">
            <a:spAutoFit/>
          </a:bodyPr>
          <a:lstStyle/>
          <a:p>
            <a:pPr>
              <a:spcBef>
                <a:spcPts val="600"/>
              </a:spcBef>
              <a:buClr>
                <a:schemeClr val="accent2"/>
              </a:buClr>
            </a:pPr>
            <a:r>
              <a:rPr lang="es-ES" sz="2799" b="1" dirty="0">
                <a:solidFill>
                  <a:schemeClr val="accent3"/>
                </a:solidFill>
              </a:rPr>
              <a:t>estilo de vida</a:t>
            </a:r>
          </a:p>
        </p:txBody>
      </p:sp>
      <p:sp>
        <p:nvSpPr>
          <p:cNvPr id="45" name="TextBox 44"/>
          <p:cNvSpPr txBox="1"/>
          <p:nvPr/>
        </p:nvSpPr>
        <p:spPr>
          <a:xfrm>
            <a:off x="6737419" y="4352345"/>
            <a:ext cx="8610057" cy="923090"/>
          </a:xfrm>
          <a:prstGeom prst="rect">
            <a:avLst/>
          </a:prstGeom>
          <a:noFill/>
        </p:spPr>
        <p:txBody>
          <a:bodyPr wrap="square" rtlCol="0">
            <a:spAutoFit/>
          </a:bodyPr>
          <a:lstStyle/>
          <a:p>
            <a:pPr>
              <a:spcBef>
                <a:spcPts val="600"/>
              </a:spcBef>
              <a:buClr>
                <a:schemeClr val="accent2"/>
              </a:buClr>
            </a:pPr>
            <a:r>
              <a:rPr lang="es-ES" sz="5398" b="1" dirty="0">
                <a:solidFill>
                  <a:schemeClr val="accent3"/>
                </a:solidFill>
              </a:rPr>
              <a:t>profesión</a:t>
            </a:r>
            <a:endParaRPr lang="es-ES" sz="3999" b="1" dirty="0">
              <a:solidFill>
                <a:schemeClr val="accent3"/>
              </a:solidFill>
            </a:endParaRPr>
          </a:p>
        </p:txBody>
      </p:sp>
      <p:sp>
        <p:nvSpPr>
          <p:cNvPr id="46" name="TextBox 45"/>
          <p:cNvSpPr txBox="1"/>
          <p:nvPr/>
        </p:nvSpPr>
        <p:spPr>
          <a:xfrm>
            <a:off x="2951581" y="5841274"/>
            <a:ext cx="8880842" cy="369108"/>
          </a:xfrm>
          <a:prstGeom prst="rect">
            <a:avLst/>
          </a:prstGeom>
          <a:noFill/>
        </p:spPr>
        <p:txBody>
          <a:bodyPr wrap="square" rtlCol="0">
            <a:spAutoFit/>
          </a:bodyPr>
          <a:lstStyle/>
          <a:p>
            <a:pPr>
              <a:spcBef>
                <a:spcPts val="600"/>
              </a:spcBef>
              <a:buClr>
                <a:schemeClr val="accent2"/>
              </a:buClr>
            </a:pPr>
            <a:r>
              <a:rPr lang="es-ES" sz="1799" b="1" dirty="0">
                <a:solidFill>
                  <a:srgbClr val="00A6D6"/>
                </a:solidFill>
              </a:rPr>
              <a:t>aversión al riesgo (ej. deportes: paracaidismo, etc.)</a:t>
            </a:r>
          </a:p>
        </p:txBody>
      </p:sp>
      <p:sp>
        <p:nvSpPr>
          <p:cNvPr id="47" name="TextBox 46"/>
          <p:cNvSpPr txBox="1"/>
          <p:nvPr/>
        </p:nvSpPr>
        <p:spPr>
          <a:xfrm>
            <a:off x="1540005" y="1156599"/>
            <a:ext cx="3703190" cy="830781"/>
          </a:xfrm>
          <a:prstGeom prst="rect">
            <a:avLst/>
          </a:prstGeom>
          <a:noFill/>
        </p:spPr>
        <p:txBody>
          <a:bodyPr wrap="square" rtlCol="0">
            <a:spAutoFit/>
          </a:bodyPr>
          <a:lstStyle/>
          <a:p>
            <a:pPr>
              <a:spcBef>
                <a:spcPts val="600"/>
              </a:spcBef>
              <a:buClr>
                <a:schemeClr val="accent2"/>
              </a:buClr>
            </a:pPr>
            <a:r>
              <a:rPr lang="es-ES" sz="4799" b="1" dirty="0">
                <a:solidFill>
                  <a:schemeClr val="accent5"/>
                </a:solidFill>
              </a:rPr>
              <a:t>educación</a:t>
            </a:r>
          </a:p>
        </p:txBody>
      </p:sp>
      <p:sp>
        <p:nvSpPr>
          <p:cNvPr id="48" name="TextBox 47"/>
          <p:cNvSpPr txBox="1"/>
          <p:nvPr/>
        </p:nvSpPr>
        <p:spPr>
          <a:xfrm>
            <a:off x="323489" y="3177917"/>
            <a:ext cx="3511072" cy="523084"/>
          </a:xfrm>
          <a:prstGeom prst="rect">
            <a:avLst/>
          </a:prstGeom>
          <a:noFill/>
        </p:spPr>
        <p:txBody>
          <a:bodyPr wrap="square" rtlCol="0">
            <a:spAutoFit/>
          </a:bodyPr>
          <a:lstStyle/>
          <a:p>
            <a:pPr>
              <a:spcBef>
                <a:spcPts val="600"/>
              </a:spcBef>
              <a:buClr>
                <a:schemeClr val="accent2"/>
              </a:buClr>
            </a:pPr>
            <a:r>
              <a:rPr lang="en-GB" sz="2799" b="1" dirty="0" err="1">
                <a:solidFill>
                  <a:schemeClr val="accent2"/>
                </a:solidFill>
              </a:rPr>
              <a:t>comportamiento</a:t>
            </a:r>
            <a:endParaRPr lang="en-GB" sz="2799" b="1" dirty="0">
              <a:solidFill>
                <a:schemeClr val="accent2"/>
              </a:solidFill>
            </a:endParaRPr>
          </a:p>
        </p:txBody>
      </p:sp>
      <p:sp>
        <p:nvSpPr>
          <p:cNvPr id="49" name="TextBox 48"/>
          <p:cNvSpPr txBox="1"/>
          <p:nvPr/>
        </p:nvSpPr>
        <p:spPr>
          <a:xfrm>
            <a:off x="7247700" y="3887323"/>
            <a:ext cx="4390857" cy="521353"/>
          </a:xfrm>
          <a:prstGeom prst="rect">
            <a:avLst/>
          </a:prstGeom>
          <a:noFill/>
        </p:spPr>
        <p:txBody>
          <a:bodyPr wrap="square" rtlCol="0">
            <a:spAutoFit/>
          </a:bodyPr>
          <a:lstStyle/>
          <a:p>
            <a:pPr>
              <a:spcBef>
                <a:spcPts val="600"/>
              </a:spcBef>
              <a:buClr>
                <a:schemeClr val="accent2"/>
              </a:buClr>
            </a:pPr>
            <a:r>
              <a:rPr lang="es-ES" sz="2800" b="1" dirty="0">
                <a:solidFill>
                  <a:schemeClr val="accent2"/>
                </a:solidFill>
              </a:rPr>
              <a:t>tipo de alimentación</a:t>
            </a:r>
            <a:endParaRPr lang="es-ES" sz="1799" b="1" dirty="0">
              <a:solidFill>
                <a:schemeClr val="accent2"/>
              </a:solidFill>
            </a:endParaRPr>
          </a:p>
        </p:txBody>
      </p:sp>
      <p:sp>
        <p:nvSpPr>
          <p:cNvPr id="20" name="TextBox 19"/>
          <p:cNvSpPr txBox="1"/>
          <p:nvPr/>
        </p:nvSpPr>
        <p:spPr>
          <a:xfrm>
            <a:off x="1489200" y="4578469"/>
            <a:ext cx="5500925" cy="707830"/>
          </a:xfrm>
          <a:prstGeom prst="rect">
            <a:avLst/>
          </a:prstGeom>
          <a:noFill/>
        </p:spPr>
        <p:txBody>
          <a:bodyPr wrap="square" rtlCol="0">
            <a:spAutoFit/>
          </a:bodyPr>
          <a:lstStyle/>
          <a:p>
            <a:pPr>
              <a:spcBef>
                <a:spcPts val="600"/>
              </a:spcBef>
              <a:buClr>
                <a:schemeClr val="accent2"/>
              </a:buClr>
            </a:pPr>
            <a:r>
              <a:rPr lang="es-ES" sz="4000" b="1" dirty="0">
                <a:solidFill>
                  <a:srgbClr val="7A9501"/>
                </a:solidFill>
              </a:rPr>
              <a:t>prevención</a:t>
            </a:r>
          </a:p>
        </p:txBody>
      </p:sp>
      <p:sp>
        <p:nvSpPr>
          <p:cNvPr id="21" name="TextBox 20"/>
          <p:cNvSpPr txBox="1"/>
          <p:nvPr/>
        </p:nvSpPr>
        <p:spPr>
          <a:xfrm>
            <a:off x="224714" y="2408229"/>
            <a:ext cx="7336068" cy="646291"/>
          </a:xfrm>
          <a:prstGeom prst="rect">
            <a:avLst/>
          </a:prstGeom>
          <a:noFill/>
        </p:spPr>
        <p:txBody>
          <a:bodyPr wrap="square" rtlCol="0">
            <a:spAutoFit/>
          </a:bodyPr>
          <a:lstStyle/>
          <a:p>
            <a:pPr>
              <a:spcBef>
                <a:spcPts val="600"/>
              </a:spcBef>
              <a:buClr>
                <a:schemeClr val="accent2"/>
              </a:buClr>
            </a:pPr>
            <a:r>
              <a:rPr lang="es-ES" sz="3600" b="1" dirty="0">
                <a:solidFill>
                  <a:schemeClr val="accent1">
                    <a:lumMod val="20000"/>
                    <a:lumOff val="80000"/>
                  </a:schemeClr>
                </a:solidFill>
              </a:rPr>
              <a:t>cuidados médicos</a:t>
            </a:r>
          </a:p>
        </p:txBody>
      </p:sp>
    </p:spTree>
    <p:extLst>
      <p:ext uri="{BB962C8B-B14F-4D97-AF65-F5344CB8AC3E}">
        <p14:creationId xmlns:p14="http://schemas.microsoft.com/office/powerpoint/2010/main" val="403554256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6" grpId="0"/>
      <p:bldP spid="39" grpId="0"/>
      <p:bldP spid="40" grpId="0"/>
      <p:bldP spid="42" grpId="0"/>
      <p:bldP spid="44" grpId="0"/>
      <p:bldP spid="46" grpId="0"/>
      <p:bldP spid="48" grpId="0"/>
      <p:bldP spid="49" grpId="0"/>
      <p:bldP spid="20" grpId="0"/>
      <p:bldP spid="2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gray">
          <a:xfrm>
            <a:off x="6126194" y="4512391"/>
            <a:ext cx="5172410" cy="2000656"/>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9977" tIns="46788" rIns="89977" bIns="46788" numCol="1" spcCol="0" rtlCol="0" fromWordArt="0" anchor="ctr" anchorCtr="0" forceAA="0" compatLnSpc="1">
            <a:prstTxWarp prst="textNoShape">
              <a:avLst/>
            </a:prstTxWarp>
            <a:noAutofit/>
          </a:bodyPr>
          <a:lstStyle/>
          <a:p>
            <a:pPr algn="ctr" defTabSz="914126" fontAlgn="base">
              <a:spcAft>
                <a:spcPct val="0"/>
              </a:spcAft>
              <a:buClr>
                <a:schemeClr val="accent2"/>
              </a:buClr>
            </a:pPr>
            <a:endParaRPr lang="en-GB" sz="1600" dirty="0" err="1">
              <a:latin typeface="Arial" charset="0"/>
            </a:endParaRPr>
          </a:p>
        </p:txBody>
      </p:sp>
      <p:sp>
        <p:nvSpPr>
          <p:cNvPr id="13" name="Rectangle 12"/>
          <p:cNvSpPr/>
          <p:nvPr/>
        </p:nvSpPr>
        <p:spPr bwMode="gray">
          <a:xfrm>
            <a:off x="996575" y="4544261"/>
            <a:ext cx="4834379" cy="1974786"/>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9977" tIns="46788" rIns="89977" bIns="46788" numCol="1" spcCol="0" rtlCol="0" fromWordArt="0" anchor="ctr" anchorCtr="0" forceAA="0" compatLnSpc="1">
            <a:prstTxWarp prst="textNoShape">
              <a:avLst/>
            </a:prstTxWarp>
            <a:noAutofit/>
          </a:bodyPr>
          <a:lstStyle/>
          <a:p>
            <a:pPr algn="ctr" defTabSz="914126" fontAlgn="base">
              <a:spcAft>
                <a:spcPct val="0"/>
              </a:spcAft>
              <a:buClr>
                <a:schemeClr val="accent2"/>
              </a:buClr>
            </a:pPr>
            <a:endParaRPr lang="en-GB" sz="1600" dirty="0" err="1">
              <a:latin typeface="Arial" charset="0"/>
            </a:endParaRPr>
          </a:p>
        </p:txBody>
      </p:sp>
      <p:sp>
        <p:nvSpPr>
          <p:cNvPr id="11" name="Footer Placeholder 3"/>
          <p:cNvSpPr>
            <a:spLocks noGrp="1"/>
          </p:cNvSpPr>
          <p:nvPr>
            <p:ph type="ftr" sz="quarter" idx="10"/>
          </p:nvPr>
        </p:nvSpPr>
        <p:spPr>
          <a:xfrm>
            <a:off x="2233312" y="6631108"/>
            <a:ext cx="6260219" cy="226794"/>
          </a:xfrm>
          <a:effectLst>
            <a:reflection endPos="0" dir="5400000" sy="-100000" algn="bl" rotWithShape="0"/>
          </a:effectLst>
        </p:spPr>
        <p:txBody>
          <a:bodyPr vert="horz" wrap="none" anchor="t"/>
          <a:lstStyle/>
          <a:p>
            <a:pPr eaLnBrk="0" hangingPunct="0"/>
            <a:endParaRPr lang="de-DE" dirty="0">
              <a:latin typeface="Arial"/>
            </a:endParaRPr>
          </a:p>
          <a:p>
            <a:pPr eaLnBrk="0" hangingPunct="0"/>
            <a:endParaRPr lang="de-DE" dirty="0">
              <a:latin typeface="Arial"/>
            </a:endParaRPr>
          </a:p>
          <a:p>
            <a:pPr eaLnBrk="0" hangingPunct="0"/>
            <a:endParaRPr lang="en-GB" dirty="0">
              <a:latin typeface="Arial"/>
            </a:endParaRPr>
          </a:p>
        </p:txBody>
      </p:sp>
      <p:sp>
        <p:nvSpPr>
          <p:cNvPr id="496663" name="Text Box 23"/>
          <p:cNvSpPr txBox="1">
            <a:spLocks noChangeArrowheads="1"/>
          </p:cNvSpPr>
          <p:nvPr/>
        </p:nvSpPr>
        <p:spPr bwMode="auto">
          <a:xfrm>
            <a:off x="7458036" y="1560568"/>
            <a:ext cx="181818" cy="37131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98" tIns="46799" rIns="89998" bIns="46799">
            <a:spAutoFit/>
          </a:bodyPr>
          <a:lstStyle/>
          <a:p>
            <a:endParaRPr lang="en-GB" sz="1799" dirty="0"/>
          </a:p>
        </p:txBody>
      </p:sp>
      <p:sp>
        <p:nvSpPr>
          <p:cNvPr id="496667" name="Text Box 27"/>
          <p:cNvSpPr txBox="1">
            <a:spLocks noChangeArrowheads="1"/>
          </p:cNvSpPr>
          <p:nvPr/>
        </p:nvSpPr>
        <p:spPr bwMode="auto">
          <a:xfrm>
            <a:off x="7445337" y="-1157254"/>
            <a:ext cx="2498652" cy="64810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9998" tIns="46799" rIns="89998" bIns="46799">
            <a:spAutoFit/>
          </a:bodyPr>
          <a:lstStyle/>
          <a:p>
            <a:endParaRPr lang="en-GB" sz="1799" dirty="0"/>
          </a:p>
          <a:p>
            <a:endParaRPr lang="en-GB" sz="1799" dirty="0"/>
          </a:p>
        </p:txBody>
      </p:sp>
      <p:sp>
        <p:nvSpPr>
          <p:cNvPr id="496674" name="Text Box 34"/>
          <p:cNvSpPr txBox="1">
            <a:spLocks noChangeArrowheads="1"/>
          </p:cNvSpPr>
          <p:nvPr/>
        </p:nvSpPr>
        <p:spPr bwMode="auto">
          <a:xfrm>
            <a:off x="6372217" y="1966955"/>
            <a:ext cx="3043150" cy="78650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9998" tIns="46799" rIns="89998" bIns="46799">
            <a:spAutoFit/>
          </a:bodyPr>
          <a:lstStyle/>
          <a:p>
            <a:pPr>
              <a:spcBef>
                <a:spcPct val="50000"/>
              </a:spcBef>
              <a:buClr>
                <a:srgbClr val="D4F0F8"/>
              </a:buClr>
              <a:buFont typeface="Wingdings" pitchFamily="2" charset="2"/>
              <a:buNone/>
            </a:pPr>
            <a:endParaRPr lang="en-GB" sz="1799" dirty="0"/>
          </a:p>
          <a:p>
            <a:pPr>
              <a:spcBef>
                <a:spcPct val="50000"/>
              </a:spcBef>
              <a:buClr>
                <a:srgbClr val="D4F0F8"/>
              </a:buClr>
              <a:buFont typeface="Wingdings" pitchFamily="2" charset="2"/>
              <a:buChar char="§"/>
            </a:pPr>
            <a:endParaRPr lang="en-GB" sz="1799" dirty="0"/>
          </a:p>
        </p:txBody>
      </p:sp>
      <p:sp>
        <p:nvSpPr>
          <p:cNvPr id="496676" name="Text Box 36"/>
          <p:cNvSpPr txBox="1">
            <a:spLocks noChangeArrowheads="1"/>
          </p:cNvSpPr>
          <p:nvPr/>
        </p:nvSpPr>
        <p:spPr bwMode="auto">
          <a:xfrm>
            <a:off x="1024821" y="4866299"/>
            <a:ext cx="4462838" cy="1313864"/>
          </a:xfrm>
          <a:prstGeom prst="rect">
            <a:avLst/>
          </a:prstGeom>
        </p:spPr>
        <p:txBody>
          <a:bodyPr vert="horz" wrap="square" lIns="0" tIns="0" rIns="0" bIns="0" rtlCol="0">
            <a:spAutoFit/>
          </a:bodyPr>
          <a:lstStyle>
            <a:lvl1pPr marL="270000" indent="-270000" fontAlgn="base">
              <a:lnSpc>
                <a:spcPct val="110000"/>
              </a:lnSpc>
              <a:spcBef>
                <a:spcPts val="600"/>
              </a:spcBef>
              <a:spcAft>
                <a:spcPts val="0"/>
              </a:spcAft>
              <a:buClr>
                <a:srgbClr val="4D74A8"/>
              </a:buClr>
              <a:buSzPct val="80000"/>
              <a:buFont typeface="Wingdings 3" pitchFamily="18" charset="2"/>
              <a:buChar char=""/>
              <a:defRPr sz="1600"/>
            </a:lvl1pPr>
            <a:lvl2pPr marL="452438" indent="-184150" fontAlgn="base">
              <a:lnSpc>
                <a:spcPct val="110000"/>
              </a:lnSpc>
              <a:spcBef>
                <a:spcPts val="600"/>
              </a:spcBef>
              <a:spcAft>
                <a:spcPts val="0"/>
              </a:spcAft>
              <a:buClr>
                <a:schemeClr val="accent2"/>
              </a:buClr>
              <a:buSzPct val="120000"/>
              <a:buFont typeface="Arial" pitchFamily="34" charset="0"/>
              <a:buChar char="•"/>
              <a:defRPr sz="1600"/>
            </a:lvl2pPr>
            <a:lvl3pPr marL="658800" indent="-211138" fontAlgn="base">
              <a:lnSpc>
                <a:spcPct val="110000"/>
              </a:lnSpc>
              <a:spcBef>
                <a:spcPts val="600"/>
              </a:spcBef>
              <a:spcAft>
                <a:spcPts val="0"/>
              </a:spcAft>
              <a:buClr>
                <a:schemeClr val="accent2"/>
              </a:buClr>
              <a:buFont typeface="Arial Black" pitchFamily="34" charset="0"/>
              <a:buChar char="−"/>
              <a:defRPr sz="1400"/>
            </a:lvl3pPr>
            <a:lvl4pPr marL="0" indent="0" fontAlgn="base">
              <a:lnSpc>
                <a:spcPct val="110000"/>
              </a:lnSpc>
              <a:spcBef>
                <a:spcPts val="600"/>
              </a:spcBef>
              <a:spcAft>
                <a:spcPts val="0"/>
              </a:spcAft>
              <a:buClr>
                <a:schemeClr val="accent2"/>
              </a:buClr>
              <a:buFont typeface="Arial" charset="0"/>
              <a:buNone/>
              <a:defRPr b="1" i="0"/>
            </a:lvl4pPr>
            <a:lvl5pPr marL="0" indent="0" fontAlgn="base">
              <a:lnSpc>
                <a:spcPct val="110000"/>
              </a:lnSpc>
              <a:spcBef>
                <a:spcPts val="600"/>
              </a:spcBef>
              <a:spcAft>
                <a:spcPts val="0"/>
              </a:spcAft>
              <a:buClr>
                <a:schemeClr val="accent2"/>
              </a:buClr>
              <a:buFont typeface="Arial" charset="0"/>
              <a:buNone/>
            </a:lvl5pPr>
            <a:lvl6pPr marL="0" indent="0" fontAlgn="base">
              <a:lnSpc>
                <a:spcPct val="100000"/>
              </a:lnSpc>
              <a:spcBef>
                <a:spcPts val="2000"/>
              </a:spcBef>
              <a:spcAft>
                <a:spcPts val="0"/>
              </a:spcAft>
              <a:buClr>
                <a:schemeClr val="folHlink"/>
              </a:buClr>
              <a:buFont typeface="Arial" charset="0"/>
              <a:buNone/>
            </a:lvl6pPr>
            <a:lvl7pPr marL="0" indent="0" fontAlgn="base">
              <a:lnSpc>
                <a:spcPct val="100000"/>
              </a:lnSpc>
              <a:spcBef>
                <a:spcPts val="2000"/>
              </a:spcBef>
              <a:spcAft>
                <a:spcPts val="0"/>
              </a:spcAft>
              <a:buClr>
                <a:schemeClr val="folHlink"/>
              </a:buClr>
              <a:buFont typeface="Arial" charset="0"/>
              <a:buNone/>
            </a:lvl7pPr>
            <a:lvl8pPr marL="0" indent="0" fontAlgn="base">
              <a:lnSpc>
                <a:spcPct val="100000"/>
              </a:lnSpc>
              <a:spcBef>
                <a:spcPts val="2000"/>
              </a:spcBef>
              <a:spcAft>
                <a:spcPts val="0"/>
              </a:spcAft>
              <a:buClr>
                <a:schemeClr val="folHlink"/>
              </a:buClr>
              <a:buFont typeface="Arial" charset="0"/>
              <a:buNone/>
            </a:lvl8pPr>
            <a:lvl9pPr marL="0" indent="0" fontAlgn="base">
              <a:lnSpc>
                <a:spcPct val="100000"/>
              </a:lnSpc>
              <a:spcBef>
                <a:spcPts val="2000"/>
              </a:spcBef>
              <a:spcAft>
                <a:spcPct val="0"/>
              </a:spcAft>
              <a:buClr>
                <a:schemeClr val="folHlink"/>
              </a:buClr>
              <a:buFont typeface="Arial" charset="0"/>
              <a:buNone/>
            </a:lvl9pPr>
          </a:lstStyle>
          <a:p>
            <a:pPr>
              <a:buClr>
                <a:schemeClr val="accent2"/>
              </a:buClr>
            </a:pPr>
            <a:r>
              <a:rPr lang="es-ES" dirty="0"/>
              <a:t>Ciudad/pueblo pequeño</a:t>
            </a:r>
          </a:p>
          <a:p>
            <a:pPr>
              <a:buClr>
                <a:schemeClr val="accent2"/>
              </a:buClr>
            </a:pPr>
            <a:r>
              <a:rPr lang="es-ES" dirty="0"/>
              <a:t>Probablemente una vida más tranquila</a:t>
            </a:r>
          </a:p>
          <a:p>
            <a:pPr>
              <a:buClr>
                <a:schemeClr val="accent2"/>
              </a:buClr>
            </a:pPr>
            <a:r>
              <a:rPr lang="es-ES" dirty="0"/>
              <a:t>Alimentación más saludable</a:t>
            </a:r>
          </a:p>
          <a:p>
            <a:pPr>
              <a:buClr>
                <a:schemeClr val="accent2"/>
              </a:buClr>
            </a:pPr>
            <a:r>
              <a:rPr lang="es-ES" dirty="0"/>
              <a:t>Renta media</a:t>
            </a:r>
          </a:p>
        </p:txBody>
      </p:sp>
      <p:sp>
        <p:nvSpPr>
          <p:cNvPr id="496677" name="Text Box 37"/>
          <p:cNvSpPr txBox="1">
            <a:spLocks noChangeArrowheads="1"/>
          </p:cNvSpPr>
          <p:nvPr/>
        </p:nvSpPr>
        <p:spPr bwMode="auto">
          <a:xfrm>
            <a:off x="6126949" y="4720346"/>
            <a:ext cx="4470565" cy="167914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9998" tIns="46799" rIns="89998" bIns="46799">
            <a:spAutoFit/>
          </a:bodyPr>
          <a:lstStyle/>
          <a:p>
            <a:pPr marL="269973" indent="-269973" fontAlgn="base">
              <a:lnSpc>
                <a:spcPct val="110000"/>
              </a:lnSpc>
              <a:spcBef>
                <a:spcPts val="600"/>
              </a:spcBef>
              <a:buClr>
                <a:schemeClr val="accent2"/>
              </a:buClr>
              <a:buSzPct val="80000"/>
              <a:buFont typeface="Wingdings 3" pitchFamily="18" charset="2"/>
              <a:buChar char=""/>
            </a:pPr>
            <a:r>
              <a:rPr lang="en-GB" sz="1600" dirty="0"/>
              <a:t>Alto </a:t>
            </a:r>
            <a:r>
              <a:rPr lang="es-ES" sz="1600" dirty="0"/>
              <a:t>poder adquisitivo, posiblemente personas influyentes</a:t>
            </a:r>
          </a:p>
          <a:p>
            <a:pPr marL="269973" indent="-269973" fontAlgn="base">
              <a:lnSpc>
                <a:spcPct val="110000"/>
              </a:lnSpc>
              <a:spcBef>
                <a:spcPts val="600"/>
              </a:spcBef>
              <a:buClr>
                <a:schemeClr val="accent2"/>
              </a:buClr>
              <a:buSzPct val="80000"/>
              <a:buFont typeface="Wingdings 3" pitchFamily="18" charset="2"/>
              <a:buChar char=""/>
            </a:pPr>
            <a:r>
              <a:rPr lang="es-ES" sz="1600" dirty="0"/>
              <a:t>Profesiones más estresantes</a:t>
            </a:r>
          </a:p>
          <a:p>
            <a:pPr marL="269973" indent="-269973" fontAlgn="base">
              <a:lnSpc>
                <a:spcPct val="110000"/>
              </a:lnSpc>
              <a:spcBef>
                <a:spcPts val="600"/>
              </a:spcBef>
              <a:buClr>
                <a:schemeClr val="accent2"/>
              </a:buClr>
              <a:buSzPct val="80000"/>
              <a:buFont typeface="Wingdings 3" pitchFamily="18" charset="2"/>
              <a:buChar char=""/>
            </a:pPr>
            <a:r>
              <a:rPr lang="es-ES" sz="1600" dirty="0"/>
              <a:t>Acceso a un mejor sistema de salud </a:t>
            </a:r>
          </a:p>
          <a:p>
            <a:pPr marL="269973" indent="-269973" fontAlgn="base">
              <a:lnSpc>
                <a:spcPct val="110000"/>
              </a:lnSpc>
              <a:spcBef>
                <a:spcPts val="600"/>
              </a:spcBef>
              <a:buClr>
                <a:schemeClr val="accent2"/>
              </a:buClr>
              <a:buSzPct val="80000"/>
              <a:buFont typeface="Wingdings 3" pitchFamily="18" charset="2"/>
              <a:buChar char=""/>
            </a:pPr>
            <a:r>
              <a:rPr lang="es-ES" sz="1600" dirty="0"/>
              <a:t>Mayor nivel de educación</a:t>
            </a:r>
          </a:p>
        </p:txBody>
      </p:sp>
      <p:sp>
        <p:nvSpPr>
          <p:cNvPr id="2" name="Title 1"/>
          <p:cNvSpPr>
            <a:spLocks noGrp="1"/>
          </p:cNvSpPr>
          <p:nvPr>
            <p:ph type="title"/>
          </p:nvPr>
        </p:nvSpPr>
        <p:spPr>
          <a:xfrm>
            <a:off x="409481" y="332484"/>
            <a:ext cx="5693517" cy="342758"/>
          </a:xfrm>
          <a:effectLst>
            <a:reflection endPos="0" dir="5400000" sy="-100000" algn="bl" rotWithShape="0"/>
          </a:effectLst>
        </p:spPr>
        <p:txBody>
          <a:bodyPr vert="horz" wrap="none" anchor="t"/>
          <a:lstStyle/>
          <a:p>
            <a:pPr eaLnBrk="0" hangingPunct="0">
              <a:spcAft>
                <a:spcPts val="0"/>
              </a:spcAft>
            </a:pPr>
            <a:r>
              <a:rPr lang="es-ES" kern="1200" dirty="0">
                <a:latin typeface="Arial"/>
              </a:rPr>
              <a:t>Estilo de vida y lugar de residencia</a:t>
            </a:r>
            <a:br>
              <a:rPr lang="es-ES" kern="1200" dirty="0">
                <a:latin typeface="Arial"/>
              </a:rPr>
            </a:br>
            <a:r>
              <a:rPr lang="es-ES" kern="1200" dirty="0">
                <a:latin typeface="Arial"/>
              </a:rPr>
              <a:t>“</a:t>
            </a:r>
            <a:r>
              <a:rPr lang="es-ES" b="0" dirty="0"/>
              <a:t>Eres la media entre las 5 personas con las que más tiempo pasas”*</a:t>
            </a:r>
            <a:endParaRPr lang="es-ES" kern="1200" dirty="0">
              <a:latin typeface="Arial"/>
            </a:endParaRPr>
          </a:p>
        </p:txBody>
      </p:sp>
      <p:sp>
        <p:nvSpPr>
          <p:cNvPr id="3" name="TextBox 2"/>
          <p:cNvSpPr txBox="1"/>
          <p:nvPr>
            <p:custDataLst>
              <p:tags r:id="rId2"/>
            </p:custDataLst>
          </p:nvPr>
        </p:nvSpPr>
        <p:spPr>
          <a:xfrm>
            <a:off x="1866122" y="723679"/>
            <a:ext cx="65" cy="2767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GB" sz="1799" dirty="0">
              <a:solidFill>
                <a:srgbClr val="005192"/>
              </a:solidFill>
              <a:latin typeface="Arial"/>
            </a:endParaRPr>
          </a:p>
        </p:txBody>
      </p:sp>
      <p:sp>
        <p:nvSpPr>
          <p:cNvPr id="4" name="Slide Number Placeholder 3"/>
          <p:cNvSpPr>
            <a:spLocks noGrp="1"/>
          </p:cNvSpPr>
          <p:nvPr>
            <p:ph type="sldNum" sz="quarter" idx="11"/>
          </p:nvPr>
        </p:nvSpPr>
        <p:spPr>
          <a:xfrm>
            <a:off x="1865474" y="6632475"/>
            <a:ext cx="380989" cy="225426"/>
          </a:xfrm>
          <a:effectLst>
            <a:reflection endPos="0" dir="5400000" sy="-100000" algn="bl" rotWithShape="0"/>
          </a:effectLst>
        </p:spPr>
        <p:txBody>
          <a:bodyPr vert="horz" wrap="none" anchor="t"/>
          <a:lstStyle/>
          <a:p>
            <a:pPr eaLnBrk="0" hangingPunct="0"/>
            <a:endParaRPr lang="de-DE" dirty="0">
              <a:latin typeface="Arial"/>
            </a:endParaRPr>
          </a:p>
          <a:p>
            <a:pPr eaLnBrk="0" hangingPunct="0"/>
            <a:endParaRPr lang="de-DE" dirty="0">
              <a:latin typeface="Arial"/>
            </a:endParaRPr>
          </a:p>
          <a:p>
            <a:pPr eaLnBrk="0" hangingPunct="0"/>
            <a:endParaRPr lang="de-DE" dirty="0">
              <a:latin typeface="Arial"/>
            </a:endParaRPr>
          </a:p>
          <a:p>
            <a:pPr eaLnBrk="0" hangingPunct="0"/>
            <a:endParaRPr lang="en-GB" dirty="0">
              <a:latin typeface="Arial"/>
            </a:endParaRPr>
          </a:p>
        </p:txBody>
      </p:sp>
      <p:sp>
        <p:nvSpPr>
          <p:cNvPr id="5" name="Rectangle 4"/>
          <p:cNvSpPr/>
          <p:nvPr>
            <p:custDataLst>
              <p:tags r:id="rId3"/>
            </p:custDataLst>
          </p:nvPr>
        </p:nvSpPr>
        <p:spPr bwMode="auto">
          <a:xfrm>
            <a:off x="8183457" y="6513047"/>
            <a:ext cx="8550928" cy="152344"/>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square" lIns="0" tIns="0" rIns="0" bIns="0" numCol="1" rtlCol="0" anchor="b" anchorCtr="0" compatLnSpc="1">
            <a:prstTxWarp prst="textNoShape">
              <a:avLst/>
            </a:prstTxWarp>
          </a:bodyPr>
          <a:lstStyle/>
          <a:p>
            <a:pPr eaLnBrk="0" hangingPunct="0"/>
            <a:r>
              <a:rPr lang="en-US" sz="800" dirty="0">
                <a:solidFill>
                  <a:schemeClr val="bg1">
                    <a:lumMod val="50000"/>
                  </a:schemeClr>
                </a:solidFill>
                <a:latin typeface="Arial"/>
              </a:rPr>
              <a:t>*Jim Rohn, Source of left photo: www.pexels.com</a:t>
            </a:r>
            <a:endParaRPr lang="en-GB" sz="800" dirty="0">
              <a:solidFill>
                <a:schemeClr val="bg1">
                  <a:lumMod val="50000"/>
                </a:schemeClr>
              </a:solidFill>
              <a:latin typeface="Arial"/>
            </a:endParaRPr>
          </a:p>
        </p:txBody>
      </p:sp>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19196" y="1303414"/>
            <a:ext cx="4891166" cy="3214923"/>
          </a:xfrm>
          <a:prstGeom prst="rect">
            <a:avLst/>
          </a:prstGeom>
        </p:spPr>
      </p:pic>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8569" y="1303414"/>
            <a:ext cx="4822385" cy="3214923"/>
          </a:xfrm>
          <a:prstGeom prst="rect">
            <a:avLst/>
          </a:prstGeom>
        </p:spPr>
      </p:pic>
    </p:spTree>
    <p:custDataLst>
      <p:tags r:id="rId1"/>
    </p:custDataLst>
    <p:extLst>
      <p:ext uri="{BB962C8B-B14F-4D97-AF65-F5344CB8AC3E}">
        <p14:creationId xmlns:p14="http://schemas.microsoft.com/office/powerpoint/2010/main" val="307699120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667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966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6676" grpId="0"/>
      <p:bldP spid="49667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a:extLst>
              <a:ext uri="{FF2B5EF4-FFF2-40B4-BE49-F238E27FC236}">
                <a16:creationId xmlns:a16="http://schemas.microsoft.com/office/drawing/2014/main" id="{8FF78B4F-621C-C125-BE64-DEB722EDC014}"/>
              </a:ext>
            </a:extLst>
          </p:cNvPr>
          <p:cNvSpPr txBox="1"/>
          <p:nvPr>
            <p:custDataLst>
              <p:tags r:id="rId2"/>
            </p:custDataLst>
          </p:nvPr>
        </p:nvSpPr>
        <p:spPr>
          <a:xfrm>
            <a:off x="214382" y="212400"/>
            <a:ext cx="2472859" cy="1925597"/>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p>
            <a:pPr algn="l">
              <a:lnSpc>
                <a:spcPct val="89000"/>
              </a:lnSpc>
            </a:pPr>
            <a:r>
              <a:rPr lang="en-GB" sz="14500" b="0" spc="-500" dirty="0">
                <a:solidFill>
                  <a:schemeClr val="accent1"/>
                </a:solidFill>
              </a:rPr>
              <a:t>3</a:t>
            </a:r>
          </a:p>
        </p:txBody>
      </p:sp>
      <p:sp>
        <p:nvSpPr>
          <p:cNvPr id="36" name="TextBox 35">
            <a:extLst>
              <a:ext uri="{FF2B5EF4-FFF2-40B4-BE49-F238E27FC236}">
                <a16:creationId xmlns:a16="http://schemas.microsoft.com/office/drawing/2014/main" id="{979DDE20-9B60-5457-DE82-17A3D89CF880}"/>
              </a:ext>
            </a:extLst>
          </p:cNvPr>
          <p:cNvSpPr txBox="1"/>
          <p:nvPr>
            <p:custDataLst>
              <p:tags r:id="rId3"/>
            </p:custDataLst>
          </p:nvPr>
        </p:nvSpPr>
        <p:spPr>
          <a:xfrm>
            <a:off x="3265200" y="1227600"/>
            <a:ext cx="5634000" cy="846000"/>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0" tIns="0" rIns="0" bIns="0" rtlCol="0" anchor="b">
            <a:noAutofit/>
          </a:bodyPr>
          <a:lstStyle/>
          <a:p>
            <a:pPr algn="l">
              <a:spcBef>
                <a:spcPct val="0"/>
              </a:spcBef>
              <a:spcAft>
                <a:spcPts val="0"/>
              </a:spcAft>
            </a:pPr>
            <a:r>
              <a:rPr lang="en-GB" sz="2600" dirty="0">
                <a:solidFill>
                  <a:schemeClr val="bg1"/>
                </a:solidFill>
              </a:rPr>
              <a:t>La </a:t>
            </a:r>
            <a:r>
              <a:rPr lang="en-GB" sz="2600" dirty="0" err="1">
                <a:solidFill>
                  <a:schemeClr val="bg1"/>
                </a:solidFill>
              </a:rPr>
              <a:t>suscripción</a:t>
            </a:r>
            <a:r>
              <a:rPr lang="en-GB" sz="2600" dirty="0">
                <a:solidFill>
                  <a:schemeClr val="bg1"/>
                </a:solidFill>
              </a:rPr>
              <a:t> </a:t>
            </a:r>
            <a:br>
              <a:rPr lang="en-GB" sz="2600" dirty="0">
                <a:solidFill>
                  <a:schemeClr val="bg1"/>
                </a:solidFill>
              </a:rPr>
            </a:br>
            <a:r>
              <a:rPr lang="en-GB" sz="2600" dirty="0" err="1">
                <a:solidFill>
                  <a:schemeClr val="bg1"/>
                </a:solidFill>
              </a:rPr>
              <a:t>acelerada</a:t>
            </a:r>
            <a:endParaRPr lang="en-GB" sz="2600" dirty="0">
              <a:solidFill>
                <a:schemeClr val="bg1"/>
              </a:solidFill>
            </a:endParaRPr>
          </a:p>
        </p:txBody>
      </p:sp>
      <p:sp>
        <p:nvSpPr>
          <p:cNvPr id="4" name="Slide Number Placeholder 3">
            <a:extLst>
              <a:ext uri="{FF2B5EF4-FFF2-40B4-BE49-F238E27FC236}">
                <a16:creationId xmlns:a16="http://schemas.microsoft.com/office/drawing/2014/main" id="{21363436-9BF2-FBD4-55A1-12135F634942}"/>
              </a:ext>
            </a:extLst>
          </p:cNvPr>
          <p:cNvSpPr>
            <a:spLocks noGrp="1"/>
          </p:cNvSpPr>
          <p:nvPr>
            <p:ph type="sldNum" sz="quarter" idx="18"/>
          </p:nvPr>
        </p:nvSpPr>
        <p:spPr/>
        <p:txBody>
          <a:bodyPr/>
          <a:lstStyle/>
          <a:p>
            <a:fld id="{9A0F3412-00EB-454F-952B-1EB5D3D69307}" type="slidenum">
              <a:rPr lang="en-US" noProof="0" smtClean="0"/>
              <a:pPr/>
              <a:t>13</a:t>
            </a:fld>
            <a:endParaRPr lang="en-US" noProof="0" dirty="0"/>
          </a:p>
        </p:txBody>
      </p:sp>
      <p:sp>
        <p:nvSpPr>
          <p:cNvPr id="34" name="Online Image Placeholder 33">
            <a:extLst>
              <a:ext uri="{FF2B5EF4-FFF2-40B4-BE49-F238E27FC236}">
                <a16:creationId xmlns:a16="http://schemas.microsoft.com/office/drawing/2014/main" id="{5BDA128A-FDA6-A82D-8061-66376F2AB7F7}"/>
              </a:ext>
            </a:extLst>
          </p:cNvPr>
          <p:cNvSpPr>
            <a:spLocks noGrp="1"/>
          </p:cNvSpPr>
          <p:nvPr>
            <p:ph type="clipArt" sz="quarter" idx="21"/>
          </p:nvPr>
        </p:nvSpPr>
        <p:spPr/>
        <p:txBody>
          <a:bodyPr/>
          <a:lstStyle/>
          <a:p>
            <a:endParaRPr lang="en-GB"/>
          </a:p>
        </p:txBody>
      </p:sp>
      <p:sp>
        <p:nvSpPr>
          <p:cNvPr id="39" name="Online Image Placeholder 38">
            <a:extLst>
              <a:ext uri="{FF2B5EF4-FFF2-40B4-BE49-F238E27FC236}">
                <a16:creationId xmlns:a16="http://schemas.microsoft.com/office/drawing/2014/main" id="{CF9AF236-F673-F023-2F0F-6CB1B63FC883}"/>
              </a:ext>
            </a:extLst>
          </p:cNvPr>
          <p:cNvSpPr>
            <a:spLocks noGrp="1"/>
          </p:cNvSpPr>
          <p:nvPr>
            <p:ph type="clipArt" sz="quarter" idx="20"/>
          </p:nvPr>
        </p:nvSpPr>
        <p:spPr/>
        <p:txBody>
          <a:bodyPr/>
          <a:lstStyle/>
          <a:p>
            <a:endParaRPr lang="en-GB"/>
          </a:p>
        </p:txBody>
      </p:sp>
      <p:pic>
        <p:nvPicPr>
          <p:cNvPr id="41" name="Picture 40">
            <a:extLst>
              <a:ext uri="{FF2B5EF4-FFF2-40B4-BE49-F238E27FC236}">
                <a16:creationId xmlns:a16="http://schemas.microsoft.com/office/drawing/2014/main" id="{0937AFAE-8F1E-3012-5DB6-B2B719B57478}"/>
              </a:ext>
            </a:extLst>
          </p:cNvPr>
          <p:cNvPicPr>
            <a:picLocks noChangeAspect="1"/>
          </p:cNvPicPr>
          <p:nvPr/>
        </p:nvPicPr>
        <p:blipFill>
          <a:blip r:embed="rId5"/>
          <a:stretch>
            <a:fillRect/>
          </a:stretch>
        </p:blipFill>
        <p:spPr>
          <a:xfrm>
            <a:off x="8108031" y="0"/>
            <a:ext cx="4078224" cy="6858000"/>
          </a:xfrm>
          <a:prstGeom prst="rect">
            <a:avLst/>
          </a:prstGeom>
        </p:spPr>
      </p:pic>
    </p:spTree>
    <p:custDataLst>
      <p:tags r:id="rId1"/>
    </p:custDataLst>
    <p:extLst>
      <p:ext uri="{BB962C8B-B14F-4D97-AF65-F5344CB8AC3E}">
        <p14:creationId xmlns:p14="http://schemas.microsoft.com/office/powerpoint/2010/main" val="10387788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9B5838-531C-93D8-9C92-2D5DF0D11C9C}"/>
              </a:ext>
            </a:extLst>
          </p:cNvPr>
          <p:cNvSpPr>
            <a:spLocks noGrp="1"/>
          </p:cNvSpPr>
          <p:nvPr>
            <p:ph type="title"/>
          </p:nvPr>
        </p:nvSpPr>
        <p:spPr>
          <a:xfrm>
            <a:off x="287337" y="211525"/>
            <a:ext cx="8235226" cy="612000"/>
          </a:xfrm>
        </p:spPr>
        <p:txBody>
          <a:bodyPr/>
          <a:lstStyle/>
          <a:p>
            <a:r>
              <a:rPr lang="es-ES" b="1" dirty="0"/>
              <a:t>La IA ha evolucionado mucho</a:t>
            </a:r>
            <a:br>
              <a:rPr lang="es-ES" b="1" dirty="0"/>
            </a:br>
            <a:endParaRPr lang="es-ES" dirty="0"/>
          </a:p>
        </p:txBody>
      </p:sp>
      <p:sp>
        <p:nvSpPr>
          <p:cNvPr id="47" name="Content Placeholder 46">
            <a:extLst>
              <a:ext uri="{FF2B5EF4-FFF2-40B4-BE49-F238E27FC236}">
                <a16:creationId xmlns:a16="http://schemas.microsoft.com/office/drawing/2014/main" id="{1C55A1D8-55F4-394B-8883-DDA1D8106F84}"/>
              </a:ext>
            </a:extLst>
          </p:cNvPr>
          <p:cNvSpPr>
            <a:spLocks noGrp="1"/>
          </p:cNvSpPr>
          <p:nvPr>
            <p:ph type="body" sz="quarter" idx="13"/>
          </p:nvPr>
        </p:nvSpPr>
        <p:spPr>
          <a:xfrm>
            <a:off x="287337" y="1379538"/>
            <a:ext cx="2118511" cy="4903787"/>
          </a:xfrm>
        </p:spPr>
        <p:txBody>
          <a:bodyPr/>
          <a:lstStyle/>
          <a:p>
            <a:pPr algn="ctr"/>
            <a:r>
              <a:rPr lang="es-ES" sz="2000" dirty="0">
                <a:solidFill>
                  <a:schemeClr val="accent1"/>
                </a:solidFill>
              </a:rPr>
              <a:t>Tipos de IA</a:t>
            </a:r>
          </a:p>
        </p:txBody>
      </p:sp>
      <p:sp>
        <p:nvSpPr>
          <p:cNvPr id="19" name="Picture Placeholder 18">
            <a:extLst>
              <a:ext uri="{FF2B5EF4-FFF2-40B4-BE49-F238E27FC236}">
                <a16:creationId xmlns:a16="http://schemas.microsoft.com/office/drawing/2014/main" id="{29A95D28-A2E4-6A4C-5D52-F88467C70877}"/>
              </a:ext>
            </a:extLst>
          </p:cNvPr>
          <p:cNvSpPr>
            <a:spLocks noGrp="1"/>
          </p:cNvSpPr>
          <p:nvPr>
            <p:ph type="pic" sz="quarter" idx="14"/>
          </p:nvPr>
        </p:nvSpPr>
        <p:spPr/>
        <p:txBody>
          <a:bodyPr/>
          <a:lstStyle/>
          <a:p>
            <a:endParaRPr lang="en-GB"/>
          </a:p>
        </p:txBody>
      </p:sp>
      <p:sp>
        <p:nvSpPr>
          <p:cNvPr id="5" name="Slide Number Placeholder 4">
            <a:extLst>
              <a:ext uri="{FF2B5EF4-FFF2-40B4-BE49-F238E27FC236}">
                <a16:creationId xmlns:a16="http://schemas.microsoft.com/office/drawing/2014/main" id="{EB9005F5-B762-D1C7-DDE4-664F9414A2ED}"/>
              </a:ext>
            </a:extLst>
          </p:cNvPr>
          <p:cNvSpPr>
            <a:spLocks noGrp="1"/>
          </p:cNvSpPr>
          <p:nvPr>
            <p:ph type="sldNum" sz="quarter" idx="16"/>
          </p:nvPr>
        </p:nvSpPr>
        <p:spPr/>
        <p:txBody>
          <a:bodyPr/>
          <a:lstStyle/>
          <a:p>
            <a:fld id="{9A0F3412-00EB-454F-952B-1EB5D3D69307}" type="slidenum">
              <a:rPr lang="en-US" noProof="0" smtClean="0"/>
              <a:pPr/>
              <a:t>14</a:t>
            </a:fld>
            <a:endParaRPr lang="en-US" noProof="0" dirty="0"/>
          </a:p>
        </p:txBody>
      </p:sp>
      <p:sp>
        <p:nvSpPr>
          <p:cNvPr id="20" name="Online Image Placeholder 19">
            <a:extLst>
              <a:ext uri="{FF2B5EF4-FFF2-40B4-BE49-F238E27FC236}">
                <a16:creationId xmlns:a16="http://schemas.microsoft.com/office/drawing/2014/main" id="{DEA5FC0B-CD72-4D6C-2E69-7E55E04121BB}"/>
              </a:ext>
            </a:extLst>
          </p:cNvPr>
          <p:cNvSpPr>
            <a:spLocks noGrp="1"/>
          </p:cNvSpPr>
          <p:nvPr>
            <p:ph type="clipArt" sz="quarter" idx="21"/>
          </p:nvPr>
        </p:nvSpPr>
        <p:spPr/>
        <p:txBody>
          <a:bodyPr/>
          <a:lstStyle/>
          <a:p>
            <a:endParaRPr lang="en-GB"/>
          </a:p>
        </p:txBody>
      </p:sp>
      <p:graphicFrame>
        <p:nvGraphicFramePr>
          <p:cNvPr id="46" name="Diagram 45">
            <a:extLst>
              <a:ext uri="{FF2B5EF4-FFF2-40B4-BE49-F238E27FC236}">
                <a16:creationId xmlns:a16="http://schemas.microsoft.com/office/drawing/2014/main" id="{572A94F9-E4A7-6BDC-A28E-3DDD86694393}"/>
              </a:ext>
            </a:extLst>
          </p:cNvPr>
          <p:cNvGraphicFramePr/>
          <p:nvPr>
            <p:extLst>
              <p:ext uri="{D42A27DB-BD31-4B8C-83A1-F6EECF244321}">
                <p14:modId xmlns:p14="http://schemas.microsoft.com/office/powerpoint/2010/main" val="3870858360"/>
              </p:ext>
            </p:extLst>
          </p:nvPr>
        </p:nvGraphicFramePr>
        <p:xfrm>
          <a:off x="681366" y="1732979"/>
          <a:ext cx="5217275"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 Placeholder 13">
            <a:extLst>
              <a:ext uri="{FF2B5EF4-FFF2-40B4-BE49-F238E27FC236}">
                <a16:creationId xmlns:a16="http://schemas.microsoft.com/office/drawing/2014/main" id="{82C1B6FD-B733-BBA2-7873-E64B3B28609E}"/>
              </a:ext>
            </a:extLst>
          </p:cNvPr>
          <p:cNvSpPr txBox="1">
            <a:spLocks/>
          </p:cNvSpPr>
          <p:nvPr/>
        </p:nvSpPr>
        <p:spPr>
          <a:xfrm>
            <a:off x="2192973" y="1965896"/>
            <a:ext cx="3034800" cy="1026211"/>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bg2"/>
          </a:solidFill>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a:lstStyle>
          <a:p>
            <a:pPr algn="ctr"/>
            <a:r>
              <a:rPr lang="en-GB" sz="1800" b="0" dirty="0"/>
              <a:t>Los </a:t>
            </a:r>
            <a:r>
              <a:rPr lang="es-ES" sz="1800" b="0" dirty="0"/>
              <a:t>sistemas de suscripción automatizada</a:t>
            </a:r>
            <a:endParaRPr lang="en-GB" sz="1800" dirty="0"/>
          </a:p>
        </p:txBody>
      </p:sp>
      <p:sp>
        <p:nvSpPr>
          <p:cNvPr id="15" name="Text Placeholder 13">
            <a:extLst>
              <a:ext uri="{FF2B5EF4-FFF2-40B4-BE49-F238E27FC236}">
                <a16:creationId xmlns:a16="http://schemas.microsoft.com/office/drawing/2014/main" id="{17D4EEA6-4879-C636-09F2-FA8E169E2C44}"/>
              </a:ext>
            </a:extLst>
          </p:cNvPr>
          <p:cNvSpPr txBox="1">
            <a:spLocks/>
          </p:cNvSpPr>
          <p:nvPr/>
        </p:nvSpPr>
        <p:spPr>
          <a:xfrm>
            <a:off x="2192973" y="3416101"/>
            <a:ext cx="3034800" cy="1026211"/>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bg2"/>
          </a:solidFill>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a:lstStyle>
          <a:p>
            <a:pPr algn="ctr"/>
            <a:r>
              <a:rPr lang="es-ES" sz="1800" b="0"/>
              <a:t>Modelos predictivos </a:t>
            </a:r>
            <a:br>
              <a:rPr lang="es-ES" sz="1800" b="0"/>
            </a:br>
            <a:r>
              <a:rPr lang="es-ES" sz="1800" b="0"/>
              <a:t>del riesgo</a:t>
            </a:r>
          </a:p>
        </p:txBody>
      </p:sp>
      <p:sp>
        <p:nvSpPr>
          <p:cNvPr id="16" name="Text Placeholder 13">
            <a:extLst>
              <a:ext uri="{FF2B5EF4-FFF2-40B4-BE49-F238E27FC236}">
                <a16:creationId xmlns:a16="http://schemas.microsoft.com/office/drawing/2014/main" id="{3E66F2E1-43D0-8C80-2165-C2871EE03774}"/>
              </a:ext>
            </a:extLst>
          </p:cNvPr>
          <p:cNvSpPr txBox="1">
            <a:spLocks/>
          </p:cNvSpPr>
          <p:nvPr/>
        </p:nvSpPr>
        <p:spPr>
          <a:xfrm>
            <a:off x="2192973" y="4777585"/>
            <a:ext cx="3034800" cy="1026211"/>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bg2"/>
          </a:solidFill>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a:lstStyle>
          <a:p>
            <a:pPr lvl="0" algn="ctr"/>
            <a:r>
              <a:rPr lang="es-ES" sz="1800" b="0" dirty="0" err="1"/>
              <a:t>Chatbots</a:t>
            </a:r>
            <a:r>
              <a:rPr lang="es-ES" sz="1800" b="0" dirty="0"/>
              <a:t> que apoyan a los suscriptores médicos</a:t>
            </a:r>
          </a:p>
        </p:txBody>
      </p:sp>
      <p:pic>
        <p:nvPicPr>
          <p:cNvPr id="3" name="Picture Placeholder 15">
            <a:extLst>
              <a:ext uri="{FF2B5EF4-FFF2-40B4-BE49-F238E27FC236}">
                <a16:creationId xmlns:a16="http://schemas.microsoft.com/office/drawing/2014/main" id="{6C37D3AE-2A9D-5158-2F3A-61BCAAEC61AE}"/>
              </a:ext>
            </a:extLst>
          </p:cNvPr>
          <p:cNvPicPr>
            <a:picLocks noChangeAspect="1"/>
          </p:cNvPicPr>
          <p:nvPr/>
        </p:nvPicPr>
        <p:blipFill rotWithShape="1">
          <a:blip r:embed="rId8">
            <a:extLst>
              <a:ext uri="{28A0092B-C50C-407E-A947-70E740481C1C}">
                <a14:useLocalDpi xmlns:a14="http://schemas.microsoft.com/office/drawing/2010/main" val="0"/>
              </a:ext>
            </a:extLst>
          </a:blip>
          <a:srcRect l="26548" r="33827"/>
          <a:stretch/>
        </p:blipFill>
        <p:spPr>
          <a:xfrm>
            <a:off x="8116584" y="0"/>
            <a:ext cx="4075415"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pic>
    </p:spTree>
    <p:extLst>
      <p:ext uri="{BB962C8B-B14F-4D97-AF65-F5344CB8AC3E}">
        <p14:creationId xmlns:p14="http://schemas.microsoft.com/office/powerpoint/2010/main" val="22842327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B2326A8-9C48-A2FB-2F27-50C42379096C}"/>
              </a:ext>
            </a:extLst>
          </p:cNvPr>
          <p:cNvSpPr>
            <a:spLocks noGrp="1"/>
          </p:cNvSpPr>
          <p:nvPr>
            <p:ph type="title"/>
          </p:nvPr>
        </p:nvSpPr>
        <p:spPr/>
        <p:txBody>
          <a:bodyPr/>
          <a:lstStyle/>
          <a:p>
            <a:r>
              <a:rPr lang="es-ES" b="1" dirty="0"/>
              <a:t>En el horizonte: IA generativa</a:t>
            </a:r>
            <a:br>
              <a:rPr lang="es-ES" dirty="0"/>
            </a:br>
            <a:r>
              <a:rPr lang="es-ES" dirty="0"/>
              <a:t>Analizar más datos en menos tiempo</a:t>
            </a:r>
            <a:endParaRPr lang="en-GB" dirty="0"/>
          </a:p>
        </p:txBody>
      </p:sp>
      <p:sp>
        <p:nvSpPr>
          <p:cNvPr id="6" name="Slide Number Placeholder 5">
            <a:extLst>
              <a:ext uri="{FF2B5EF4-FFF2-40B4-BE49-F238E27FC236}">
                <a16:creationId xmlns:a16="http://schemas.microsoft.com/office/drawing/2014/main" id="{D7D142FC-0F94-7701-8921-4E33CE3A4E6A}"/>
              </a:ext>
            </a:extLst>
          </p:cNvPr>
          <p:cNvSpPr>
            <a:spLocks noGrp="1"/>
          </p:cNvSpPr>
          <p:nvPr>
            <p:ph type="sldNum" sz="quarter" idx="16"/>
          </p:nvPr>
        </p:nvSpPr>
        <p:spPr/>
        <p:txBody>
          <a:bodyPr/>
          <a:lstStyle/>
          <a:p>
            <a:fld id="{9A0F3412-00EB-454F-952B-1EB5D3D69307}" type="slidenum">
              <a:rPr lang="en-US" noProof="0" smtClean="0"/>
              <a:pPr/>
              <a:t>15</a:t>
            </a:fld>
            <a:endParaRPr lang="en-US" noProof="0" dirty="0"/>
          </a:p>
        </p:txBody>
      </p:sp>
      <p:pic>
        <p:nvPicPr>
          <p:cNvPr id="7" name="Online Image Placeholder 6">
            <a:extLst>
              <a:ext uri="{FF2B5EF4-FFF2-40B4-BE49-F238E27FC236}">
                <a16:creationId xmlns:a16="http://schemas.microsoft.com/office/drawing/2014/main" id="{5FBB89A3-8C37-C649-0D9A-B947F94F8C7C}"/>
              </a:ext>
            </a:extLst>
          </p:cNvPr>
          <p:cNvPicPr>
            <a:picLocks noGrp="1" noChangeAspect="1"/>
          </p:cNvPicPr>
          <p:nvPr>
            <p:ph type="clipArt" sz="quarter" idx="21"/>
          </p:nvPr>
        </p:nvPicPr>
        <p:blipFill>
          <a:blip r:embed="rId3">
            <a:extLst>
              <a:ext uri="{28A0092B-C50C-407E-A947-70E740481C1C}">
                <a14:useLocalDpi xmlns:a14="http://schemas.microsoft.com/office/drawing/2010/main" val="0"/>
              </a:ext>
            </a:extLst>
          </a:blip>
          <a:stretch>
            <a:fillRect/>
          </a:stretch>
        </p:blipFill>
        <p:spPr>
          <a:xfrm>
            <a:off x="11453009" y="1036638"/>
            <a:ext cx="38119" cy="25400"/>
          </a:xfrm>
        </p:spPr>
      </p:pic>
      <p:sp>
        <p:nvSpPr>
          <p:cNvPr id="39" name="Text Placeholder 1">
            <a:extLst>
              <a:ext uri="{FF2B5EF4-FFF2-40B4-BE49-F238E27FC236}">
                <a16:creationId xmlns:a16="http://schemas.microsoft.com/office/drawing/2014/main" id="{B346598B-9B73-F3C0-3C19-098D1A55FA40}"/>
              </a:ext>
            </a:extLst>
          </p:cNvPr>
          <p:cNvSpPr txBox="1">
            <a:spLocks/>
          </p:cNvSpPr>
          <p:nvPr/>
        </p:nvSpPr>
        <p:spPr>
          <a:xfrm>
            <a:off x="288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bg2"/>
          </a:solidFill>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a:lstStyle>
          <a:p>
            <a:pPr lvl="7"/>
            <a:endParaRPr lang="es-ES" sz="2000" dirty="0"/>
          </a:p>
          <a:p>
            <a:pPr lvl="7"/>
            <a:br>
              <a:rPr lang="es-ES" sz="600" dirty="0"/>
            </a:br>
            <a:r>
              <a:rPr lang="es-ES" sz="2000" dirty="0"/>
              <a:t>Reconocimiento óptico de caracteres</a:t>
            </a:r>
            <a:br>
              <a:rPr lang="es-ES" sz="2000" dirty="0"/>
            </a:br>
            <a:r>
              <a:rPr lang="es-ES" sz="2000" dirty="0"/>
              <a:t>y detección de enfermedades</a:t>
            </a:r>
          </a:p>
        </p:txBody>
      </p:sp>
      <p:pic>
        <p:nvPicPr>
          <p:cNvPr id="40" name="Picture Placeholder 13">
            <a:extLst>
              <a:ext uri="{FF2B5EF4-FFF2-40B4-BE49-F238E27FC236}">
                <a16:creationId xmlns:a16="http://schemas.microsoft.com/office/drawing/2014/main" id="{354DA064-0600-E793-7C68-C64008BB9C6B}"/>
              </a:ext>
            </a:extLst>
          </p:cNvPr>
          <p:cNvPicPr>
            <a:picLocks noChangeAspect="1"/>
          </p:cNvPicPr>
          <p:nvPr/>
        </p:nvPicPr>
        <p:blipFill>
          <a:blip r:embed="rId4">
            <a:extLst>
              <a:ext uri="{28A0092B-C50C-407E-A947-70E740481C1C}">
                <a14:useLocalDpi xmlns:a14="http://schemas.microsoft.com/office/drawing/2010/main" val="0"/>
              </a:ext>
            </a:extLst>
          </a:blip>
          <a:srcRect l="20503" r="20503"/>
          <a:stretch/>
        </p:blipFill>
        <p:spPr>
          <a:xfrm>
            <a:off x="288000" y="3968525"/>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p:spPr>
      </p:pic>
      <p:pic>
        <p:nvPicPr>
          <p:cNvPr id="41" name="Picture Placeholder 13">
            <a:extLst>
              <a:ext uri="{FF2B5EF4-FFF2-40B4-BE49-F238E27FC236}">
                <a16:creationId xmlns:a16="http://schemas.microsoft.com/office/drawing/2014/main" id="{BB02A656-425F-3BCE-CD4C-B66A27E3F5F8}"/>
              </a:ext>
            </a:extLst>
          </p:cNvPr>
          <p:cNvPicPr>
            <a:picLocks noChangeAspect="1"/>
          </p:cNvPicPr>
          <p:nvPr/>
        </p:nvPicPr>
        <p:blipFill>
          <a:blip r:embed="rId5">
            <a:extLst>
              <a:ext uri="{28A0092B-C50C-407E-A947-70E740481C1C}">
                <a14:useLocalDpi xmlns:a14="http://schemas.microsoft.com/office/drawing/2010/main" val="0"/>
              </a:ext>
            </a:extLst>
          </a:blip>
          <a:srcRect l="17381" r="17381"/>
          <a:stretch/>
        </p:blipFill>
        <p:spPr>
          <a:xfrm>
            <a:off x="3269725" y="1378800"/>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pic>
      <p:pic>
        <p:nvPicPr>
          <p:cNvPr id="3" name="Picture 2">
            <a:extLst>
              <a:ext uri="{FF2B5EF4-FFF2-40B4-BE49-F238E27FC236}">
                <a16:creationId xmlns:a16="http://schemas.microsoft.com/office/drawing/2014/main" id="{08337D97-F741-6DC1-C0EB-10F810456508}"/>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rcRect l="11340" r="11340"/>
          <a:stretch/>
        </p:blipFill>
        <p:spPr>
          <a:xfrm>
            <a:off x="3269724" y="3967200"/>
            <a:ext cx="2684674" cy="2314799"/>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pic>
      <p:sp>
        <p:nvSpPr>
          <p:cNvPr id="43" name="TextBox 42">
            <a:extLst>
              <a:ext uri="{FF2B5EF4-FFF2-40B4-BE49-F238E27FC236}">
                <a16:creationId xmlns:a16="http://schemas.microsoft.com/office/drawing/2014/main" id="{863CF683-1B32-3738-328F-A549C3CF3564}"/>
              </a:ext>
            </a:extLst>
          </p:cNvPr>
          <p:cNvSpPr txBox="1">
            <a:spLocks noChangeAspect="1"/>
          </p:cNvSpPr>
          <p:nvPr/>
        </p:nvSpPr>
        <p:spPr>
          <a:xfrm>
            <a:off x="6230937"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a:solidFill>
            <a:schemeClr val="tx2"/>
          </a:solidFill>
        </p:spPr>
        <p:txBody>
          <a:bodyPr wrap="square" lIns="144000" tIns="144000" rIns="144000" bIns="144000" rtlCol="0" anchor="ctr" anchorCtr="0">
            <a:noAutofit/>
          </a:bodyPr>
          <a:lstStyle/>
          <a:p>
            <a:pPr lvl="7"/>
            <a:r>
              <a:rPr lang="es-ES" sz="2000" dirty="0">
                <a:solidFill>
                  <a:schemeClr val="bg1"/>
                </a:solidFill>
              </a:rPr>
              <a:t>Resumen de documentos y uso de </a:t>
            </a:r>
            <a:r>
              <a:rPr lang="es-ES" sz="2000" dirty="0" err="1">
                <a:solidFill>
                  <a:schemeClr val="bg1"/>
                </a:solidFill>
              </a:rPr>
              <a:t>chatbots</a:t>
            </a:r>
            <a:r>
              <a:rPr lang="es-ES" sz="2000" dirty="0">
                <a:solidFill>
                  <a:schemeClr val="bg1"/>
                </a:solidFill>
              </a:rPr>
              <a:t> para apoyar a los suscriptores y asesores de reclamaciones</a:t>
            </a:r>
            <a:endParaRPr lang="es-ES" sz="1800" b="1" dirty="0">
              <a:solidFill>
                <a:schemeClr val="bg1"/>
              </a:solidFill>
            </a:endParaRPr>
          </a:p>
        </p:txBody>
      </p:sp>
    </p:spTree>
    <p:extLst>
      <p:ext uri="{BB962C8B-B14F-4D97-AF65-F5344CB8AC3E}">
        <p14:creationId xmlns:p14="http://schemas.microsoft.com/office/powerpoint/2010/main" val="2593447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a:extLst>
              <a:ext uri="{FF2B5EF4-FFF2-40B4-BE49-F238E27FC236}">
                <a16:creationId xmlns:a16="http://schemas.microsoft.com/office/drawing/2014/main" id="{7FE6EC81-85A8-4DFB-B5F3-428B488BF93A}"/>
              </a:ext>
            </a:extLst>
          </p:cNvPr>
          <p:cNvSpPr txBox="1"/>
          <p:nvPr>
            <p:custDataLst>
              <p:tags r:id="rId2"/>
            </p:custDataLst>
          </p:nvPr>
        </p:nvSpPr>
        <p:spPr>
          <a:xfrm>
            <a:off x="214382" y="212400"/>
            <a:ext cx="2472859" cy="1925597"/>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p>
            <a:pPr algn="l">
              <a:lnSpc>
                <a:spcPct val="89000"/>
              </a:lnSpc>
            </a:pPr>
            <a:r>
              <a:rPr lang="en-GB" sz="14500" b="0" spc="-500" dirty="0">
                <a:solidFill>
                  <a:schemeClr val="accent1"/>
                </a:solidFill>
              </a:rPr>
              <a:t>4</a:t>
            </a:r>
          </a:p>
        </p:txBody>
      </p:sp>
      <p:sp>
        <p:nvSpPr>
          <p:cNvPr id="36" name="TextBox 35">
            <a:extLst>
              <a:ext uri="{FF2B5EF4-FFF2-40B4-BE49-F238E27FC236}">
                <a16:creationId xmlns:a16="http://schemas.microsoft.com/office/drawing/2014/main" id="{5CB407CE-7DF2-C916-2D50-AB651FD93380}"/>
              </a:ext>
            </a:extLst>
          </p:cNvPr>
          <p:cNvSpPr txBox="1"/>
          <p:nvPr>
            <p:custDataLst>
              <p:tags r:id="rId3"/>
            </p:custDataLst>
          </p:nvPr>
        </p:nvSpPr>
        <p:spPr>
          <a:xfrm>
            <a:off x="3265200" y="1227600"/>
            <a:ext cx="5634000" cy="846000"/>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0" tIns="0" rIns="0" bIns="0" rtlCol="0" anchor="b">
            <a:noAutofit/>
          </a:bodyPr>
          <a:lstStyle/>
          <a:p>
            <a:pPr algn="l">
              <a:spcBef>
                <a:spcPct val="0"/>
              </a:spcBef>
              <a:spcAft>
                <a:spcPts val="0"/>
              </a:spcAft>
            </a:pPr>
            <a:r>
              <a:rPr lang="en-GB" sz="2600" dirty="0" err="1">
                <a:solidFill>
                  <a:schemeClr val="bg1"/>
                </a:solidFill>
              </a:rPr>
              <a:t>Avances</a:t>
            </a:r>
            <a:r>
              <a:rPr lang="en-GB" sz="2600" dirty="0">
                <a:solidFill>
                  <a:schemeClr val="bg1"/>
                </a:solidFill>
              </a:rPr>
              <a:t> </a:t>
            </a:r>
            <a:r>
              <a:rPr lang="en-GB" sz="2600" dirty="0" err="1">
                <a:solidFill>
                  <a:schemeClr val="bg1"/>
                </a:solidFill>
              </a:rPr>
              <a:t>en</a:t>
            </a:r>
            <a:r>
              <a:rPr lang="en-GB" sz="2600" dirty="0">
                <a:solidFill>
                  <a:schemeClr val="bg1"/>
                </a:solidFill>
              </a:rPr>
              <a:t> </a:t>
            </a:r>
            <a:r>
              <a:rPr lang="en-GB" sz="2600" dirty="0" err="1">
                <a:solidFill>
                  <a:schemeClr val="bg1"/>
                </a:solidFill>
              </a:rPr>
              <a:t>medicina</a:t>
            </a:r>
            <a:r>
              <a:rPr lang="en-GB" sz="2600" dirty="0">
                <a:solidFill>
                  <a:schemeClr val="bg1"/>
                </a:solidFill>
              </a:rPr>
              <a:t> </a:t>
            </a:r>
            <a:r>
              <a:rPr lang="en-GB" sz="2600" dirty="0" err="1">
                <a:solidFill>
                  <a:schemeClr val="bg1"/>
                </a:solidFill>
              </a:rPr>
              <a:t>personalizada</a:t>
            </a:r>
            <a:endParaRPr lang="en-GB" sz="2600" dirty="0">
              <a:solidFill>
                <a:schemeClr val="bg1"/>
              </a:solidFill>
            </a:endParaRPr>
          </a:p>
        </p:txBody>
      </p:sp>
      <p:sp>
        <p:nvSpPr>
          <p:cNvPr id="4" name="Slide Number Placeholder 3">
            <a:extLst>
              <a:ext uri="{FF2B5EF4-FFF2-40B4-BE49-F238E27FC236}">
                <a16:creationId xmlns:a16="http://schemas.microsoft.com/office/drawing/2014/main" id="{D33579DB-DE00-5E2F-B24B-A1F9FA0290EC}"/>
              </a:ext>
            </a:extLst>
          </p:cNvPr>
          <p:cNvSpPr>
            <a:spLocks noGrp="1"/>
          </p:cNvSpPr>
          <p:nvPr>
            <p:ph type="sldNum" sz="quarter" idx="18"/>
          </p:nvPr>
        </p:nvSpPr>
        <p:spPr/>
        <p:txBody>
          <a:bodyPr/>
          <a:lstStyle/>
          <a:p>
            <a:fld id="{9A0F3412-00EB-454F-952B-1EB5D3D69307}" type="slidenum">
              <a:rPr lang="en-US" noProof="0" smtClean="0"/>
              <a:pPr/>
              <a:t>16</a:t>
            </a:fld>
            <a:endParaRPr lang="en-US" noProof="0" dirty="0"/>
          </a:p>
        </p:txBody>
      </p:sp>
      <p:sp>
        <p:nvSpPr>
          <p:cNvPr id="34" name="Online Image Placeholder 33">
            <a:extLst>
              <a:ext uri="{FF2B5EF4-FFF2-40B4-BE49-F238E27FC236}">
                <a16:creationId xmlns:a16="http://schemas.microsoft.com/office/drawing/2014/main" id="{AC3A45E3-FB76-F988-8795-C714DC7F4C79}"/>
              </a:ext>
            </a:extLst>
          </p:cNvPr>
          <p:cNvSpPr>
            <a:spLocks noGrp="1"/>
          </p:cNvSpPr>
          <p:nvPr>
            <p:ph type="clipArt" sz="quarter" idx="21"/>
          </p:nvPr>
        </p:nvSpPr>
        <p:spPr/>
        <p:txBody>
          <a:bodyPr/>
          <a:lstStyle/>
          <a:p>
            <a:endParaRPr lang="en-GB"/>
          </a:p>
        </p:txBody>
      </p:sp>
      <p:sp>
        <p:nvSpPr>
          <p:cNvPr id="39" name="Online Image Placeholder 38">
            <a:extLst>
              <a:ext uri="{FF2B5EF4-FFF2-40B4-BE49-F238E27FC236}">
                <a16:creationId xmlns:a16="http://schemas.microsoft.com/office/drawing/2014/main" id="{7E5EAC13-0BFB-8840-33CE-C8331DDAE478}"/>
              </a:ext>
            </a:extLst>
          </p:cNvPr>
          <p:cNvSpPr>
            <a:spLocks noGrp="1"/>
          </p:cNvSpPr>
          <p:nvPr>
            <p:ph type="clipArt" sz="quarter" idx="20"/>
          </p:nvPr>
        </p:nvSpPr>
        <p:spPr/>
        <p:txBody>
          <a:bodyPr/>
          <a:lstStyle/>
          <a:p>
            <a:endParaRPr lang="en-GB"/>
          </a:p>
        </p:txBody>
      </p:sp>
      <p:pic>
        <p:nvPicPr>
          <p:cNvPr id="40" name="Picture 39">
            <a:extLst>
              <a:ext uri="{FF2B5EF4-FFF2-40B4-BE49-F238E27FC236}">
                <a16:creationId xmlns:a16="http://schemas.microsoft.com/office/drawing/2014/main" id="{2E37B353-9909-4AD4-288F-AF834BE65C59}"/>
              </a:ext>
            </a:extLst>
          </p:cNvPr>
          <p:cNvPicPr>
            <a:picLocks noChangeAspect="1"/>
          </p:cNvPicPr>
          <p:nvPr/>
        </p:nvPicPr>
        <p:blipFill>
          <a:blip r:embed="rId5"/>
          <a:stretch>
            <a:fillRect/>
          </a:stretch>
        </p:blipFill>
        <p:spPr>
          <a:xfrm>
            <a:off x="8177477" y="0"/>
            <a:ext cx="4078224" cy="6858000"/>
          </a:xfrm>
          <a:prstGeom prst="rect">
            <a:avLst/>
          </a:prstGeom>
        </p:spPr>
      </p:pic>
    </p:spTree>
    <p:custDataLst>
      <p:tags r:id="rId1"/>
    </p:custDataLst>
    <p:extLst>
      <p:ext uri="{BB962C8B-B14F-4D97-AF65-F5344CB8AC3E}">
        <p14:creationId xmlns:p14="http://schemas.microsoft.com/office/powerpoint/2010/main" val="15751135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E6E7D-4787-110B-9DDD-22ACB211C90D}"/>
              </a:ext>
            </a:extLst>
          </p:cNvPr>
          <p:cNvSpPr>
            <a:spLocks noGrp="1"/>
          </p:cNvSpPr>
          <p:nvPr>
            <p:ph type="title"/>
          </p:nvPr>
        </p:nvSpPr>
        <p:spPr/>
        <p:txBody>
          <a:bodyPr/>
          <a:lstStyle/>
          <a:p>
            <a:r>
              <a:rPr lang="es-ES" b="1" dirty="0"/>
              <a:t>La IA está impulsando el descubrimiento de nuevos medicamentos</a:t>
            </a:r>
            <a:br>
              <a:rPr lang="es-ES" dirty="0"/>
            </a:br>
            <a:r>
              <a:rPr lang="es-ES" dirty="0"/>
              <a:t>También está abriendo oportunidades para la medicina personalizada</a:t>
            </a:r>
            <a:endParaRPr lang="en-GB" dirty="0"/>
          </a:p>
        </p:txBody>
      </p:sp>
      <p:sp>
        <p:nvSpPr>
          <p:cNvPr id="5" name="Slide Number Placeholder 4">
            <a:extLst>
              <a:ext uri="{FF2B5EF4-FFF2-40B4-BE49-F238E27FC236}">
                <a16:creationId xmlns:a16="http://schemas.microsoft.com/office/drawing/2014/main" id="{11174695-277B-911E-E714-EFF19FD89A74}"/>
              </a:ext>
            </a:extLst>
          </p:cNvPr>
          <p:cNvSpPr>
            <a:spLocks noGrp="1"/>
          </p:cNvSpPr>
          <p:nvPr>
            <p:ph type="sldNum" sz="quarter" idx="16"/>
          </p:nvPr>
        </p:nvSpPr>
        <p:spPr/>
        <p:txBody>
          <a:bodyPr/>
          <a:lstStyle/>
          <a:p>
            <a:fld id="{9A0F3412-00EB-454F-952B-1EB5D3D69307}" type="slidenum">
              <a:rPr lang="en-US" noProof="0" smtClean="0"/>
              <a:pPr/>
              <a:t>17</a:t>
            </a:fld>
            <a:endParaRPr lang="en-US" noProof="0" dirty="0"/>
          </a:p>
        </p:txBody>
      </p:sp>
      <p:grpSp>
        <p:nvGrpSpPr>
          <p:cNvPr id="8" name="Group 7">
            <a:extLst>
              <a:ext uri="{FF2B5EF4-FFF2-40B4-BE49-F238E27FC236}">
                <a16:creationId xmlns:a16="http://schemas.microsoft.com/office/drawing/2014/main" id="{CBB47E60-B168-BF2A-859B-F51FA9FC0D7D}"/>
              </a:ext>
            </a:extLst>
          </p:cNvPr>
          <p:cNvGrpSpPr/>
          <p:nvPr/>
        </p:nvGrpSpPr>
        <p:grpSpPr>
          <a:xfrm>
            <a:off x="3486906" y="1589428"/>
            <a:ext cx="5711952" cy="4435258"/>
            <a:chOff x="3828288" y="1267072"/>
            <a:chExt cx="5711952" cy="4435258"/>
          </a:xfrm>
        </p:grpSpPr>
        <p:sp>
          <p:nvSpPr>
            <p:cNvPr id="9" name="TextBox 8">
              <a:extLst>
                <a:ext uri="{FF2B5EF4-FFF2-40B4-BE49-F238E27FC236}">
                  <a16:creationId xmlns:a16="http://schemas.microsoft.com/office/drawing/2014/main" id="{E0C7133A-B3F1-1D93-2B2B-5B1F0C36E4E3}"/>
                </a:ext>
              </a:extLst>
            </p:cNvPr>
            <p:cNvSpPr txBox="1"/>
            <p:nvPr/>
          </p:nvSpPr>
          <p:spPr>
            <a:xfrm>
              <a:off x="4252760" y="4809014"/>
              <a:ext cx="5287480" cy="893316"/>
            </a:xfrm>
            <a:prstGeom prst="rect">
              <a:avLst/>
            </a:prstGeom>
            <a:noFill/>
          </p:spPr>
          <p:txBody>
            <a:bodyPr wrap="square" lIns="234000" tIns="234000" rIns="0" bIns="0" rtlCol="0">
              <a:noAutofit/>
            </a:bodyPr>
            <a:lstStyle/>
            <a:p>
              <a:pPr lvl="5" algn="l"/>
              <a:r>
                <a:rPr lang="es-ES" b="0" dirty="0" err="1"/>
                <a:t>Mustafa</a:t>
              </a:r>
              <a:r>
                <a:rPr lang="es-ES" b="0" dirty="0"/>
                <a:t> </a:t>
              </a:r>
              <a:r>
                <a:rPr lang="es-ES" b="0" dirty="0" err="1"/>
                <a:t>Suleyman</a:t>
              </a:r>
              <a:r>
                <a:rPr lang="es-ES" b="0" dirty="0"/>
                <a:t>, cofundador </a:t>
              </a:r>
              <a:r>
                <a:rPr lang="es-ES" b="0" dirty="0" err="1"/>
                <a:t>DeepMind</a:t>
              </a:r>
              <a:endParaRPr lang="es-ES" b="0" dirty="0"/>
            </a:p>
            <a:p>
              <a:pPr lvl="5" algn="l"/>
              <a:r>
                <a:rPr lang="es-ES" b="0" dirty="0"/>
                <a:t>La ola que viene</a:t>
              </a:r>
            </a:p>
          </p:txBody>
        </p:sp>
        <p:grpSp>
          <p:nvGrpSpPr>
            <p:cNvPr id="10" name="Group 9">
              <a:extLst>
                <a:ext uri="{FF2B5EF4-FFF2-40B4-BE49-F238E27FC236}">
                  <a16:creationId xmlns:a16="http://schemas.microsoft.com/office/drawing/2014/main" id="{0BC1AD31-4DB7-0A30-190D-4B6D1458B405}"/>
                </a:ext>
              </a:extLst>
            </p:cNvPr>
            <p:cNvGrpSpPr/>
            <p:nvPr/>
          </p:nvGrpSpPr>
          <p:grpSpPr>
            <a:xfrm>
              <a:off x="3828288" y="1267072"/>
              <a:ext cx="5711952" cy="4284217"/>
              <a:chOff x="10766420" y="1265683"/>
              <a:chExt cx="5711952" cy="4284217"/>
            </a:xfrm>
          </p:grpSpPr>
          <p:sp>
            <p:nvSpPr>
              <p:cNvPr id="11" name="Freeform: Shape 10">
                <a:extLst>
                  <a:ext uri="{FF2B5EF4-FFF2-40B4-BE49-F238E27FC236}">
                    <a16:creationId xmlns:a16="http://schemas.microsoft.com/office/drawing/2014/main" id="{BB780266-C8C7-21FE-4CDD-A0950ABCA723}"/>
                  </a:ext>
                </a:extLst>
              </p:cNvPr>
              <p:cNvSpPr/>
              <p:nvPr/>
            </p:nvSpPr>
            <p:spPr>
              <a:xfrm>
                <a:off x="10766420" y="1265683"/>
                <a:ext cx="5711952" cy="3543300"/>
              </a:xfrm>
              <a:custGeom>
                <a:avLst/>
                <a:gdLst>
                  <a:gd name="connsiteX0" fmla="*/ 0 w 5711952"/>
                  <a:gd name="connsiteY0" fmla="*/ 461772 h 3543300"/>
                  <a:gd name="connsiteX1" fmla="*/ 461772 w 5711952"/>
                  <a:gd name="connsiteY1" fmla="*/ 0 h 3543300"/>
                  <a:gd name="connsiteX2" fmla="*/ 5250181 w 5711952"/>
                  <a:gd name="connsiteY2" fmla="*/ 0 h 3543300"/>
                  <a:gd name="connsiteX3" fmla="*/ 5711952 w 5711952"/>
                  <a:gd name="connsiteY3" fmla="*/ 461772 h 3543300"/>
                  <a:gd name="connsiteX4" fmla="*/ 5711952 w 5711952"/>
                  <a:gd name="connsiteY4" fmla="*/ 3081528 h 3543300"/>
                  <a:gd name="connsiteX5" fmla="*/ 5250181 w 5711952"/>
                  <a:gd name="connsiteY5" fmla="*/ 3543300 h 3543300"/>
                  <a:gd name="connsiteX6" fmla="*/ 461772 w 5711952"/>
                  <a:gd name="connsiteY6" fmla="*/ 3543300 h 3543300"/>
                  <a:gd name="connsiteX7" fmla="*/ 0 w 5711952"/>
                  <a:gd name="connsiteY7" fmla="*/ 3081528 h 3543300"/>
                  <a:gd name="connsiteX8" fmla="*/ 0 w 5711952"/>
                  <a:gd name="connsiteY8" fmla="*/ 461772 h 354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1952" h="3543300">
                    <a:moveTo>
                      <a:pt x="0" y="461772"/>
                    </a:moveTo>
                    <a:cubicBezTo>
                      <a:pt x="0" y="206756"/>
                      <a:pt x="206756" y="0"/>
                      <a:pt x="461772" y="0"/>
                    </a:cubicBezTo>
                    <a:lnTo>
                      <a:pt x="5250181" y="0"/>
                    </a:lnTo>
                    <a:cubicBezTo>
                      <a:pt x="5505196" y="0"/>
                      <a:pt x="5711952" y="206756"/>
                      <a:pt x="5711952" y="461772"/>
                    </a:cubicBezTo>
                    <a:lnTo>
                      <a:pt x="5711952" y="3081528"/>
                    </a:lnTo>
                    <a:cubicBezTo>
                      <a:pt x="5711952" y="3336544"/>
                      <a:pt x="5505196" y="3543300"/>
                      <a:pt x="5250181" y="3543300"/>
                    </a:cubicBezTo>
                    <a:lnTo>
                      <a:pt x="461772" y="3543300"/>
                    </a:lnTo>
                    <a:cubicBezTo>
                      <a:pt x="206756" y="3543300"/>
                      <a:pt x="0" y="3336544"/>
                      <a:pt x="0" y="3081528"/>
                    </a:cubicBezTo>
                    <a:lnTo>
                      <a:pt x="0" y="461772"/>
                    </a:lnTo>
                    <a:close/>
                  </a:path>
                </a:pathLst>
              </a:custGeom>
              <a:solidFill>
                <a:schemeClr val="accent1"/>
              </a:solidFill>
              <a:ln w="12700" cap="flat">
                <a:noFill/>
                <a:prstDash val="solid"/>
                <a:miter/>
              </a:ln>
            </p:spPr>
            <p:txBody>
              <a:bodyPr lIns="1134000" tIns="540000" rIns="144000" bIns="540000" rtlCol="0" anchor="t" anchorCtr="0"/>
              <a:lstStyle/>
              <a:p>
                <a:pPr lvl="5" algn="l"/>
                <a:r>
                  <a:rPr lang="es-ES" sz="2400" b="0" dirty="0">
                    <a:solidFill>
                      <a:schemeClr val="bg1"/>
                    </a:solidFill>
                  </a:rPr>
                  <a:t>“Son dos las tecnologías clave que definen la ola que viene: la inteligencia artificial y la biología sintética. Juntas marcarán el inicio de un nuevo amanecer para la humanidad.”</a:t>
                </a:r>
              </a:p>
            </p:txBody>
          </p:sp>
          <p:sp>
            <p:nvSpPr>
              <p:cNvPr id="12" name="Freeform: Shape 11">
                <a:extLst>
                  <a:ext uri="{FF2B5EF4-FFF2-40B4-BE49-F238E27FC236}">
                    <a16:creationId xmlns:a16="http://schemas.microsoft.com/office/drawing/2014/main" id="{261F9D59-D9ED-9A58-FF14-4A79ED0ED5DD}"/>
                  </a:ext>
                </a:extLst>
              </p:cNvPr>
              <p:cNvSpPr/>
              <p:nvPr/>
            </p:nvSpPr>
            <p:spPr>
              <a:xfrm>
                <a:off x="11159866" y="4379468"/>
                <a:ext cx="4707368" cy="1170432"/>
              </a:xfrm>
              <a:custGeom>
                <a:avLst/>
                <a:gdLst>
                  <a:gd name="connsiteX0" fmla="*/ 25400 w 4707368"/>
                  <a:gd name="connsiteY0" fmla="*/ 1170432 h 1170432"/>
                  <a:gd name="connsiteX1" fmla="*/ 0 w 4707368"/>
                  <a:gd name="connsiteY1" fmla="*/ 1170432 h 1170432"/>
                  <a:gd name="connsiteX2" fmla="*/ 0 w 4707368"/>
                  <a:gd name="connsiteY2" fmla="*/ 491998 h 1170432"/>
                  <a:gd name="connsiteX3" fmla="*/ 491998 w 4707368"/>
                  <a:gd name="connsiteY3" fmla="*/ 0 h 1170432"/>
                  <a:gd name="connsiteX4" fmla="*/ 4707369 w 4707368"/>
                  <a:gd name="connsiteY4" fmla="*/ 0 h 1170432"/>
                  <a:gd name="connsiteX5" fmla="*/ 4707369 w 4707368"/>
                  <a:gd name="connsiteY5" fmla="*/ 25400 h 1170432"/>
                  <a:gd name="connsiteX6" fmla="*/ 491998 w 4707368"/>
                  <a:gd name="connsiteY6" fmla="*/ 25400 h 1170432"/>
                  <a:gd name="connsiteX7" fmla="*/ 25400 w 4707368"/>
                  <a:gd name="connsiteY7" fmla="*/ 491998 h 1170432"/>
                  <a:gd name="connsiteX8" fmla="*/ 25400 w 4707368"/>
                  <a:gd name="connsiteY8" fmla="*/ 1170432 h 117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7368" h="1170432">
                    <a:moveTo>
                      <a:pt x="25400" y="1170432"/>
                    </a:moveTo>
                    <a:lnTo>
                      <a:pt x="0" y="1170432"/>
                    </a:lnTo>
                    <a:lnTo>
                      <a:pt x="0" y="491998"/>
                    </a:lnTo>
                    <a:cubicBezTo>
                      <a:pt x="0" y="220701"/>
                      <a:pt x="220713" y="0"/>
                      <a:pt x="491998" y="0"/>
                    </a:cubicBezTo>
                    <a:lnTo>
                      <a:pt x="4707369" y="0"/>
                    </a:lnTo>
                    <a:lnTo>
                      <a:pt x="4707369" y="25400"/>
                    </a:lnTo>
                    <a:lnTo>
                      <a:pt x="491998" y="25400"/>
                    </a:lnTo>
                    <a:cubicBezTo>
                      <a:pt x="234709" y="25400"/>
                      <a:pt x="25400" y="234721"/>
                      <a:pt x="25400" y="491998"/>
                    </a:cubicBezTo>
                    <a:lnTo>
                      <a:pt x="25400" y="1170432"/>
                    </a:lnTo>
                    <a:close/>
                  </a:path>
                </a:pathLst>
              </a:custGeom>
              <a:solidFill>
                <a:schemeClr val="tx2"/>
              </a:solidFill>
              <a:ln w="12700" cap="flat">
                <a:noFill/>
                <a:prstDash val="solid"/>
                <a:miter/>
              </a:ln>
            </p:spPr>
            <p:txBody>
              <a:bodyPr rtlCol="0" anchor="ctr"/>
              <a:lstStyle/>
              <a:p>
                <a:endParaRPr lang="es-ES" dirty="0"/>
              </a:p>
            </p:txBody>
          </p:sp>
          <p:sp>
            <p:nvSpPr>
              <p:cNvPr id="13" name="Freeform: Shape 12">
                <a:extLst>
                  <a:ext uri="{FF2B5EF4-FFF2-40B4-BE49-F238E27FC236}">
                    <a16:creationId xmlns:a16="http://schemas.microsoft.com/office/drawing/2014/main" id="{8CD13F67-9401-6861-9A18-357D07121254}"/>
                  </a:ext>
                </a:extLst>
              </p:cNvPr>
              <p:cNvSpPr/>
              <p:nvPr/>
            </p:nvSpPr>
            <p:spPr>
              <a:xfrm>
                <a:off x="11190892" y="1780236"/>
                <a:ext cx="476884" cy="408762"/>
              </a:xfrm>
              <a:custGeom>
                <a:avLst/>
                <a:gdLst>
                  <a:gd name="connsiteX0" fmla="*/ 103721 w 476884"/>
                  <a:gd name="connsiteY0" fmla="*/ 0 h 408762"/>
                  <a:gd name="connsiteX1" fmla="*/ 254203 w 476884"/>
                  <a:gd name="connsiteY1" fmla="*/ 204381 h 408762"/>
                  <a:gd name="connsiteX2" fmla="*/ 103721 w 476884"/>
                  <a:gd name="connsiteY2" fmla="*/ 408762 h 408762"/>
                  <a:gd name="connsiteX3" fmla="*/ 0 w 476884"/>
                  <a:gd name="connsiteY3" fmla="*/ 408762 h 408762"/>
                  <a:gd name="connsiteX4" fmla="*/ 122022 w 476884"/>
                  <a:gd name="connsiteY4" fmla="*/ 204381 h 408762"/>
                  <a:gd name="connsiteX5" fmla="*/ 0 w 476884"/>
                  <a:gd name="connsiteY5" fmla="*/ 0 h 408762"/>
                  <a:gd name="connsiteX6" fmla="*/ 103721 w 476884"/>
                  <a:gd name="connsiteY6" fmla="*/ 0 h 408762"/>
                  <a:gd name="connsiteX7" fmla="*/ 327419 w 476884"/>
                  <a:gd name="connsiteY7" fmla="*/ 0 h 408762"/>
                  <a:gd name="connsiteX8" fmla="*/ 476885 w 476884"/>
                  <a:gd name="connsiteY8" fmla="*/ 204381 h 408762"/>
                  <a:gd name="connsiteX9" fmla="*/ 327419 w 476884"/>
                  <a:gd name="connsiteY9" fmla="*/ 408762 h 408762"/>
                  <a:gd name="connsiteX10" fmla="*/ 222682 w 476884"/>
                  <a:gd name="connsiteY10" fmla="*/ 408762 h 408762"/>
                  <a:gd name="connsiteX11" fmla="*/ 344703 w 476884"/>
                  <a:gd name="connsiteY11" fmla="*/ 204381 h 408762"/>
                  <a:gd name="connsiteX12" fmla="*/ 222682 w 476884"/>
                  <a:gd name="connsiteY12" fmla="*/ 0 h 408762"/>
                  <a:gd name="connsiteX13" fmla="*/ 327419 w 476884"/>
                  <a:gd name="connsiteY13" fmla="*/ 0 h 40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884" h="408762">
                    <a:moveTo>
                      <a:pt x="103721" y="0"/>
                    </a:moveTo>
                    <a:lnTo>
                      <a:pt x="254203" y="204381"/>
                    </a:lnTo>
                    <a:lnTo>
                      <a:pt x="103721" y="408762"/>
                    </a:lnTo>
                    <a:lnTo>
                      <a:pt x="0" y="408762"/>
                    </a:lnTo>
                    <a:lnTo>
                      <a:pt x="122022" y="204381"/>
                    </a:lnTo>
                    <a:lnTo>
                      <a:pt x="0" y="0"/>
                    </a:lnTo>
                    <a:lnTo>
                      <a:pt x="103721" y="0"/>
                    </a:lnTo>
                    <a:close/>
                    <a:moveTo>
                      <a:pt x="327419" y="0"/>
                    </a:moveTo>
                    <a:lnTo>
                      <a:pt x="476885" y="204381"/>
                    </a:lnTo>
                    <a:lnTo>
                      <a:pt x="327419" y="408762"/>
                    </a:lnTo>
                    <a:lnTo>
                      <a:pt x="222682" y="408762"/>
                    </a:lnTo>
                    <a:lnTo>
                      <a:pt x="344703" y="204381"/>
                    </a:lnTo>
                    <a:lnTo>
                      <a:pt x="222682" y="0"/>
                    </a:lnTo>
                    <a:lnTo>
                      <a:pt x="327419" y="0"/>
                    </a:lnTo>
                    <a:close/>
                  </a:path>
                </a:pathLst>
              </a:custGeom>
              <a:solidFill>
                <a:srgbClr val="FFFFFF"/>
              </a:solidFill>
              <a:ln w="12700" cap="flat">
                <a:noFill/>
                <a:prstDash val="solid"/>
                <a:miter/>
              </a:ln>
            </p:spPr>
            <p:txBody>
              <a:bodyPr rtlCol="0" anchor="ctr"/>
              <a:lstStyle/>
              <a:p>
                <a:endParaRPr lang="es-ES" dirty="0"/>
              </a:p>
            </p:txBody>
          </p:sp>
        </p:grpSp>
      </p:grpSp>
    </p:spTree>
    <p:extLst>
      <p:ext uri="{BB962C8B-B14F-4D97-AF65-F5344CB8AC3E}">
        <p14:creationId xmlns:p14="http://schemas.microsoft.com/office/powerpoint/2010/main" val="28718981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2954F-5340-1CCD-D797-32360996E57D}"/>
              </a:ext>
            </a:extLst>
          </p:cNvPr>
          <p:cNvSpPr>
            <a:spLocks noGrp="1"/>
          </p:cNvSpPr>
          <p:nvPr>
            <p:ph type="title"/>
          </p:nvPr>
        </p:nvSpPr>
        <p:spPr/>
        <p:txBody>
          <a:bodyPr/>
          <a:lstStyle/>
          <a:p>
            <a:r>
              <a:rPr lang="es-ES" b="1" dirty="0"/>
              <a:t>Experiencia tradicional de tratamientos</a:t>
            </a:r>
            <a:br>
              <a:rPr lang="es-ES" b="1" dirty="0"/>
            </a:br>
            <a:r>
              <a:rPr lang="es-ES" dirty="0"/>
              <a:t>Tratamiento no personalizado</a:t>
            </a:r>
            <a:endParaRPr lang="es-ES" b="1" dirty="0"/>
          </a:p>
        </p:txBody>
      </p:sp>
      <p:sp>
        <p:nvSpPr>
          <p:cNvPr id="5" name="Slide Number Placeholder 4">
            <a:extLst>
              <a:ext uri="{FF2B5EF4-FFF2-40B4-BE49-F238E27FC236}">
                <a16:creationId xmlns:a16="http://schemas.microsoft.com/office/drawing/2014/main" id="{2E1DC9F3-8A47-8CFB-BC2F-EFD6BFC538B0}"/>
              </a:ext>
            </a:extLst>
          </p:cNvPr>
          <p:cNvSpPr>
            <a:spLocks noGrp="1"/>
          </p:cNvSpPr>
          <p:nvPr>
            <p:ph type="sldNum" sz="quarter" idx="16"/>
          </p:nvPr>
        </p:nvSpPr>
        <p:spPr/>
        <p:txBody>
          <a:bodyPr/>
          <a:lstStyle/>
          <a:p>
            <a:fld id="{9A0F3412-00EB-454F-952B-1EB5D3D69307}" type="slidenum">
              <a:rPr lang="en-US" noProof="0" smtClean="0"/>
              <a:pPr/>
              <a:t>18</a:t>
            </a:fld>
            <a:endParaRPr lang="en-US" noProof="0" dirty="0"/>
          </a:p>
        </p:txBody>
      </p:sp>
      <p:sp>
        <p:nvSpPr>
          <p:cNvPr id="6" name="Rectángulo 46">
            <a:extLst>
              <a:ext uri="{FF2B5EF4-FFF2-40B4-BE49-F238E27FC236}">
                <a16:creationId xmlns:a16="http://schemas.microsoft.com/office/drawing/2014/main" id="{0BC5C545-FB59-5FAB-8ABE-9706380E51E1}"/>
              </a:ext>
            </a:extLst>
          </p:cNvPr>
          <p:cNvSpPr/>
          <p:nvPr/>
        </p:nvSpPr>
        <p:spPr>
          <a:xfrm>
            <a:off x="7192090" y="2603174"/>
            <a:ext cx="4132885" cy="3262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s-ES_tradnl" sz="1799" kern="0">
              <a:solidFill>
                <a:prstClr val="white"/>
              </a:solidFill>
              <a:latin typeface="Arial (body)"/>
            </a:endParaRPr>
          </a:p>
        </p:txBody>
      </p:sp>
      <p:sp>
        <p:nvSpPr>
          <p:cNvPr id="7" name="object 4">
            <a:extLst>
              <a:ext uri="{FF2B5EF4-FFF2-40B4-BE49-F238E27FC236}">
                <a16:creationId xmlns:a16="http://schemas.microsoft.com/office/drawing/2014/main" id="{E97A66C4-3F1B-8012-2678-52ECA07AB81F}"/>
              </a:ext>
            </a:extLst>
          </p:cNvPr>
          <p:cNvSpPr txBox="1"/>
          <p:nvPr/>
        </p:nvSpPr>
        <p:spPr>
          <a:xfrm>
            <a:off x="484750" y="1917240"/>
            <a:ext cx="2623834" cy="627736"/>
          </a:xfrm>
          <a:prstGeom prst="rect">
            <a:avLst/>
          </a:prstGeom>
        </p:spPr>
        <p:txBody>
          <a:bodyPr vert="horz" wrap="square" lIns="0" tIns="12065" rIns="0" bIns="0" rtlCol="0">
            <a:spAutoFit/>
          </a:bodyPr>
          <a:lstStyle/>
          <a:p>
            <a:pPr marL="12699" algn="ctr" defTabSz="914309">
              <a:spcBef>
                <a:spcPts val="95"/>
              </a:spcBef>
              <a:defRPr/>
            </a:pPr>
            <a:r>
              <a:rPr lang="es-ES" sz="2000" kern="0" dirty="0">
                <a:latin typeface="+mj-lt"/>
                <a:cs typeface="Arial" panose="020B0604020202020204" pitchFamily="34" charset="0"/>
              </a:rPr>
              <a:t>el mismo </a:t>
            </a:r>
            <a:br>
              <a:rPr lang="es-ES" sz="2000" kern="0" dirty="0">
                <a:latin typeface="+mj-lt"/>
                <a:cs typeface="Arial" panose="020B0604020202020204" pitchFamily="34" charset="0"/>
              </a:rPr>
            </a:br>
            <a:r>
              <a:rPr lang="es-ES" sz="2000" kern="0" dirty="0">
                <a:latin typeface="+mj-lt"/>
                <a:cs typeface="Arial" panose="020B0604020202020204" pitchFamily="34" charset="0"/>
              </a:rPr>
              <a:t>diagnóstico</a:t>
            </a:r>
          </a:p>
        </p:txBody>
      </p:sp>
      <p:sp>
        <p:nvSpPr>
          <p:cNvPr id="8" name="object 5">
            <a:extLst>
              <a:ext uri="{FF2B5EF4-FFF2-40B4-BE49-F238E27FC236}">
                <a16:creationId xmlns:a16="http://schemas.microsoft.com/office/drawing/2014/main" id="{0A98CF88-C702-87F9-FAA5-85ACA64B64A5}"/>
              </a:ext>
            </a:extLst>
          </p:cNvPr>
          <p:cNvSpPr txBox="1"/>
          <p:nvPr/>
        </p:nvSpPr>
        <p:spPr>
          <a:xfrm>
            <a:off x="4136751" y="1917240"/>
            <a:ext cx="2929416" cy="627736"/>
          </a:xfrm>
          <a:prstGeom prst="rect">
            <a:avLst/>
          </a:prstGeom>
        </p:spPr>
        <p:txBody>
          <a:bodyPr vert="horz" wrap="square" lIns="0" tIns="12065" rIns="0" bIns="0" rtlCol="0">
            <a:spAutoFit/>
          </a:bodyPr>
          <a:lstStyle/>
          <a:p>
            <a:pPr marL="303500" marR="5079" indent="-291436" algn="ctr" defTabSz="914309">
              <a:spcBef>
                <a:spcPts val="95"/>
              </a:spcBef>
              <a:defRPr/>
            </a:pPr>
            <a:r>
              <a:rPr lang="es-ES" sz="2000" kern="0" dirty="0">
                <a:latin typeface="+mj-lt"/>
                <a:cs typeface="Arial" panose="020B0604020202020204" pitchFamily="34" charset="0"/>
              </a:rPr>
              <a:t>el mismo plan de tratamiento</a:t>
            </a:r>
            <a:endParaRPr sz="2000" kern="0" dirty="0">
              <a:latin typeface="+mj-lt"/>
              <a:cs typeface="Arial" panose="020B0604020202020204" pitchFamily="34" charset="0"/>
            </a:endParaRPr>
          </a:p>
        </p:txBody>
      </p:sp>
      <p:sp>
        <p:nvSpPr>
          <p:cNvPr id="9" name="object 6">
            <a:extLst>
              <a:ext uri="{FF2B5EF4-FFF2-40B4-BE49-F238E27FC236}">
                <a16:creationId xmlns:a16="http://schemas.microsoft.com/office/drawing/2014/main" id="{D3FA6BB8-4988-289B-E30F-61984EF0F30B}"/>
              </a:ext>
            </a:extLst>
          </p:cNvPr>
          <p:cNvSpPr txBox="1"/>
          <p:nvPr/>
        </p:nvSpPr>
        <p:spPr>
          <a:xfrm>
            <a:off x="8290976" y="1917240"/>
            <a:ext cx="2623835" cy="627736"/>
          </a:xfrm>
          <a:prstGeom prst="rect">
            <a:avLst/>
          </a:prstGeom>
        </p:spPr>
        <p:txBody>
          <a:bodyPr vert="horz" wrap="square" lIns="0" tIns="12065" rIns="0" bIns="0" rtlCol="0">
            <a:spAutoFit/>
          </a:bodyPr>
          <a:lstStyle/>
          <a:p>
            <a:pPr marL="12699" algn="ctr" defTabSz="914309">
              <a:spcBef>
                <a:spcPts val="95"/>
              </a:spcBef>
              <a:defRPr/>
            </a:pPr>
            <a:r>
              <a:rPr lang="es-ES" sz="2000" kern="0" dirty="0">
                <a:latin typeface="+mj-lt"/>
                <a:cs typeface="Arial" panose="020B0604020202020204" pitchFamily="34" charset="0"/>
              </a:rPr>
              <a:t>resultados </a:t>
            </a:r>
            <a:br>
              <a:rPr lang="es-ES" sz="2000" kern="0" dirty="0">
                <a:latin typeface="+mj-lt"/>
                <a:cs typeface="Arial" panose="020B0604020202020204" pitchFamily="34" charset="0"/>
              </a:rPr>
            </a:br>
            <a:r>
              <a:rPr lang="es-ES" sz="2000" kern="0" dirty="0">
                <a:latin typeface="+mj-lt"/>
                <a:cs typeface="Arial" panose="020B0604020202020204" pitchFamily="34" charset="0"/>
              </a:rPr>
              <a:t>diferentes</a:t>
            </a:r>
          </a:p>
        </p:txBody>
      </p:sp>
      <p:sp>
        <p:nvSpPr>
          <p:cNvPr id="10" name="object 7">
            <a:extLst>
              <a:ext uri="{FF2B5EF4-FFF2-40B4-BE49-F238E27FC236}">
                <a16:creationId xmlns:a16="http://schemas.microsoft.com/office/drawing/2014/main" id="{47348087-491D-F59C-5C90-A5408A235EC2}"/>
              </a:ext>
            </a:extLst>
          </p:cNvPr>
          <p:cNvSpPr txBox="1"/>
          <p:nvPr/>
        </p:nvSpPr>
        <p:spPr>
          <a:xfrm>
            <a:off x="9668193" y="3098119"/>
            <a:ext cx="1511016" cy="232115"/>
          </a:xfrm>
          <a:prstGeom prst="rect">
            <a:avLst/>
          </a:prstGeom>
        </p:spPr>
        <p:txBody>
          <a:bodyPr vert="horz" wrap="square" lIns="0" tIns="16510" rIns="0" bIns="0" rtlCol="0">
            <a:spAutoFit/>
          </a:bodyPr>
          <a:lstStyle/>
          <a:p>
            <a:pPr marL="12699" defTabSz="914309">
              <a:spcBef>
                <a:spcPts val="130"/>
              </a:spcBef>
              <a:defRPr/>
            </a:pPr>
            <a:r>
              <a:rPr lang="es-ES" kern="0" dirty="0">
                <a:solidFill>
                  <a:schemeClr val="accent5"/>
                </a:solidFill>
                <a:latin typeface="+mj-lt"/>
                <a:cs typeface="Century Gothic"/>
              </a:rPr>
              <a:t>efecto positivo</a:t>
            </a:r>
          </a:p>
        </p:txBody>
      </p:sp>
      <p:sp>
        <p:nvSpPr>
          <p:cNvPr id="11" name="object 8">
            <a:extLst>
              <a:ext uri="{FF2B5EF4-FFF2-40B4-BE49-F238E27FC236}">
                <a16:creationId xmlns:a16="http://schemas.microsoft.com/office/drawing/2014/main" id="{12448AEF-9158-BEA3-4959-8EE570B9B8D6}"/>
              </a:ext>
            </a:extLst>
          </p:cNvPr>
          <p:cNvSpPr txBox="1"/>
          <p:nvPr/>
        </p:nvSpPr>
        <p:spPr>
          <a:xfrm>
            <a:off x="9742613" y="4101754"/>
            <a:ext cx="1735720" cy="232115"/>
          </a:xfrm>
          <a:prstGeom prst="rect">
            <a:avLst/>
          </a:prstGeom>
        </p:spPr>
        <p:txBody>
          <a:bodyPr vert="horz" wrap="square" lIns="0" tIns="16510" rIns="0" bIns="0" rtlCol="0">
            <a:spAutoFit/>
          </a:bodyPr>
          <a:lstStyle/>
          <a:p>
            <a:pPr marL="12699" defTabSz="914309">
              <a:spcBef>
                <a:spcPts val="130"/>
              </a:spcBef>
              <a:defRPr/>
            </a:pPr>
            <a:r>
              <a:rPr lang="es-ES" i="0" dirty="0">
                <a:solidFill>
                  <a:schemeClr val="accent6"/>
                </a:solidFill>
                <a:effectLst/>
                <a:latin typeface="+mj-lt"/>
              </a:rPr>
              <a:t>ningún efecto</a:t>
            </a:r>
            <a:endParaRPr lang="es-ES" kern="0" dirty="0">
              <a:solidFill>
                <a:schemeClr val="accent6"/>
              </a:solidFill>
              <a:latin typeface="+mj-lt"/>
              <a:cs typeface="Arial" panose="020B0604020202020204" pitchFamily="34" charset="0"/>
            </a:endParaRPr>
          </a:p>
        </p:txBody>
      </p:sp>
      <p:sp>
        <p:nvSpPr>
          <p:cNvPr id="12" name="object 9">
            <a:extLst>
              <a:ext uri="{FF2B5EF4-FFF2-40B4-BE49-F238E27FC236}">
                <a16:creationId xmlns:a16="http://schemas.microsoft.com/office/drawing/2014/main" id="{E0B09F36-2F3D-E3F7-BBD3-3D4A869BB679}"/>
              </a:ext>
            </a:extLst>
          </p:cNvPr>
          <p:cNvSpPr txBox="1"/>
          <p:nvPr/>
        </p:nvSpPr>
        <p:spPr>
          <a:xfrm>
            <a:off x="9742613" y="5124410"/>
            <a:ext cx="1735720" cy="232115"/>
          </a:xfrm>
          <a:prstGeom prst="rect">
            <a:avLst/>
          </a:prstGeom>
        </p:spPr>
        <p:txBody>
          <a:bodyPr vert="horz" wrap="square" lIns="0" tIns="16510" rIns="0" bIns="0" rtlCol="0">
            <a:spAutoFit/>
          </a:bodyPr>
          <a:lstStyle/>
          <a:p>
            <a:pPr marL="12699" defTabSz="914309">
              <a:spcBef>
                <a:spcPts val="130"/>
              </a:spcBef>
              <a:defRPr/>
            </a:pPr>
            <a:r>
              <a:rPr lang="es-ES" kern="0" dirty="0">
                <a:solidFill>
                  <a:schemeClr val="accent3"/>
                </a:solidFill>
                <a:latin typeface="+mj-lt"/>
                <a:cs typeface="Arial" panose="020B0604020202020204" pitchFamily="34" charset="0"/>
              </a:rPr>
              <a:t>efecto negativo</a:t>
            </a:r>
          </a:p>
        </p:txBody>
      </p:sp>
      <p:grpSp>
        <p:nvGrpSpPr>
          <p:cNvPr id="13" name="Group 4">
            <a:extLst>
              <a:ext uri="{FF2B5EF4-FFF2-40B4-BE49-F238E27FC236}">
                <a16:creationId xmlns:a16="http://schemas.microsoft.com/office/drawing/2014/main" id="{41B60A0A-151D-8559-49A8-B8E51FB70D67}"/>
              </a:ext>
            </a:extLst>
          </p:cNvPr>
          <p:cNvGrpSpPr>
            <a:grpSpLocks noChangeAspect="1"/>
          </p:cNvGrpSpPr>
          <p:nvPr/>
        </p:nvGrpSpPr>
        <p:grpSpPr bwMode="auto">
          <a:xfrm>
            <a:off x="8085073" y="2684491"/>
            <a:ext cx="350473" cy="1037547"/>
            <a:chOff x="3601" y="1450"/>
            <a:chExt cx="480" cy="1421"/>
          </a:xfrm>
          <a:solidFill>
            <a:schemeClr val="accent5"/>
          </a:solidFill>
        </p:grpSpPr>
        <p:sp>
          <p:nvSpPr>
            <p:cNvPr id="14" name="Freeform 5">
              <a:extLst>
                <a:ext uri="{FF2B5EF4-FFF2-40B4-BE49-F238E27FC236}">
                  <a16:creationId xmlns:a16="http://schemas.microsoft.com/office/drawing/2014/main" id="{D96B999B-82E7-A719-4767-1F54D4624915}"/>
                </a:ext>
              </a:extLst>
            </p:cNvPr>
            <p:cNvSpPr>
              <a:spLocks/>
            </p:cNvSpPr>
            <p:nvPr/>
          </p:nvSpPr>
          <p:spPr bwMode="auto">
            <a:xfrm>
              <a:off x="3710" y="1450"/>
              <a:ext cx="262" cy="263"/>
            </a:xfrm>
            <a:custGeom>
              <a:avLst/>
              <a:gdLst>
                <a:gd name="T0" fmla="*/ 131 w 262"/>
                <a:gd name="T1" fmla="*/ 263 h 263"/>
                <a:gd name="T2" fmla="*/ 131 w 262"/>
                <a:gd name="T3" fmla="*/ 263 h 263"/>
                <a:gd name="T4" fmla="*/ 156 w 262"/>
                <a:gd name="T5" fmla="*/ 260 h 263"/>
                <a:gd name="T6" fmla="*/ 181 w 262"/>
                <a:gd name="T7" fmla="*/ 254 h 263"/>
                <a:gd name="T8" fmla="*/ 203 w 262"/>
                <a:gd name="T9" fmla="*/ 241 h 263"/>
                <a:gd name="T10" fmla="*/ 221 w 262"/>
                <a:gd name="T11" fmla="*/ 225 h 263"/>
                <a:gd name="T12" fmla="*/ 240 w 262"/>
                <a:gd name="T13" fmla="*/ 203 h 263"/>
                <a:gd name="T14" fmla="*/ 249 w 262"/>
                <a:gd name="T15" fmla="*/ 182 h 263"/>
                <a:gd name="T16" fmla="*/ 259 w 262"/>
                <a:gd name="T17" fmla="*/ 156 h 263"/>
                <a:gd name="T18" fmla="*/ 262 w 262"/>
                <a:gd name="T19" fmla="*/ 131 h 263"/>
                <a:gd name="T20" fmla="*/ 262 w 262"/>
                <a:gd name="T21" fmla="*/ 131 h 263"/>
                <a:gd name="T22" fmla="*/ 259 w 262"/>
                <a:gd name="T23" fmla="*/ 106 h 263"/>
                <a:gd name="T24" fmla="*/ 249 w 262"/>
                <a:gd name="T25" fmla="*/ 81 h 263"/>
                <a:gd name="T26" fmla="*/ 240 w 262"/>
                <a:gd name="T27" fmla="*/ 59 h 263"/>
                <a:gd name="T28" fmla="*/ 221 w 262"/>
                <a:gd name="T29" fmla="*/ 38 h 263"/>
                <a:gd name="T30" fmla="*/ 203 w 262"/>
                <a:gd name="T31" fmla="*/ 22 h 263"/>
                <a:gd name="T32" fmla="*/ 181 w 262"/>
                <a:gd name="T33" fmla="*/ 9 h 263"/>
                <a:gd name="T34" fmla="*/ 156 w 262"/>
                <a:gd name="T35" fmla="*/ 3 h 263"/>
                <a:gd name="T36" fmla="*/ 131 w 262"/>
                <a:gd name="T37" fmla="*/ 0 h 263"/>
                <a:gd name="T38" fmla="*/ 131 w 262"/>
                <a:gd name="T39" fmla="*/ 0 h 263"/>
                <a:gd name="T40" fmla="*/ 103 w 262"/>
                <a:gd name="T41" fmla="*/ 3 h 263"/>
                <a:gd name="T42" fmla="*/ 78 w 262"/>
                <a:gd name="T43" fmla="*/ 9 h 263"/>
                <a:gd name="T44" fmla="*/ 56 w 262"/>
                <a:gd name="T45" fmla="*/ 22 h 263"/>
                <a:gd name="T46" fmla="*/ 37 w 262"/>
                <a:gd name="T47" fmla="*/ 38 h 263"/>
                <a:gd name="T48" fmla="*/ 22 w 262"/>
                <a:gd name="T49" fmla="*/ 59 h 263"/>
                <a:gd name="T50" fmla="*/ 9 w 262"/>
                <a:gd name="T51" fmla="*/ 81 h 263"/>
                <a:gd name="T52" fmla="*/ 3 w 262"/>
                <a:gd name="T53" fmla="*/ 106 h 263"/>
                <a:gd name="T54" fmla="*/ 0 w 262"/>
                <a:gd name="T55" fmla="*/ 131 h 263"/>
                <a:gd name="T56" fmla="*/ 0 w 262"/>
                <a:gd name="T57" fmla="*/ 131 h 263"/>
                <a:gd name="T58" fmla="*/ 3 w 262"/>
                <a:gd name="T59" fmla="*/ 156 h 263"/>
                <a:gd name="T60" fmla="*/ 9 w 262"/>
                <a:gd name="T61" fmla="*/ 182 h 263"/>
                <a:gd name="T62" fmla="*/ 22 w 262"/>
                <a:gd name="T63" fmla="*/ 203 h 263"/>
                <a:gd name="T64" fmla="*/ 37 w 262"/>
                <a:gd name="T65" fmla="*/ 225 h 263"/>
                <a:gd name="T66" fmla="*/ 56 w 262"/>
                <a:gd name="T67" fmla="*/ 241 h 263"/>
                <a:gd name="T68" fmla="*/ 78 w 262"/>
                <a:gd name="T69" fmla="*/ 254 h 263"/>
                <a:gd name="T70" fmla="*/ 103 w 262"/>
                <a:gd name="T71" fmla="*/ 260 h 263"/>
                <a:gd name="T72" fmla="*/ 131 w 262"/>
                <a:gd name="T73" fmla="*/ 263 h 263"/>
                <a:gd name="T74" fmla="*/ 131 w 262"/>
                <a:gd name="T75"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2" h="263">
                  <a:moveTo>
                    <a:pt x="131" y="263"/>
                  </a:moveTo>
                  <a:lnTo>
                    <a:pt x="131" y="263"/>
                  </a:lnTo>
                  <a:lnTo>
                    <a:pt x="156" y="260"/>
                  </a:lnTo>
                  <a:lnTo>
                    <a:pt x="181" y="254"/>
                  </a:lnTo>
                  <a:lnTo>
                    <a:pt x="203" y="241"/>
                  </a:lnTo>
                  <a:lnTo>
                    <a:pt x="221" y="225"/>
                  </a:lnTo>
                  <a:lnTo>
                    <a:pt x="240" y="203"/>
                  </a:lnTo>
                  <a:lnTo>
                    <a:pt x="249" y="182"/>
                  </a:lnTo>
                  <a:lnTo>
                    <a:pt x="259" y="156"/>
                  </a:lnTo>
                  <a:lnTo>
                    <a:pt x="262" y="131"/>
                  </a:lnTo>
                  <a:lnTo>
                    <a:pt x="262" y="131"/>
                  </a:lnTo>
                  <a:lnTo>
                    <a:pt x="259" y="106"/>
                  </a:lnTo>
                  <a:lnTo>
                    <a:pt x="249" y="81"/>
                  </a:lnTo>
                  <a:lnTo>
                    <a:pt x="240" y="59"/>
                  </a:lnTo>
                  <a:lnTo>
                    <a:pt x="221" y="38"/>
                  </a:lnTo>
                  <a:lnTo>
                    <a:pt x="203" y="22"/>
                  </a:lnTo>
                  <a:lnTo>
                    <a:pt x="181" y="9"/>
                  </a:lnTo>
                  <a:lnTo>
                    <a:pt x="156" y="3"/>
                  </a:lnTo>
                  <a:lnTo>
                    <a:pt x="131" y="0"/>
                  </a:lnTo>
                  <a:lnTo>
                    <a:pt x="131" y="0"/>
                  </a:lnTo>
                  <a:lnTo>
                    <a:pt x="103" y="3"/>
                  </a:lnTo>
                  <a:lnTo>
                    <a:pt x="78" y="9"/>
                  </a:lnTo>
                  <a:lnTo>
                    <a:pt x="56" y="22"/>
                  </a:lnTo>
                  <a:lnTo>
                    <a:pt x="37" y="38"/>
                  </a:lnTo>
                  <a:lnTo>
                    <a:pt x="22" y="59"/>
                  </a:lnTo>
                  <a:lnTo>
                    <a:pt x="9" y="81"/>
                  </a:lnTo>
                  <a:lnTo>
                    <a:pt x="3" y="106"/>
                  </a:lnTo>
                  <a:lnTo>
                    <a:pt x="0" y="131"/>
                  </a:lnTo>
                  <a:lnTo>
                    <a:pt x="0" y="131"/>
                  </a:lnTo>
                  <a:lnTo>
                    <a:pt x="3" y="156"/>
                  </a:lnTo>
                  <a:lnTo>
                    <a:pt x="9" y="182"/>
                  </a:lnTo>
                  <a:lnTo>
                    <a:pt x="22" y="203"/>
                  </a:lnTo>
                  <a:lnTo>
                    <a:pt x="37" y="225"/>
                  </a:lnTo>
                  <a:lnTo>
                    <a:pt x="56" y="241"/>
                  </a:lnTo>
                  <a:lnTo>
                    <a:pt x="78" y="254"/>
                  </a:lnTo>
                  <a:lnTo>
                    <a:pt x="103" y="260"/>
                  </a:lnTo>
                  <a:lnTo>
                    <a:pt x="131" y="263"/>
                  </a:lnTo>
                  <a:lnTo>
                    <a:pt x="131"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15" name="Freeform 6">
              <a:extLst>
                <a:ext uri="{FF2B5EF4-FFF2-40B4-BE49-F238E27FC236}">
                  <a16:creationId xmlns:a16="http://schemas.microsoft.com/office/drawing/2014/main" id="{5260F36F-D48C-9372-7EE5-D390E22C5FB4}"/>
                </a:ext>
              </a:extLst>
            </p:cNvPr>
            <p:cNvSpPr>
              <a:spLocks/>
            </p:cNvSpPr>
            <p:nvPr/>
          </p:nvSpPr>
          <p:spPr bwMode="auto">
            <a:xfrm>
              <a:off x="3691" y="1732"/>
              <a:ext cx="300" cy="1139"/>
            </a:xfrm>
            <a:custGeom>
              <a:avLst/>
              <a:gdLst>
                <a:gd name="T0" fmla="*/ 150 w 300"/>
                <a:gd name="T1" fmla="*/ 112 h 1139"/>
                <a:gd name="T2" fmla="*/ 75 w 300"/>
                <a:gd name="T3" fmla="*/ 0 h 1139"/>
                <a:gd name="T4" fmla="*/ 0 w 300"/>
                <a:gd name="T5" fmla="*/ 0 h 1139"/>
                <a:gd name="T6" fmla="*/ 32 w 300"/>
                <a:gd name="T7" fmla="*/ 532 h 1139"/>
                <a:gd name="T8" fmla="*/ 32 w 300"/>
                <a:gd name="T9" fmla="*/ 532 h 1139"/>
                <a:gd name="T10" fmla="*/ 32 w 300"/>
                <a:gd name="T11" fmla="*/ 1089 h 1139"/>
                <a:gd name="T12" fmla="*/ 32 w 300"/>
                <a:gd name="T13" fmla="*/ 1089 h 1139"/>
                <a:gd name="T14" fmla="*/ 32 w 300"/>
                <a:gd name="T15" fmla="*/ 1098 h 1139"/>
                <a:gd name="T16" fmla="*/ 35 w 300"/>
                <a:gd name="T17" fmla="*/ 1108 h 1139"/>
                <a:gd name="T18" fmla="*/ 44 w 300"/>
                <a:gd name="T19" fmla="*/ 1123 h 1139"/>
                <a:gd name="T20" fmla="*/ 63 w 300"/>
                <a:gd name="T21" fmla="*/ 1133 h 1139"/>
                <a:gd name="T22" fmla="*/ 72 w 300"/>
                <a:gd name="T23" fmla="*/ 1136 h 1139"/>
                <a:gd name="T24" fmla="*/ 81 w 300"/>
                <a:gd name="T25" fmla="*/ 1139 h 1139"/>
                <a:gd name="T26" fmla="*/ 81 w 300"/>
                <a:gd name="T27" fmla="*/ 1139 h 1139"/>
                <a:gd name="T28" fmla="*/ 91 w 300"/>
                <a:gd name="T29" fmla="*/ 1136 h 1139"/>
                <a:gd name="T30" fmla="*/ 100 w 300"/>
                <a:gd name="T31" fmla="*/ 1133 h 1139"/>
                <a:gd name="T32" fmla="*/ 116 w 300"/>
                <a:gd name="T33" fmla="*/ 1123 h 1139"/>
                <a:gd name="T34" fmla="*/ 128 w 300"/>
                <a:gd name="T35" fmla="*/ 1108 h 1139"/>
                <a:gd name="T36" fmla="*/ 128 w 300"/>
                <a:gd name="T37" fmla="*/ 1098 h 1139"/>
                <a:gd name="T38" fmla="*/ 131 w 300"/>
                <a:gd name="T39" fmla="*/ 1089 h 1139"/>
                <a:gd name="T40" fmla="*/ 131 w 300"/>
                <a:gd name="T41" fmla="*/ 532 h 1139"/>
                <a:gd name="T42" fmla="*/ 169 w 300"/>
                <a:gd name="T43" fmla="*/ 532 h 1139"/>
                <a:gd name="T44" fmla="*/ 169 w 300"/>
                <a:gd name="T45" fmla="*/ 1089 h 1139"/>
                <a:gd name="T46" fmla="*/ 169 w 300"/>
                <a:gd name="T47" fmla="*/ 1089 h 1139"/>
                <a:gd name="T48" fmla="*/ 169 w 300"/>
                <a:gd name="T49" fmla="*/ 1098 h 1139"/>
                <a:gd name="T50" fmla="*/ 172 w 300"/>
                <a:gd name="T51" fmla="*/ 1108 h 1139"/>
                <a:gd name="T52" fmla="*/ 181 w 300"/>
                <a:gd name="T53" fmla="*/ 1123 h 1139"/>
                <a:gd name="T54" fmla="*/ 200 w 300"/>
                <a:gd name="T55" fmla="*/ 1133 h 1139"/>
                <a:gd name="T56" fmla="*/ 209 w 300"/>
                <a:gd name="T57" fmla="*/ 1136 h 1139"/>
                <a:gd name="T58" fmla="*/ 219 w 300"/>
                <a:gd name="T59" fmla="*/ 1139 h 1139"/>
                <a:gd name="T60" fmla="*/ 219 w 300"/>
                <a:gd name="T61" fmla="*/ 1139 h 1139"/>
                <a:gd name="T62" fmla="*/ 228 w 300"/>
                <a:gd name="T63" fmla="*/ 1136 h 1139"/>
                <a:gd name="T64" fmla="*/ 237 w 300"/>
                <a:gd name="T65" fmla="*/ 1133 h 1139"/>
                <a:gd name="T66" fmla="*/ 253 w 300"/>
                <a:gd name="T67" fmla="*/ 1123 h 1139"/>
                <a:gd name="T68" fmla="*/ 265 w 300"/>
                <a:gd name="T69" fmla="*/ 1108 h 1139"/>
                <a:gd name="T70" fmla="*/ 265 w 300"/>
                <a:gd name="T71" fmla="*/ 1098 h 1139"/>
                <a:gd name="T72" fmla="*/ 268 w 300"/>
                <a:gd name="T73" fmla="*/ 1089 h 1139"/>
                <a:gd name="T74" fmla="*/ 268 w 300"/>
                <a:gd name="T75" fmla="*/ 532 h 1139"/>
                <a:gd name="T76" fmla="*/ 268 w 300"/>
                <a:gd name="T77" fmla="*/ 532 h 1139"/>
                <a:gd name="T78" fmla="*/ 300 w 300"/>
                <a:gd name="T79" fmla="*/ 0 h 1139"/>
                <a:gd name="T80" fmla="*/ 225 w 300"/>
                <a:gd name="T81" fmla="*/ 0 h 1139"/>
                <a:gd name="T82" fmla="*/ 150 w 300"/>
                <a:gd name="T83" fmla="*/ 112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0" h="1139">
                  <a:moveTo>
                    <a:pt x="150" y="112"/>
                  </a:moveTo>
                  <a:lnTo>
                    <a:pt x="75" y="0"/>
                  </a:lnTo>
                  <a:lnTo>
                    <a:pt x="0" y="0"/>
                  </a:lnTo>
                  <a:lnTo>
                    <a:pt x="32" y="532"/>
                  </a:lnTo>
                  <a:lnTo>
                    <a:pt x="32" y="532"/>
                  </a:lnTo>
                  <a:lnTo>
                    <a:pt x="32" y="1089"/>
                  </a:lnTo>
                  <a:lnTo>
                    <a:pt x="32" y="1089"/>
                  </a:lnTo>
                  <a:lnTo>
                    <a:pt x="32" y="1098"/>
                  </a:lnTo>
                  <a:lnTo>
                    <a:pt x="35" y="1108"/>
                  </a:lnTo>
                  <a:lnTo>
                    <a:pt x="44" y="1123"/>
                  </a:lnTo>
                  <a:lnTo>
                    <a:pt x="63" y="1133"/>
                  </a:lnTo>
                  <a:lnTo>
                    <a:pt x="72" y="1136"/>
                  </a:lnTo>
                  <a:lnTo>
                    <a:pt x="81" y="1139"/>
                  </a:lnTo>
                  <a:lnTo>
                    <a:pt x="81" y="1139"/>
                  </a:lnTo>
                  <a:lnTo>
                    <a:pt x="91" y="1136"/>
                  </a:lnTo>
                  <a:lnTo>
                    <a:pt x="100" y="1133"/>
                  </a:lnTo>
                  <a:lnTo>
                    <a:pt x="116" y="1123"/>
                  </a:lnTo>
                  <a:lnTo>
                    <a:pt x="128" y="1108"/>
                  </a:lnTo>
                  <a:lnTo>
                    <a:pt x="128" y="1098"/>
                  </a:lnTo>
                  <a:lnTo>
                    <a:pt x="131" y="1089"/>
                  </a:lnTo>
                  <a:lnTo>
                    <a:pt x="131" y="532"/>
                  </a:lnTo>
                  <a:lnTo>
                    <a:pt x="169" y="532"/>
                  </a:lnTo>
                  <a:lnTo>
                    <a:pt x="169" y="1089"/>
                  </a:lnTo>
                  <a:lnTo>
                    <a:pt x="169" y="1089"/>
                  </a:lnTo>
                  <a:lnTo>
                    <a:pt x="169" y="1098"/>
                  </a:lnTo>
                  <a:lnTo>
                    <a:pt x="172" y="1108"/>
                  </a:lnTo>
                  <a:lnTo>
                    <a:pt x="181" y="1123"/>
                  </a:lnTo>
                  <a:lnTo>
                    <a:pt x="200" y="1133"/>
                  </a:lnTo>
                  <a:lnTo>
                    <a:pt x="209" y="1136"/>
                  </a:lnTo>
                  <a:lnTo>
                    <a:pt x="219" y="1139"/>
                  </a:lnTo>
                  <a:lnTo>
                    <a:pt x="219" y="1139"/>
                  </a:lnTo>
                  <a:lnTo>
                    <a:pt x="228" y="1136"/>
                  </a:lnTo>
                  <a:lnTo>
                    <a:pt x="237" y="1133"/>
                  </a:lnTo>
                  <a:lnTo>
                    <a:pt x="253" y="1123"/>
                  </a:lnTo>
                  <a:lnTo>
                    <a:pt x="265" y="1108"/>
                  </a:lnTo>
                  <a:lnTo>
                    <a:pt x="265" y="1098"/>
                  </a:lnTo>
                  <a:lnTo>
                    <a:pt x="268" y="1089"/>
                  </a:lnTo>
                  <a:lnTo>
                    <a:pt x="268" y="532"/>
                  </a:lnTo>
                  <a:lnTo>
                    <a:pt x="268" y="532"/>
                  </a:lnTo>
                  <a:lnTo>
                    <a:pt x="300" y="0"/>
                  </a:lnTo>
                  <a:lnTo>
                    <a:pt x="225" y="0"/>
                  </a:lnTo>
                  <a:lnTo>
                    <a:pt x="15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16" name="Freeform 7">
              <a:extLst>
                <a:ext uri="{FF2B5EF4-FFF2-40B4-BE49-F238E27FC236}">
                  <a16:creationId xmlns:a16="http://schemas.microsoft.com/office/drawing/2014/main" id="{FA1D8187-35D9-2A74-9F9F-AC9443504E37}"/>
                </a:ext>
              </a:extLst>
            </p:cNvPr>
            <p:cNvSpPr>
              <a:spLocks/>
            </p:cNvSpPr>
            <p:nvPr/>
          </p:nvSpPr>
          <p:spPr bwMode="auto">
            <a:xfrm>
              <a:off x="3601" y="1732"/>
              <a:ext cx="84" cy="563"/>
            </a:xfrm>
            <a:custGeom>
              <a:avLst/>
              <a:gdLst>
                <a:gd name="T0" fmla="*/ 0 w 84"/>
                <a:gd name="T1" fmla="*/ 0 h 563"/>
                <a:gd name="T2" fmla="*/ 22 w 84"/>
                <a:gd name="T3" fmla="*/ 532 h 563"/>
                <a:gd name="T4" fmla="*/ 22 w 84"/>
                <a:gd name="T5" fmla="*/ 532 h 563"/>
                <a:gd name="T6" fmla="*/ 25 w 84"/>
                <a:gd name="T7" fmla="*/ 544 h 563"/>
                <a:gd name="T8" fmla="*/ 31 w 84"/>
                <a:gd name="T9" fmla="*/ 554 h 563"/>
                <a:gd name="T10" fmla="*/ 41 w 84"/>
                <a:gd name="T11" fmla="*/ 563 h 563"/>
                <a:gd name="T12" fmla="*/ 53 w 84"/>
                <a:gd name="T13" fmla="*/ 563 h 563"/>
                <a:gd name="T14" fmla="*/ 53 w 84"/>
                <a:gd name="T15" fmla="*/ 563 h 563"/>
                <a:gd name="T16" fmla="*/ 65 w 84"/>
                <a:gd name="T17" fmla="*/ 563 h 563"/>
                <a:gd name="T18" fmla="*/ 75 w 84"/>
                <a:gd name="T19" fmla="*/ 554 h 563"/>
                <a:gd name="T20" fmla="*/ 81 w 84"/>
                <a:gd name="T21" fmla="*/ 544 h 563"/>
                <a:gd name="T22" fmla="*/ 84 w 84"/>
                <a:gd name="T23" fmla="*/ 532 h 563"/>
                <a:gd name="T24" fmla="*/ 53 w 84"/>
                <a:gd name="T25" fmla="*/ 0 h 563"/>
                <a:gd name="T26" fmla="*/ 0 w 84"/>
                <a:gd name="T27"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563">
                  <a:moveTo>
                    <a:pt x="0" y="0"/>
                  </a:moveTo>
                  <a:lnTo>
                    <a:pt x="22" y="532"/>
                  </a:lnTo>
                  <a:lnTo>
                    <a:pt x="22" y="532"/>
                  </a:lnTo>
                  <a:lnTo>
                    <a:pt x="25" y="544"/>
                  </a:lnTo>
                  <a:lnTo>
                    <a:pt x="31" y="554"/>
                  </a:lnTo>
                  <a:lnTo>
                    <a:pt x="41" y="563"/>
                  </a:lnTo>
                  <a:lnTo>
                    <a:pt x="53" y="563"/>
                  </a:lnTo>
                  <a:lnTo>
                    <a:pt x="53" y="563"/>
                  </a:lnTo>
                  <a:lnTo>
                    <a:pt x="65" y="563"/>
                  </a:lnTo>
                  <a:lnTo>
                    <a:pt x="75" y="554"/>
                  </a:lnTo>
                  <a:lnTo>
                    <a:pt x="81" y="544"/>
                  </a:lnTo>
                  <a:lnTo>
                    <a:pt x="84" y="532"/>
                  </a:lnTo>
                  <a:lnTo>
                    <a:pt x="5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17" name="Freeform 8">
              <a:extLst>
                <a:ext uri="{FF2B5EF4-FFF2-40B4-BE49-F238E27FC236}">
                  <a16:creationId xmlns:a16="http://schemas.microsoft.com/office/drawing/2014/main" id="{4193FB66-5286-0061-B5D9-064731EDEA5F}"/>
                </a:ext>
              </a:extLst>
            </p:cNvPr>
            <p:cNvSpPr>
              <a:spLocks/>
            </p:cNvSpPr>
            <p:nvPr/>
          </p:nvSpPr>
          <p:spPr bwMode="auto">
            <a:xfrm>
              <a:off x="3997" y="1732"/>
              <a:ext cx="84" cy="563"/>
            </a:xfrm>
            <a:custGeom>
              <a:avLst/>
              <a:gdLst>
                <a:gd name="T0" fmla="*/ 31 w 84"/>
                <a:gd name="T1" fmla="*/ 0 h 563"/>
                <a:gd name="T2" fmla="*/ 0 w 84"/>
                <a:gd name="T3" fmla="*/ 532 h 563"/>
                <a:gd name="T4" fmla="*/ 0 w 84"/>
                <a:gd name="T5" fmla="*/ 532 h 563"/>
                <a:gd name="T6" fmla="*/ 3 w 84"/>
                <a:gd name="T7" fmla="*/ 544 h 563"/>
                <a:gd name="T8" fmla="*/ 9 w 84"/>
                <a:gd name="T9" fmla="*/ 554 h 563"/>
                <a:gd name="T10" fmla="*/ 19 w 84"/>
                <a:gd name="T11" fmla="*/ 563 h 563"/>
                <a:gd name="T12" fmla="*/ 31 w 84"/>
                <a:gd name="T13" fmla="*/ 563 h 563"/>
                <a:gd name="T14" fmla="*/ 31 w 84"/>
                <a:gd name="T15" fmla="*/ 563 h 563"/>
                <a:gd name="T16" fmla="*/ 43 w 84"/>
                <a:gd name="T17" fmla="*/ 563 h 563"/>
                <a:gd name="T18" fmla="*/ 53 w 84"/>
                <a:gd name="T19" fmla="*/ 554 h 563"/>
                <a:gd name="T20" fmla="*/ 59 w 84"/>
                <a:gd name="T21" fmla="*/ 544 h 563"/>
                <a:gd name="T22" fmla="*/ 62 w 84"/>
                <a:gd name="T23" fmla="*/ 532 h 563"/>
                <a:gd name="T24" fmla="*/ 84 w 84"/>
                <a:gd name="T25" fmla="*/ 0 h 563"/>
                <a:gd name="T26" fmla="*/ 31 w 84"/>
                <a:gd name="T27"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563">
                  <a:moveTo>
                    <a:pt x="31" y="0"/>
                  </a:moveTo>
                  <a:lnTo>
                    <a:pt x="0" y="532"/>
                  </a:lnTo>
                  <a:lnTo>
                    <a:pt x="0" y="532"/>
                  </a:lnTo>
                  <a:lnTo>
                    <a:pt x="3" y="544"/>
                  </a:lnTo>
                  <a:lnTo>
                    <a:pt x="9" y="554"/>
                  </a:lnTo>
                  <a:lnTo>
                    <a:pt x="19" y="563"/>
                  </a:lnTo>
                  <a:lnTo>
                    <a:pt x="31" y="563"/>
                  </a:lnTo>
                  <a:lnTo>
                    <a:pt x="31" y="563"/>
                  </a:lnTo>
                  <a:lnTo>
                    <a:pt x="43" y="563"/>
                  </a:lnTo>
                  <a:lnTo>
                    <a:pt x="53" y="554"/>
                  </a:lnTo>
                  <a:lnTo>
                    <a:pt x="59" y="544"/>
                  </a:lnTo>
                  <a:lnTo>
                    <a:pt x="62" y="532"/>
                  </a:lnTo>
                  <a:lnTo>
                    <a:pt x="84" y="0"/>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grpSp>
      <p:grpSp>
        <p:nvGrpSpPr>
          <p:cNvPr id="18" name="Group 4">
            <a:extLst>
              <a:ext uri="{FF2B5EF4-FFF2-40B4-BE49-F238E27FC236}">
                <a16:creationId xmlns:a16="http://schemas.microsoft.com/office/drawing/2014/main" id="{A7FFCBF7-FB9F-ECF4-A91E-47BC04DAC078}"/>
              </a:ext>
            </a:extLst>
          </p:cNvPr>
          <p:cNvGrpSpPr>
            <a:grpSpLocks noChangeAspect="1"/>
          </p:cNvGrpSpPr>
          <p:nvPr/>
        </p:nvGrpSpPr>
        <p:grpSpPr bwMode="auto">
          <a:xfrm>
            <a:off x="8115739" y="4894608"/>
            <a:ext cx="350473" cy="1037547"/>
            <a:chOff x="3601" y="1450"/>
            <a:chExt cx="480" cy="1421"/>
          </a:xfrm>
          <a:solidFill>
            <a:schemeClr val="accent3"/>
          </a:solidFill>
        </p:grpSpPr>
        <p:sp>
          <p:nvSpPr>
            <p:cNvPr id="19" name="Freeform 5">
              <a:extLst>
                <a:ext uri="{FF2B5EF4-FFF2-40B4-BE49-F238E27FC236}">
                  <a16:creationId xmlns:a16="http://schemas.microsoft.com/office/drawing/2014/main" id="{5D6600DC-159B-F68D-9D18-669C02259297}"/>
                </a:ext>
              </a:extLst>
            </p:cNvPr>
            <p:cNvSpPr>
              <a:spLocks/>
            </p:cNvSpPr>
            <p:nvPr/>
          </p:nvSpPr>
          <p:spPr bwMode="auto">
            <a:xfrm>
              <a:off x="3710" y="1450"/>
              <a:ext cx="262" cy="263"/>
            </a:xfrm>
            <a:custGeom>
              <a:avLst/>
              <a:gdLst>
                <a:gd name="T0" fmla="*/ 131 w 262"/>
                <a:gd name="T1" fmla="*/ 263 h 263"/>
                <a:gd name="T2" fmla="*/ 131 w 262"/>
                <a:gd name="T3" fmla="*/ 263 h 263"/>
                <a:gd name="T4" fmla="*/ 156 w 262"/>
                <a:gd name="T5" fmla="*/ 260 h 263"/>
                <a:gd name="T6" fmla="*/ 181 w 262"/>
                <a:gd name="T7" fmla="*/ 254 h 263"/>
                <a:gd name="T8" fmla="*/ 203 w 262"/>
                <a:gd name="T9" fmla="*/ 241 h 263"/>
                <a:gd name="T10" fmla="*/ 221 w 262"/>
                <a:gd name="T11" fmla="*/ 225 h 263"/>
                <a:gd name="T12" fmla="*/ 240 w 262"/>
                <a:gd name="T13" fmla="*/ 203 h 263"/>
                <a:gd name="T14" fmla="*/ 249 w 262"/>
                <a:gd name="T15" fmla="*/ 182 h 263"/>
                <a:gd name="T16" fmla="*/ 259 w 262"/>
                <a:gd name="T17" fmla="*/ 156 h 263"/>
                <a:gd name="T18" fmla="*/ 262 w 262"/>
                <a:gd name="T19" fmla="*/ 131 h 263"/>
                <a:gd name="T20" fmla="*/ 262 w 262"/>
                <a:gd name="T21" fmla="*/ 131 h 263"/>
                <a:gd name="T22" fmla="*/ 259 w 262"/>
                <a:gd name="T23" fmla="*/ 106 h 263"/>
                <a:gd name="T24" fmla="*/ 249 w 262"/>
                <a:gd name="T25" fmla="*/ 81 h 263"/>
                <a:gd name="T26" fmla="*/ 240 w 262"/>
                <a:gd name="T27" fmla="*/ 59 h 263"/>
                <a:gd name="T28" fmla="*/ 221 w 262"/>
                <a:gd name="T29" fmla="*/ 38 h 263"/>
                <a:gd name="T30" fmla="*/ 203 w 262"/>
                <a:gd name="T31" fmla="*/ 22 h 263"/>
                <a:gd name="T32" fmla="*/ 181 w 262"/>
                <a:gd name="T33" fmla="*/ 9 h 263"/>
                <a:gd name="T34" fmla="*/ 156 w 262"/>
                <a:gd name="T35" fmla="*/ 3 h 263"/>
                <a:gd name="T36" fmla="*/ 131 w 262"/>
                <a:gd name="T37" fmla="*/ 0 h 263"/>
                <a:gd name="T38" fmla="*/ 131 w 262"/>
                <a:gd name="T39" fmla="*/ 0 h 263"/>
                <a:gd name="T40" fmla="*/ 103 w 262"/>
                <a:gd name="T41" fmla="*/ 3 h 263"/>
                <a:gd name="T42" fmla="*/ 78 w 262"/>
                <a:gd name="T43" fmla="*/ 9 h 263"/>
                <a:gd name="T44" fmla="*/ 56 w 262"/>
                <a:gd name="T45" fmla="*/ 22 h 263"/>
                <a:gd name="T46" fmla="*/ 37 w 262"/>
                <a:gd name="T47" fmla="*/ 38 h 263"/>
                <a:gd name="T48" fmla="*/ 22 w 262"/>
                <a:gd name="T49" fmla="*/ 59 h 263"/>
                <a:gd name="T50" fmla="*/ 9 w 262"/>
                <a:gd name="T51" fmla="*/ 81 h 263"/>
                <a:gd name="T52" fmla="*/ 3 w 262"/>
                <a:gd name="T53" fmla="*/ 106 h 263"/>
                <a:gd name="T54" fmla="*/ 0 w 262"/>
                <a:gd name="T55" fmla="*/ 131 h 263"/>
                <a:gd name="T56" fmla="*/ 0 w 262"/>
                <a:gd name="T57" fmla="*/ 131 h 263"/>
                <a:gd name="T58" fmla="*/ 3 w 262"/>
                <a:gd name="T59" fmla="*/ 156 h 263"/>
                <a:gd name="T60" fmla="*/ 9 w 262"/>
                <a:gd name="T61" fmla="*/ 182 h 263"/>
                <a:gd name="T62" fmla="*/ 22 w 262"/>
                <a:gd name="T63" fmla="*/ 203 h 263"/>
                <a:gd name="T64" fmla="*/ 37 w 262"/>
                <a:gd name="T65" fmla="*/ 225 h 263"/>
                <a:gd name="T66" fmla="*/ 56 w 262"/>
                <a:gd name="T67" fmla="*/ 241 h 263"/>
                <a:gd name="T68" fmla="*/ 78 w 262"/>
                <a:gd name="T69" fmla="*/ 254 h 263"/>
                <a:gd name="T70" fmla="*/ 103 w 262"/>
                <a:gd name="T71" fmla="*/ 260 h 263"/>
                <a:gd name="T72" fmla="*/ 131 w 262"/>
                <a:gd name="T73" fmla="*/ 263 h 263"/>
                <a:gd name="T74" fmla="*/ 131 w 262"/>
                <a:gd name="T75"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2" h="263">
                  <a:moveTo>
                    <a:pt x="131" y="263"/>
                  </a:moveTo>
                  <a:lnTo>
                    <a:pt x="131" y="263"/>
                  </a:lnTo>
                  <a:lnTo>
                    <a:pt x="156" y="260"/>
                  </a:lnTo>
                  <a:lnTo>
                    <a:pt x="181" y="254"/>
                  </a:lnTo>
                  <a:lnTo>
                    <a:pt x="203" y="241"/>
                  </a:lnTo>
                  <a:lnTo>
                    <a:pt x="221" y="225"/>
                  </a:lnTo>
                  <a:lnTo>
                    <a:pt x="240" y="203"/>
                  </a:lnTo>
                  <a:lnTo>
                    <a:pt x="249" y="182"/>
                  </a:lnTo>
                  <a:lnTo>
                    <a:pt x="259" y="156"/>
                  </a:lnTo>
                  <a:lnTo>
                    <a:pt x="262" y="131"/>
                  </a:lnTo>
                  <a:lnTo>
                    <a:pt x="262" y="131"/>
                  </a:lnTo>
                  <a:lnTo>
                    <a:pt x="259" y="106"/>
                  </a:lnTo>
                  <a:lnTo>
                    <a:pt x="249" y="81"/>
                  </a:lnTo>
                  <a:lnTo>
                    <a:pt x="240" y="59"/>
                  </a:lnTo>
                  <a:lnTo>
                    <a:pt x="221" y="38"/>
                  </a:lnTo>
                  <a:lnTo>
                    <a:pt x="203" y="22"/>
                  </a:lnTo>
                  <a:lnTo>
                    <a:pt x="181" y="9"/>
                  </a:lnTo>
                  <a:lnTo>
                    <a:pt x="156" y="3"/>
                  </a:lnTo>
                  <a:lnTo>
                    <a:pt x="131" y="0"/>
                  </a:lnTo>
                  <a:lnTo>
                    <a:pt x="131" y="0"/>
                  </a:lnTo>
                  <a:lnTo>
                    <a:pt x="103" y="3"/>
                  </a:lnTo>
                  <a:lnTo>
                    <a:pt x="78" y="9"/>
                  </a:lnTo>
                  <a:lnTo>
                    <a:pt x="56" y="22"/>
                  </a:lnTo>
                  <a:lnTo>
                    <a:pt x="37" y="38"/>
                  </a:lnTo>
                  <a:lnTo>
                    <a:pt x="22" y="59"/>
                  </a:lnTo>
                  <a:lnTo>
                    <a:pt x="9" y="81"/>
                  </a:lnTo>
                  <a:lnTo>
                    <a:pt x="3" y="106"/>
                  </a:lnTo>
                  <a:lnTo>
                    <a:pt x="0" y="131"/>
                  </a:lnTo>
                  <a:lnTo>
                    <a:pt x="0" y="131"/>
                  </a:lnTo>
                  <a:lnTo>
                    <a:pt x="3" y="156"/>
                  </a:lnTo>
                  <a:lnTo>
                    <a:pt x="9" y="182"/>
                  </a:lnTo>
                  <a:lnTo>
                    <a:pt x="22" y="203"/>
                  </a:lnTo>
                  <a:lnTo>
                    <a:pt x="37" y="225"/>
                  </a:lnTo>
                  <a:lnTo>
                    <a:pt x="56" y="241"/>
                  </a:lnTo>
                  <a:lnTo>
                    <a:pt x="78" y="254"/>
                  </a:lnTo>
                  <a:lnTo>
                    <a:pt x="103" y="260"/>
                  </a:lnTo>
                  <a:lnTo>
                    <a:pt x="131" y="263"/>
                  </a:lnTo>
                  <a:lnTo>
                    <a:pt x="131"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20" name="Freeform 6">
              <a:extLst>
                <a:ext uri="{FF2B5EF4-FFF2-40B4-BE49-F238E27FC236}">
                  <a16:creationId xmlns:a16="http://schemas.microsoft.com/office/drawing/2014/main" id="{B8913C20-AD11-7386-4C28-76D2F35CB24C}"/>
                </a:ext>
              </a:extLst>
            </p:cNvPr>
            <p:cNvSpPr>
              <a:spLocks/>
            </p:cNvSpPr>
            <p:nvPr/>
          </p:nvSpPr>
          <p:spPr bwMode="auto">
            <a:xfrm>
              <a:off x="3691" y="1732"/>
              <a:ext cx="300" cy="1139"/>
            </a:xfrm>
            <a:custGeom>
              <a:avLst/>
              <a:gdLst>
                <a:gd name="T0" fmla="*/ 150 w 300"/>
                <a:gd name="T1" fmla="*/ 112 h 1139"/>
                <a:gd name="T2" fmla="*/ 75 w 300"/>
                <a:gd name="T3" fmla="*/ 0 h 1139"/>
                <a:gd name="T4" fmla="*/ 0 w 300"/>
                <a:gd name="T5" fmla="*/ 0 h 1139"/>
                <a:gd name="T6" fmla="*/ 32 w 300"/>
                <a:gd name="T7" fmla="*/ 532 h 1139"/>
                <a:gd name="T8" fmla="*/ 32 w 300"/>
                <a:gd name="T9" fmla="*/ 532 h 1139"/>
                <a:gd name="T10" fmla="*/ 32 w 300"/>
                <a:gd name="T11" fmla="*/ 1089 h 1139"/>
                <a:gd name="T12" fmla="*/ 32 w 300"/>
                <a:gd name="T13" fmla="*/ 1089 h 1139"/>
                <a:gd name="T14" fmla="*/ 32 w 300"/>
                <a:gd name="T15" fmla="*/ 1098 h 1139"/>
                <a:gd name="T16" fmla="*/ 35 w 300"/>
                <a:gd name="T17" fmla="*/ 1108 h 1139"/>
                <a:gd name="T18" fmla="*/ 44 w 300"/>
                <a:gd name="T19" fmla="*/ 1123 h 1139"/>
                <a:gd name="T20" fmla="*/ 63 w 300"/>
                <a:gd name="T21" fmla="*/ 1133 h 1139"/>
                <a:gd name="T22" fmla="*/ 72 w 300"/>
                <a:gd name="T23" fmla="*/ 1136 h 1139"/>
                <a:gd name="T24" fmla="*/ 81 w 300"/>
                <a:gd name="T25" fmla="*/ 1139 h 1139"/>
                <a:gd name="T26" fmla="*/ 81 w 300"/>
                <a:gd name="T27" fmla="*/ 1139 h 1139"/>
                <a:gd name="T28" fmla="*/ 91 w 300"/>
                <a:gd name="T29" fmla="*/ 1136 h 1139"/>
                <a:gd name="T30" fmla="*/ 100 w 300"/>
                <a:gd name="T31" fmla="*/ 1133 h 1139"/>
                <a:gd name="T32" fmla="*/ 116 w 300"/>
                <a:gd name="T33" fmla="*/ 1123 h 1139"/>
                <a:gd name="T34" fmla="*/ 128 w 300"/>
                <a:gd name="T35" fmla="*/ 1108 h 1139"/>
                <a:gd name="T36" fmla="*/ 128 w 300"/>
                <a:gd name="T37" fmla="*/ 1098 h 1139"/>
                <a:gd name="T38" fmla="*/ 131 w 300"/>
                <a:gd name="T39" fmla="*/ 1089 h 1139"/>
                <a:gd name="T40" fmla="*/ 131 w 300"/>
                <a:gd name="T41" fmla="*/ 532 h 1139"/>
                <a:gd name="T42" fmla="*/ 169 w 300"/>
                <a:gd name="T43" fmla="*/ 532 h 1139"/>
                <a:gd name="T44" fmla="*/ 169 w 300"/>
                <a:gd name="T45" fmla="*/ 1089 h 1139"/>
                <a:gd name="T46" fmla="*/ 169 w 300"/>
                <a:gd name="T47" fmla="*/ 1089 h 1139"/>
                <a:gd name="T48" fmla="*/ 169 w 300"/>
                <a:gd name="T49" fmla="*/ 1098 h 1139"/>
                <a:gd name="T50" fmla="*/ 172 w 300"/>
                <a:gd name="T51" fmla="*/ 1108 h 1139"/>
                <a:gd name="T52" fmla="*/ 181 w 300"/>
                <a:gd name="T53" fmla="*/ 1123 h 1139"/>
                <a:gd name="T54" fmla="*/ 200 w 300"/>
                <a:gd name="T55" fmla="*/ 1133 h 1139"/>
                <a:gd name="T56" fmla="*/ 209 w 300"/>
                <a:gd name="T57" fmla="*/ 1136 h 1139"/>
                <a:gd name="T58" fmla="*/ 219 w 300"/>
                <a:gd name="T59" fmla="*/ 1139 h 1139"/>
                <a:gd name="T60" fmla="*/ 219 w 300"/>
                <a:gd name="T61" fmla="*/ 1139 h 1139"/>
                <a:gd name="T62" fmla="*/ 228 w 300"/>
                <a:gd name="T63" fmla="*/ 1136 h 1139"/>
                <a:gd name="T64" fmla="*/ 237 w 300"/>
                <a:gd name="T65" fmla="*/ 1133 h 1139"/>
                <a:gd name="T66" fmla="*/ 253 w 300"/>
                <a:gd name="T67" fmla="*/ 1123 h 1139"/>
                <a:gd name="T68" fmla="*/ 265 w 300"/>
                <a:gd name="T69" fmla="*/ 1108 h 1139"/>
                <a:gd name="T70" fmla="*/ 265 w 300"/>
                <a:gd name="T71" fmla="*/ 1098 h 1139"/>
                <a:gd name="T72" fmla="*/ 268 w 300"/>
                <a:gd name="T73" fmla="*/ 1089 h 1139"/>
                <a:gd name="T74" fmla="*/ 268 w 300"/>
                <a:gd name="T75" fmla="*/ 532 h 1139"/>
                <a:gd name="T76" fmla="*/ 268 w 300"/>
                <a:gd name="T77" fmla="*/ 532 h 1139"/>
                <a:gd name="T78" fmla="*/ 300 w 300"/>
                <a:gd name="T79" fmla="*/ 0 h 1139"/>
                <a:gd name="T80" fmla="*/ 225 w 300"/>
                <a:gd name="T81" fmla="*/ 0 h 1139"/>
                <a:gd name="T82" fmla="*/ 150 w 300"/>
                <a:gd name="T83" fmla="*/ 112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0" h="1139">
                  <a:moveTo>
                    <a:pt x="150" y="112"/>
                  </a:moveTo>
                  <a:lnTo>
                    <a:pt x="75" y="0"/>
                  </a:lnTo>
                  <a:lnTo>
                    <a:pt x="0" y="0"/>
                  </a:lnTo>
                  <a:lnTo>
                    <a:pt x="32" y="532"/>
                  </a:lnTo>
                  <a:lnTo>
                    <a:pt x="32" y="532"/>
                  </a:lnTo>
                  <a:lnTo>
                    <a:pt x="32" y="1089"/>
                  </a:lnTo>
                  <a:lnTo>
                    <a:pt x="32" y="1089"/>
                  </a:lnTo>
                  <a:lnTo>
                    <a:pt x="32" y="1098"/>
                  </a:lnTo>
                  <a:lnTo>
                    <a:pt x="35" y="1108"/>
                  </a:lnTo>
                  <a:lnTo>
                    <a:pt x="44" y="1123"/>
                  </a:lnTo>
                  <a:lnTo>
                    <a:pt x="63" y="1133"/>
                  </a:lnTo>
                  <a:lnTo>
                    <a:pt x="72" y="1136"/>
                  </a:lnTo>
                  <a:lnTo>
                    <a:pt x="81" y="1139"/>
                  </a:lnTo>
                  <a:lnTo>
                    <a:pt x="81" y="1139"/>
                  </a:lnTo>
                  <a:lnTo>
                    <a:pt x="91" y="1136"/>
                  </a:lnTo>
                  <a:lnTo>
                    <a:pt x="100" y="1133"/>
                  </a:lnTo>
                  <a:lnTo>
                    <a:pt x="116" y="1123"/>
                  </a:lnTo>
                  <a:lnTo>
                    <a:pt x="128" y="1108"/>
                  </a:lnTo>
                  <a:lnTo>
                    <a:pt x="128" y="1098"/>
                  </a:lnTo>
                  <a:lnTo>
                    <a:pt x="131" y="1089"/>
                  </a:lnTo>
                  <a:lnTo>
                    <a:pt x="131" y="532"/>
                  </a:lnTo>
                  <a:lnTo>
                    <a:pt x="169" y="532"/>
                  </a:lnTo>
                  <a:lnTo>
                    <a:pt x="169" y="1089"/>
                  </a:lnTo>
                  <a:lnTo>
                    <a:pt x="169" y="1089"/>
                  </a:lnTo>
                  <a:lnTo>
                    <a:pt x="169" y="1098"/>
                  </a:lnTo>
                  <a:lnTo>
                    <a:pt x="172" y="1108"/>
                  </a:lnTo>
                  <a:lnTo>
                    <a:pt x="181" y="1123"/>
                  </a:lnTo>
                  <a:lnTo>
                    <a:pt x="200" y="1133"/>
                  </a:lnTo>
                  <a:lnTo>
                    <a:pt x="209" y="1136"/>
                  </a:lnTo>
                  <a:lnTo>
                    <a:pt x="219" y="1139"/>
                  </a:lnTo>
                  <a:lnTo>
                    <a:pt x="219" y="1139"/>
                  </a:lnTo>
                  <a:lnTo>
                    <a:pt x="228" y="1136"/>
                  </a:lnTo>
                  <a:lnTo>
                    <a:pt x="237" y="1133"/>
                  </a:lnTo>
                  <a:lnTo>
                    <a:pt x="253" y="1123"/>
                  </a:lnTo>
                  <a:lnTo>
                    <a:pt x="265" y="1108"/>
                  </a:lnTo>
                  <a:lnTo>
                    <a:pt x="265" y="1098"/>
                  </a:lnTo>
                  <a:lnTo>
                    <a:pt x="268" y="1089"/>
                  </a:lnTo>
                  <a:lnTo>
                    <a:pt x="268" y="532"/>
                  </a:lnTo>
                  <a:lnTo>
                    <a:pt x="268" y="532"/>
                  </a:lnTo>
                  <a:lnTo>
                    <a:pt x="300" y="0"/>
                  </a:lnTo>
                  <a:lnTo>
                    <a:pt x="225" y="0"/>
                  </a:lnTo>
                  <a:lnTo>
                    <a:pt x="15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21" name="Freeform 7">
              <a:extLst>
                <a:ext uri="{FF2B5EF4-FFF2-40B4-BE49-F238E27FC236}">
                  <a16:creationId xmlns:a16="http://schemas.microsoft.com/office/drawing/2014/main" id="{F74A7D07-EAE9-67E8-C68E-246C44B1C221}"/>
                </a:ext>
              </a:extLst>
            </p:cNvPr>
            <p:cNvSpPr>
              <a:spLocks/>
            </p:cNvSpPr>
            <p:nvPr/>
          </p:nvSpPr>
          <p:spPr bwMode="auto">
            <a:xfrm>
              <a:off x="3601" y="1732"/>
              <a:ext cx="84" cy="563"/>
            </a:xfrm>
            <a:custGeom>
              <a:avLst/>
              <a:gdLst>
                <a:gd name="T0" fmla="*/ 0 w 84"/>
                <a:gd name="T1" fmla="*/ 0 h 563"/>
                <a:gd name="T2" fmla="*/ 22 w 84"/>
                <a:gd name="T3" fmla="*/ 532 h 563"/>
                <a:gd name="T4" fmla="*/ 22 w 84"/>
                <a:gd name="T5" fmla="*/ 532 h 563"/>
                <a:gd name="T6" fmla="*/ 25 w 84"/>
                <a:gd name="T7" fmla="*/ 544 h 563"/>
                <a:gd name="T8" fmla="*/ 31 w 84"/>
                <a:gd name="T9" fmla="*/ 554 h 563"/>
                <a:gd name="T10" fmla="*/ 41 w 84"/>
                <a:gd name="T11" fmla="*/ 563 h 563"/>
                <a:gd name="T12" fmla="*/ 53 w 84"/>
                <a:gd name="T13" fmla="*/ 563 h 563"/>
                <a:gd name="T14" fmla="*/ 53 w 84"/>
                <a:gd name="T15" fmla="*/ 563 h 563"/>
                <a:gd name="T16" fmla="*/ 65 w 84"/>
                <a:gd name="T17" fmla="*/ 563 h 563"/>
                <a:gd name="T18" fmla="*/ 75 w 84"/>
                <a:gd name="T19" fmla="*/ 554 h 563"/>
                <a:gd name="T20" fmla="*/ 81 w 84"/>
                <a:gd name="T21" fmla="*/ 544 h 563"/>
                <a:gd name="T22" fmla="*/ 84 w 84"/>
                <a:gd name="T23" fmla="*/ 532 h 563"/>
                <a:gd name="T24" fmla="*/ 53 w 84"/>
                <a:gd name="T25" fmla="*/ 0 h 563"/>
                <a:gd name="T26" fmla="*/ 0 w 84"/>
                <a:gd name="T27"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563">
                  <a:moveTo>
                    <a:pt x="0" y="0"/>
                  </a:moveTo>
                  <a:lnTo>
                    <a:pt x="22" y="532"/>
                  </a:lnTo>
                  <a:lnTo>
                    <a:pt x="22" y="532"/>
                  </a:lnTo>
                  <a:lnTo>
                    <a:pt x="25" y="544"/>
                  </a:lnTo>
                  <a:lnTo>
                    <a:pt x="31" y="554"/>
                  </a:lnTo>
                  <a:lnTo>
                    <a:pt x="41" y="563"/>
                  </a:lnTo>
                  <a:lnTo>
                    <a:pt x="53" y="563"/>
                  </a:lnTo>
                  <a:lnTo>
                    <a:pt x="53" y="563"/>
                  </a:lnTo>
                  <a:lnTo>
                    <a:pt x="65" y="563"/>
                  </a:lnTo>
                  <a:lnTo>
                    <a:pt x="75" y="554"/>
                  </a:lnTo>
                  <a:lnTo>
                    <a:pt x="81" y="544"/>
                  </a:lnTo>
                  <a:lnTo>
                    <a:pt x="84" y="532"/>
                  </a:lnTo>
                  <a:lnTo>
                    <a:pt x="5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22" name="Freeform 8">
              <a:extLst>
                <a:ext uri="{FF2B5EF4-FFF2-40B4-BE49-F238E27FC236}">
                  <a16:creationId xmlns:a16="http://schemas.microsoft.com/office/drawing/2014/main" id="{F9397A03-B176-BC31-FCA1-849BC0538537}"/>
                </a:ext>
              </a:extLst>
            </p:cNvPr>
            <p:cNvSpPr>
              <a:spLocks/>
            </p:cNvSpPr>
            <p:nvPr/>
          </p:nvSpPr>
          <p:spPr bwMode="auto">
            <a:xfrm>
              <a:off x="3997" y="1732"/>
              <a:ext cx="84" cy="563"/>
            </a:xfrm>
            <a:custGeom>
              <a:avLst/>
              <a:gdLst>
                <a:gd name="T0" fmla="*/ 31 w 84"/>
                <a:gd name="T1" fmla="*/ 0 h 563"/>
                <a:gd name="T2" fmla="*/ 0 w 84"/>
                <a:gd name="T3" fmla="*/ 532 h 563"/>
                <a:gd name="T4" fmla="*/ 0 w 84"/>
                <a:gd name="T5" fmla="*/ 532 h 563"/>
                <a:gd name="T6" fmla="*/ 3 w 84"/>
                <a:gd name="T7" fmla="*/ 544 h 563"/>
                <a:gd name="T8" fmla="*/ 9 w 84"/>
                <a:gd name="T9" fmla="*/ 554 h 563"/>
                <a:gd name="T10" fmla="*/ 19 w 84"/>
                <a:gd name="T11" fmla="*/ 563 h 563"/>
                <a:gd name="T12" fmla="*/ 31 w 84"/>
                <a:gd name="T13" fmla="*/ 563 h 563"/>
                <a:gd name="T14" fmla="*/ 31 w 84"/>
                <a:gd name="T15" fmla="*/ 563 h 563"/>
                <a:gd name="T16" fmla="*/ 43 w 84"/>
                <a:gd name="T17" fmla="*/ 563 h 563"/>
                <a:gd name="T18" fmla="*/ 53 w 84"/>
                <a:gd name="T19" fmla="*/ 554 h 563"/>
                <a:gd name="T20" fmla="*/ 59 w 84"/>
                <a:gd name="T21" fmla="*/ 544 h 563"/>
                <a:gd name="T22" fmla="*/ 62 w 84"/>
                <a:gd name="T23" fmla="*/ 532 h 563"/>
                <a:gd name="T24" fmla="*/ 84 w 84"/>
                <a:gd name="T25" fmla="*/ 0 h 563"/>
                <a:gd name="T26" fmla="*/ 31 w 84"/>
                <a:gd name="T27"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563">
                  <a:moveTo>
                    <a:pt x="31" y="0"/>
                  </a:moveTo>
                  <a:lnTo>
                    <a:pt x="0" y="532"/>
                  </a:lnTo>
                  <a:lnTo>
                    <a:pt x="0" y="532"/>
                  </a:lnTo>
                  <a:lnTo>
                    <a:pt x="3" y="544"/>
                  </a:lnTo>
                  <a:lnTo>
                    <a:pt x="9" y="554"/>
                  </a:lnTo>
                  <a:lnTo>
                    <a:pt x="19" y="563"/>
                  </a:lnTo>
                  <a:lnTo>
                    <a:pt x="31" y="563"/>
                  </a:lnTo>
                  <a:lnTo>
                    <a:pt x="31" y="563"/>
                  </a:lnTo>
                  <a:lnTo>
                    <a:pt x="43" y="563"/>
                  </a:lnTo>
                  <a:lnTo>
                    <a:pt x="53" y="554"/>
                  </a:lnTo>
                  <a:lnTo>
                    <a:pt x="59" y="544"/>
                  </a:lnTo>
                  <a:lnTo>
                    <a:pt x="62" y="532"/>
                  </a:lnTo>
                  <a:lnTo>
                    <a:pt x="84" y="0"/>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grpSp>
      <p:grpSp>
        <p:nvGrpSpPr>
          <p:cNvPr id="23" name="Group 4">
            <a:extLst>
              <a:ext uri="{FF2B5EF4-FFF2-40B4-BE49-F238E27FC236}">
                <a16:creationId xmlns:a16="http://schemas.microsoft.com/office/drawing/2014/main" id="{2F83042B-04C4-A0D2-4D73-48ED6FFD3521}"/>
              </a:ext>
            </a:extLst>
          </p:cNvPr>
          <p:cNvGrpSpPr>
            <a:grpSpLocks noChangeAspect="1"/>
          </p:cNvGrpSpPr>
          <p:nvPr/>
        </p:nvGrpSpPr>
        <p:grpSpPr bwMode="auto">
          <a:xfrm>
            <a:off x="8085073" y="3790593"/>
            <a:ext cx="350473" cy="1037547"/>
            <a:chOff x="3601" y="1450"/>
            <a:chExt cx="480" cy="1421"/>
          </a:xfrm>
          <a:solidFill>
            <a:schemeClr val="accent6"/>
          </a:solidFill>
        </p:grpSpPr>
        <p:sp>
          <p:nvSpPr>
            <p:cNvPr id="24" name="Freeform 5">
              <a:extLst>
                <a:ext uri="{FF2B5EF4-FFF2-40B4-BE49-F238E27FC236}">
                  <a16:creationId xmlns:a16="http://schemas.microsoft.com/office/drawing/2014/main" id="{68D6AB62-B111-7529-6937-F35547CE6CB9}"/>
                </a:ext>
              </a:extLst>
            </p:cNvPr>
            <p:cNvSpPr>
              <a:spLocks/>
            </p:cNvSpPr>
            <p:nvPr/>
          </p:nvSpPr>
          <p:spPr bwMode="auto">
            <a:xfrm>
              <a:off x="3710" y="1450"/>
              <a:ext cx="262" cy="263"/>
            </a:xfrm>
            <a:custGeom>
              <a:avLst/>
              <a:gdLst>
                <a:gd name="T0" fmla="*/ 131 w 262"/>
                <a:gd name="T1" fmla="*/ 263 h 263"/>
                <a:gd name="T2" fmla="*/ 131 w 262"/>
                <a:gd name="T3" fmla="*/ 263 h 263"/>
                <a:gd name="T4" fmla="*/ 156 w 262"/>
                <a:gd name="T5" fmla="*/ 260 h 263"/>
                <a:gd name="T6" fmla="*/ 181 w 262"/>
                <a:gd name="T7" fmla="*/ 254 h 263"/>
                <a:gd name="T8" fmla="*/ 203 w 262"/>
                <a:gd name="T9" fmla="*/ 241 h 263"/>
                <a:gd name="T10" fmla="*/ 221 w 262"/>
                <a:gd name="T11" fmla="*/ 225 h 263"/>
                <a:gd name="T12" fmla="*/ 240 w 262"/>
                <a:gd name="T13" fmla="*/ 203 h 263"/>
                <a:gd name="T14" fmla="*/ 249 w 262"/>
                <a:gd name="T15" fmla="*/ 182 h 263"/>
                <a:gd name="T16" fmla="*/ 259 w 262"/>
                <a:gd name="T17" fmla="*/ 156 h 263"/>
                <a:gd name="T18" fmla="*/ 262 w 262"/>
                <a:gd name="T19" fmla="*/ 131 h 263"/>
                <a:gd name="T20" fmla="*/ 262 w 262"/>
                <a:gd name="T21" fmla="*/ 131 h 263"/>
                <a:gd name="T22" fmla="*/ 259 w 262"/>
                <a:gd name="T23" fmla="*/ 106 h 263"/>
                <a:gd name="T24" fmla="*/ 249 w 262"/>
                <a:gd name="T25" fmla="*/ 81 h 263"/>
                <a:gd name="T26" fmla="*/ 240 w 262"/>
                <a:gd name="T27" fmla="*/ 59 h 263"/>
                <a:gd name="T28" fmla="*/ 221 w 262"/>
                <a:gd name="T29" fmla="*/ 38 h 263"/>
                <a:gd name="T30" fmla="*/ 203 w 262"/>
                <a:gd name="T31" fmla="*/ 22 h 263"/>
                <a:gd name="T32" fmla="*/ 181 w 262"/>
                <a:gd name="T33" fmla="*/ 9 h 263"/>
                <a:gd name="T34" fmla="*/ 156 w 262"/>
                <a:gd name="T35" fmla="*/ 3 h 263"/>
                <a:gd name="T36" fmla="*/ 131 w 262"/>
                <a:gd name="T37" fmla="*/ 0 h 263"/>
                <a:gd name="T38" fmla="*/ 131 w 262"/>
                <a:gd name="T39" fmla="*/ 0 h 263"/>
                <a:gd name="T40" fmla="*/ 103 w 262"/>
                <a:gd name="T41" fmla="*/ 3 h 263"/>
                <a:gd name="T42" fmla="*/ 78 w 262"/>
                <a:gd name="T43" fmla="*/ 9 h 263"/>
                <a:gd name="T44" fmla="*/ 56 w 262"/>
                <a:gd name="T45" fmla="*/ 22 h 263"/>
                <a:gd name="T46" fmla="*/ 37 w 262"/>
                <a:gd name="T47" fmla="*/ 38 h 263"/>
                <a:gd name="T48" fmla="*/ 22 w 262"/>
                <a:gd name="T49" fmla="*/ 59 h 263"/>
                <a:gd name="T50" fmla="*/ 9 w 262"/>
                <a:gd name="T51" fmla="*/ 81 h 263"/>
                <a:gd name="T52" fmla="*/ 3 w 262"/>
                <a:gd name="T53" fmla="*/ 106 h 263"/>
                <a:gd name="T54" fmla="*/ 0 w 262"/>
                <a:gd name="T55" fmla="*/ 131 h 263"/>
                <a:gd name="T56" fmla="*/ 0 w 262"/>
                <a:gd name="T57" fmla="*/ 131 h 263"/>
                <a:gd name="T58" fmla="*/ 3 w 262"/>
                <a:gd name="T59" fmla="*/ 156 h 263"/>
                <a:gd name="T60" fmla="*/ 9 w 262"/>
                <a:gd name="T61" fmla="*/ 182 h 263"/>
                <a:gd name="T62" fmla="*/ 22 w 262"/>
                <a:gd name="T63" fmla="*/ 203 h 263"/>
                <a:gd name="T64" fmla="*/ 37 w 262"/>
                <a:gd name="T65" fmla="*/ 225 h 263"/>
                <a:gd name="T66" fmla="*/ 56 w 262"/>
                <a:gd name="T67" fmla="*/ 241 h 263"/>
                <a:gd name="T68" fmla="*/ 78 w 262"/>
                <a:gd name="T69" fmla="*/ 254 h 263"/>
                <a:gd name="T70" fmla="*/ 103 w 262"/>
                <a:gd name="T71" fmla="*/ 260 h 263"/>
                <a:gd name="T72" fmla="*/ 131 w 262"/>
                <a:gd name="T73" fmla="*/ 263 h 263"/>
                <a:gd name="T74" fmla="*/ 131 w 262"/>
                <a:gd name="T75"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2" h="263">
                  <a:moveTo>
                    <a:pt x="131" y="263"/>
                  </a:moveTo>
                  <a:lnTo>
                    <a:pt x="131" y="263"/>
                  </a:lnTo>
                  <a:lnTo>
                    <a:pt x="156" y="260"/>
                  </a:lnTo>
                  <a:lnTo>
                    <a:pt x="181" y="254"/>
                  </a:lnTo>
                  <a:lnTo>
                    <a:pt x="203" y="241"/>
                  </a:lnTo>
                  <a:lnTo>
                    <a:pt x="221" y="225"/>
                  </a:lnTo>
                  <a:lnTo>
                    <a:pt x="240" y="203"/>
                  </a:lnTo>
                  <a:lnTo>
                    <a:pt x="249" y="182"/>
                  </a:lnTo>
                  <a:lnTo>
                    <a:pt x="259" y="156"/>
                  </a:lnTo>
                  <a:lnTo>
                    <a:pt x="262" y="131"/>
                  </a:lnTo>
                  <a:lnTo>
                    <a:pt x="262" y="131"/>
                  </a:lnTo>
                  <a:lnTo>
                    <a:pt x="259" y="106"/>
                  </a:lnTo>
                  <a:lnTo>
                    <a:pt x="249" y="81"/>
                  </a:lnTo>
                  <a:lnTo>
                    <a:pt x="240" y="59"/>
                  </a:lnTo>
                  <a:lnTo>
                    <a:pt x="221" y="38"/>
                  </a:lnTo>
                  <a:lnTo>
                    <a:pt x="203" y="22"/>
                  </a:lnTo>
                  <a:lnTo>
                    <a:pt x="181" y="9"/>
                  </a:lnTo>
                  <a:lnTo>
                    <a:pt x="156" y="3"/>
                  </a:lnTo>
                  <a:lnTo>
                    <a:pt x="131" y="0"/>
                  </a:lnTo>
                  <a:lnTo>
                    <a:pt x="131" y="0"/>
                  </a:lnTo>
                  <a:lnTo>
                    <a:pt x="103" y="3"/>
                  </a:lnTo>
                  <a:lnTo>
                    <a:pt x="78" y="9"/>
                  </a:lnTo>
                  <a:lnTo>
                    <a:pt x="56" y="22"/>
                  </a:lnTo>
                  <a:lnTo>
                    <a:pt x="37" y="38"/>
                  </a:lnTo>
                  <a:lnTo>
                    <a:pt x="22" y="59"/>
                  </a:lnTo>
                  <a:lnTo>
                    <a:pt x="9" y="81"/>
                  </a:lnTo>
                  <a:lnTo>
                    <a:pt x="3" y="106"/>
                  </a:lnTo>
                  <a:lnTo>
                    <a:pt x="0" y="131"/>
                  </a:lnTo>
                  <a:lnTo>
                    <a:pt x="0" y="131"/>
                  </a:lnTo>
                  <a:lnTo>
                    <a:pt x="3" y="156"/>
                  </a:lnTo>
                  <a:lnTo>
                    <a:pt x="9" y="182"/>
                  </a:lnTo>
                  <a:lnTo>
                    <a:pt x="22" y="203"/>
                  </a:lnTo>
                  <a:lnTo>
                    <a:pt x="37" y="225"/>
                  </a:lnTo>
                  <a:lnTo>
                    <a:pt x="56" y="241"/>
                  </a:lnTo>
                  <a:lnTo>
                    <a:pt x="78" y="254"/>
                  </a:lnTo>
                  <a:lnTo>
                    <a:pt x="103" y="260"/>
                  </a:lnTo>
                  <a:lnTo>
                    <a:pt x="131" y="263"/>
                  </a:lnTo>
                  <a:lnTo>
                    <a:pt x="131"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25" name="Freeform 6">
              <a:extLst>
                <a:ext uri="{FF2B5EF4-FFF2-40B4-BE49-F238E27FC236}">
                  <a16:creationId xmlns:a16="http://schemas.microsoft.com/office/drawing/2014/main" id="{84B7F72D-7037-2209-64FE-95D6EDA2201D}"/>
                </a:ext>
              </a:extLst>
            </p:cNvPr>
            <p:cNvSpPr>
              <a:spLocks/>
            </p:cNvSpPr>
            <p:nvPr/>
          </p:nvSpPr>
          <p:spPr bwMode="auto">
            <a:xfrm>
              <a:off x="3691" y="1732"/>
              <a:ext cx="300" cy="1139"/>
            </a:xfrm>
            <a:custGeom>
              <a:avLst/>
              <a:gdLst>
                <a:gd name="T0" fmla="*/ 150 w 300"/>
                <a:gd name="T1" fmla="*/ 112 h 1139"/>
                <a:gd name="T2" fmla="*/ 75 w 300"/>
                <a:gd name="T3" fmla="*/ 0 h 1139"/>
                <a:gd name="T4" fmla="*/ 0 w 300"/>
                <a:gd name="T5" fmla="*/ 0 h 1139"/>
                <a:gd name="T6" fmla="*/ 32 w 300"/>
                <a:gd name="T7" fmla="*/ 532 h 1139"/>
                <a:gd name="T8" fmla="*/ 32 w 300"/>
                <a:gd name="T9" fmla="*/ 532 h 1139"/>
                <a:gd name="T10" fmla="*/ 32 w 300"/>
                <a:gd name="T11" fmla="*/ 1089 h 1139"/>
                <a:gd name="T12" fmla="*/ 32 w 300"/>
                <a:gd name="T13" fmla="*/ 1089 h 1139"/>
                <a:gd name="T14" fmla="*/ 32 w 300"/>
                <a:gd name="T15" fmla="*/ 1098 h 1139"/>
                <a:gd name="T16" fmla="*/ 35 w 300"/>
                <a:gd name="T17" fmla="*/ 1108 h 1139"/>
                <a:gd name="T18" fmla="*/ 44 w 300"/>
                <a:gd name="T19" fmla="*/ 1123 h 1139"/>
                <a:gd name="T20" fmla="*/ 63 w 300"/>
                <a:gd name="T21" fmla="*/ 1133 h 1139"/>
                <a:gd name="T22" fmla="*/ 72 w 300"/>
                <a:gd name="T23" fmla="*/ 1136 h 1139"/>
                <a:gd name="T24" fmla="*/ 81 w 300"/>
                <a:gd name="T25" fmla="*/ 1139 h 1139"/>
                <a:gd name="T26" fmla="*/ 81 w 300"/>
                <a:gd name="T27" fmla="*/ 1139 h 1139"/>
                <a:gd name="T28" fmla="*/ 91 w 300"/>
                <a:gd name="T29" fmla="*/ 1136 h 1139"/>
                <a:gd name="T30" fmla="*/ 100 w 300"/>
                <a:gd name="T31" fmla="*/ 1133 h 1139"/>
                <a:gd name="T32" fmla="*/ 116 w 300"/>
                <a:gd name="T33" fmla="*/ 1123 h 1139"/>
                <a:gd name="T34" fmla="*/ 128 w 300"/>
                <a:gd name="T35" fmla="*/ 1108 h 1139"/>
                <a:gd name="T36" fmla="*/ 128 w 300"/>
                <a:gd name="T37" fmla="*/ 1098 h 1139"/>
                <a:gd name="T38" fmla="*/ 131 w 300"/>
                <a:gd name="T39" fmla="*/ 1089 h 1139"/>
                <a:gd name="T40" fmla="*/ 131 w 300"/>
                <a:gd name="T41" fmla="*/ 532 h 1139"/>
                <a:gd name="T42" fmla="*/ 169 w 300"/>
                <a:gd name="T43" fmla="*/ 532 h 1139"/>
                <a:gd name="T44" fmla="*/ 169 w 300"/>
                <a:gd name="T45" fmla="*/ 1089 h 1139"/>
                <a:gd name="T46" fmla="*/ 169 w 300"/>
                <a:gd name="T47" fmla="*/ 1089 h 1139"/>
                <a:gd name="T48" fmla="*/ 169 w 300"/>
                <a:gd name="T49" fmla="*/ 1098 h 1139"/>
                <a:gd name="T50" fmla="*/ 172 w 300"/>
                <a:gd name="T51" fmla="*/ 1108 h 1139"/>
                <a:gd name="T52" fmla="*/ 181 w 300"/>
                <a:gd name="T53" fmla="*/ 1123 h 1139"/>
                <a:gd name="T54" fmla="*/ 200 w 300"/>
                <a:gd name="T55" fmla="*/ 1133 h 1139"/>
                <a:gd name="T56" fmla="*/ 209 w 300"/>
                <a:gd name="T57" fmla="*/ 1136 h 1139"/>
                <a:gd name="T58" fmla="*/ 219 w 300"/>
                <a:gd name="T59" fmla="*/ 1139 h 1139"/>
                <a:gd name="T60" fmla="*/ 219 w 300"/>
                <a:gd name="T61" fmla="*/ 1139 h 1139"/>
                <a:gd name="T62" fmla="*/ 228 w 300"/>
                <a:gd name="T63" fmla="*/ 1136 h 1139"/>
                <a:gd name="T64" fmla="*/ 237 w 300"/>
                <a:gd name="T65" fmla="*/ 1133 h 1139"/>
                <a:gd name="T66" fmla="*/ 253 w 300"/>
                <a:gd name="T67" fmla="*/ 1123 h 1139"/>
                <a:gd name="T68" fmla="*/ 265 w 300"/>
                <a:gd name="T69" fmla="*/ 1108 h 1139"/>
                <a:gd name="T70" fmla="*/ 265 w 300"/>
                <a:gd name="T71" fmla="*/ 1098 h 1139"/>
                <a:gd name="T72" fmla="*/ 268 w 300"/>
                <a:gd name="T73" fmla="*/ 1089 h 1139"/>
                <a:gd name="T74" fmla="*/ 268 w 300"/>
                <a:gd name="T75" fmla="*/ 532 h 1139"/>
                <a:gd name="T76" fmla="*/ 268 w 300"/>
                <a:gd name="T77" fmla="*/ 532 h 1139"/>
                <a:gd name="T78" fmla="*/ 300 w 300"/>
                <a:gd name="T79" fmla="*/ 0 h 1139"/>
                <a:gd name="T80" fmla="*/ 225 w 300"/>
                <a:gd name="T81" fmla="*/ 0 h 1139"/>
                <a:gd name="T82" fmla="*/ 150 w 300"/>
                <a:gd name="T83" fmla="*/ 112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0" h="1139">
                  <a:moveTo>
                    <a:pt x="150" y="112"/>
                  </a:moveTo>
                  <a:lnTo>
                    <a:pt x="75" y="0"/>
                  </a:lnTo>
                  <a:lnTo>
                    <a:pt x="0" y="0"/>
                  </a:lnTo>
                  <a:lnTo>
                    <a:pt x="32" y="532"/>
                  </a:lnTo>
                  <a:lnTo>
                    <a:pt x="32" y="532"/>
                  </a:lnTo>
                  <a:lnTo>
                    <a:pt x="32" y="1089"/>
                  </a:lnTo>
                  <a:lnTo>
                    <a:pt x="32" y="1089"/>
                  </a:lnTo>
                  <a:lnTo>
                    <a:pt x="32" y="1098"/>
                  </a:lnTo>
                  <a:lnTo>
                    <a:pt x="35" y="1108"/>
                  </a:lnTo>
                  <a:lnTo>
                    <a:pt x="44" y="1123"/>
                  </a:lnTo>
                  <a:lnTo>
                    <a:pt x="63" y="1133"/>
                  </a:lnTo>
                  <a:lnTo>
                    <a:pt x="72" y="1136"/>
                  </a:lnTo>
                  <a:lnTo>
                    <a:pt x="81" y="1139"/>
                  </a:lnTo>
                  <a:lnTo>
                    <a:pt x="81" y="1139"/>
                  </a:lnTo>
                  <a:lnTo>
                    <a:pt x="91" y="1136"/>
                  </a:lnTo>
                  <a:lnTo>
                    <a:pt x="100" y="1133"/>
                  </a:lnTo>
                  <a:lnTo>
                    <a:pt x="116" y="1123"/>
                  </a:lnTo>
                  <a:lnTo>
                    <a:pt x="128" y="1108"/>
                  </a:lnTo>
                  <a:lnTo>
                    <a:pt x="128" y="1098"/>
                  </a:lnTo>
                  <a:lnTo>
                    <a:pt x="131" y="1089"/>
                  </a:lnTo>
                  <a:lnTo>
                    <a:pt x="131" y="532"/>
                  </a:lnTo>
                  <a:lnTo>
                    <a:pt x="169" y="532"/>
                  </a:lnTo>
                  <a:lnTo>
                    <a:pt x="169" y="1089"/>
                  </a:lnTo>
                  <a:lnTo>
                    <a:pt x="169" y="1089"/>
                  </a:lnTo>
                  <a:lnTo>
                    <a:pt x="169" y="1098"/>
                  </a:lnTo>
                  <a:lnTo>
                    <a:pt x="172" y="1108"/>
                  </a:lnTo>
                  <a:lnTo>
                    <a:pt x="181" y="1123"/>
                  </a:lnTo>
                  <a:lnTo>
                    <a:pt x="200" y="1133"/>
                  </a:lnTo>
                  <a:lnTo>
                    <a:pt x="209" y="1136"/>
                  </a:lnTo>
                  <a:lnTo>
                    <a:pt x="219" y="1139"/>
                  </a:lnTo>
                  <a:lnTo>
                    <a:pt x="219" y="1139"/>
                  </a:lnTo>
                  <a:lnTo>
                    <a:pt x="228" y="1136"/>
                  </a:lnTo>
                  <a:lnTo>
                    <a:pt x="237" y="1133"/>
                  </a:lnTo>
                  <a:lnTo>
                    <a:pt x="253" y="1123"/>
                  </a:lnTo>
                  <a:lnTo>
                    <a:pt x="265" y="1108"/>
                  </a:lnTo>
                  <a:lnTo>
                    <a:pt x="265" y="1098"/>
                  </a:lnTo>
                  <a:lnTo>
                    <a:pt x="268" y="1089"/>
                  </a:lnTo>
                  <a:lnTo>
                    <a:pt x="268" y="532"/>
                  </a:lnTo>
                  <a:lnTo>
                    <a:pt x="268" y="532"/>
                  </a:lnTo>
                  <a:lnTo>
                    <a:pt x="300" y="0"/>
                  </a:lnTo>
                  <a:lnTo>
                    <a:pt x="225" y="0"/>
                  </a:lnTo>
                  <a:lnTo>
                    <a:pt x="15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26" name="Freeform 7">
              <a:extLst>
                <a:ext uri="{FF2B5EF4-FFF2-40B4-BE49-F238E27FC236}">
                  <a16:creationId xmlns:a16="http://schemas.microsoft.com/office/drawing/2014/main" id="{828F4AA1-0F70-6F61-AEE5-275ED5D9B35E}"/>
                </a:ext>
              </a:extLst>
            </p:cNvPr>
            <p:cNvSpPr>
              <a:spLocks/>
            </p:cNvSpPr>
            <p:nvPr/>
          </p:nvSpPr>
          <p:spPr bwMode="auto">
            <a:xfrm>
              <a:off x="3601" y="1732"/>
              <a:ext cx="84" cy="563"/>
            </a:xfrm>
            <a:custGeom>
              <a:avLst/>
              <a:gdLst>
                <a:gd name="T0" fmla="*/ 0 w 84"/>
                <a:gd name="T1" fmla="*/ 0 h 563"/>
                <a:gd name="T2" fmla="*/ 22 w 84"/>
                <a:gd name="T3" fmla="*/ 532 h 563"/>
                <a:gd name="T4" fmla="*/ 22 w 84"/>
                <a:gd name="T5" fmla="*/ 532 h 563"/>
                <a:gd name="T6" fmla="*/ 25 w 84"/>
                <a:gd name="T7" fmla="*/ 544 h 563"/>
                <a:gd name="T8" fmla="*/ 31 w 84"/>
                <a:gd name="T9" fmla="*/ 554 h 563"/>
                <a:gd name="T10" fmla="*/ 41 w 84"/>
                <a:gd name="T11" fmla="*/ 563 h 563"/>
                <a:gd name="T12" fmla="*/ 53 w 84"/>
                <a:gd name="T13" fmla="*/ 563 h 563"/>
                <a:gd name="T14" fmla="*/ 53 w 84"/>
                <a:gd name="T15" fmla="*/ 563 h 563"/>
                <a:gd name="T16" fmla="*/ 65 w 84"/>
                <a:gd name="T17" fmla="*/ 563 h 563"/>
                <a:gd name="T18" fmla="*/ 75 w 84"/>
                <a:gd name="T19" fmla="*/ 554 h 563"/>
                <a:gd name="T20" fmla="*/ 81 w 84"/>
                <a:gd name="T21" fmla="*/ 544 h 563"/>
                <a:gd name="T22" fmla="*/ 84 w 84"/>
                <a:gd name="T23" fmla="*/ 532 h 563"/>
                <a:gd name="T24" fmla="*/ 53 w 84"/>
                <a:gd name="T25" fmla="*/ 0 h 563"/>
                <a:gd name="T26" fmla="*/ 0 w 84"/>
                <a:gd name="T27"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563">
                  <a:moveTo>
                    <a:pt x="0" y="0"/>
                  </a:moveTo>
                  <a:lnTo>
                    <a:pt x="22" y="532"/>
                  </a:lnTo>
                  <a:lnTo>
                    <a:pt x="22" y="532"/>
                  </a:lnTo>
                  <a:lnTo>
                    <a:pt x="25" y="544"/>
                  </a:lnTo>
                  <a:lnTo>
                    <a:pt x="31" y="554"/>
                  </a:lnTo>
                  <a:lnTo>
                    <a:pt x="41" y="563"/>
                  </a:lnTo>
                  <a:lnTo>
                    <a:pt x="53" y="563"/>
                  </a:lnTo>
                  <a:lnTo>
                    <a:pt x="53" y="563"/>
                  </a:lnTo>
                  <a:lnTo>
                    <a:pt x="65" y="563"/>
                  </a:lnTo>
                  <a:lnTo>
                    <a:pt x="75" y="554"/>
                  </a:lnTo>
                  <a:lnTo>
                    <a:pt x="81" y="544"/>
                  </a:lnTo>
                  <a:lnTo>
                    <a:pt x="84" y="532"/>
                  </a:lnTo>
                  <a:lnTo>
                    <a:pt x="5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27" name="Freeform 8">
              <a:extLst>
                <a:ext uri="{FF2B5EF4-FFF2-40B4-BE49-F238E27FC236}">
                  <a16:creationId xmlns:a16="http://schemas.microsoft.com/office/drawing/2014/main" id="{E077B087-6C7D-DD1D-33AC-98EF21A8D7D5}"/>
                </a:ext>
              </a:extLst>
            </p:cNvPr>
            <p:cNvSpPr>
              <a:spLocks/>
            </p:cNvSpPr>
            <p:nvPr/>
          </p:nvSpPr>
          <p:spPr bwMode="auto">
            <a:xfrm>
              <a:off x="3997" y="1732"/>
              <a:ext cx="84" cy="563"/>
            </a:xfrm>
            <a:custGeom>
              <a:avLst/>
              <a:gdLst>
                <a:gd name="T0" fmla="*/ 31 w 84"/>
                <a:gd name="T1" fmla="*/ 0 h 563"/>
                <a:gd name="T2" fmla="*/ 0 w 84"/>
                <a:gd name="T3" fmla="*/ 532 h 563"/>
                <a:gd name="T4" fmla="*/ 0 w 84"/>
                <a:gd name="T5" fmla="*/ 532 h 563"/>
                <a:gd name="T6" fmla="*/ 3 w 84"/>
                <a:gd name="T7" fmla="*/ 544 h 563"/>
                <a:gd name="T8" fmla="*/ 9 w 84"/>
                <a:gd name="T9" fmla="*/ 554 h 563"/>
                <a:gd name="T10" fmla="*/ 19 w 84"/>
                <a:gd name="T11" fmla="*/ 563 h 563"/>
                <a:gd name="T12" fmla="*/ 31 w 84"/>
                <a:gd name="T13" fmla="*/ 563 h 563"/>
                <a:gd name="T14" fmla="*/ 31 w 84"/>
                <a:gd name="T15" fmla="*/ 563 h 563"/>
                <a:gd name="T16" fmla="*/ 43 w 84"/>
                <a:gd name="T17" fmla="*/ 563 h 563"/>
                <a:gd name="T18" fmla="*/ 53 w 84"/>
                <a:gd name="T19" fmla="*/ 554 h 563"/>
                <a:gd name="T20" fmla="*/ 59 w 84"/>
                <a:gd name="T21" fmla="*/ 544 h 563"/>
                <a:gd name="T22" fmla="*/ 62 w 84"/>
                <a:gd name="T23" fmla="*/ 532 h 563"/>
                <a:gd name="T24" fmla="*/ 84 w 84"/>
                <a:gd name="T25" fmla="*/ 0 h 563"/>
                <a:gd name="T26" fmla="*/ 31 w 84"/>
                <a:gd name="T27"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563">
                  <a:moveTo>
                    <a:pt x="31" y="0"/>
                  </a:moveTo>
                  <a:lnTo>
                    <a:pt x="0" y="532"/>
                  </a:lnTo>
                  <a:lnTo>
                    <a:pt x="0" y="532"/>
                  </a:lnTo>
                  <a:lnTo>
                    <a:pt x="3" y="544"/>
                  </a:lnTo>
                  <a:lnTo>
                    <a:pt x="9" y="554"/>
                  </a:lnTo>
                  <a:lnTo>
                    <a:pt x="19" y="563"/>
                  </a:lnTo>
                  <a:lnTo>
                    <a:pt x="31" y="563"/>
                  </a:lnTo>
                  <a:lnTo>
                    <a:pt x="31" y="563"/>
                  </a:lnTo>
                  <a:lnTo>
                    <a:pt x="43" y="563"/>
                  </a:lnTo>
                  <a:lnTo>
                    <a:pt x="53" y="554"/>
                  </a:lnTo>
                  <a:lnTo>
                    <a:pt x="59" y="544"/>
                  </a:lnTo>
                  <a:lnTo>
                    <a:pt x="62" y="532"/>
                  </a:lnTo>
                  <a:lnTo>
                    <a:pt x="84" y="0"/>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grpSp>
      <p:grpSp>
        <p:nvGrpSpPr>
          <p:cNvPr id="28" name="Group 4">
            <a:extLst>
              <a:ext uri="{FF2B5EF4-FFF2-40B4-BE49-F238E27FC236}">
                <a16:creationId xmlns:a16="http://schemas.microsoft.com/office/drawing/2014/main" id="{80355582-C0CE-AAAC-7972-ADB450A94024}"/>
              </a:ext>
            </a:extLst>
          </p:cNvPr>
          <p:cNvGrpSpPr>
            <a:grpSpLocks noChangeAspect="1"/>
          </p:cNvGrpSpPr>
          <p:nvPr/>
        </p:nvGrpSpPr>
        <p:grpSpPr bwMode="auto">
          <a:xfrm>
            <a:off x="1928529" y="2998370"/>
            <a:ext cx="1248519" cy="1058639"/>
            <a:chOff x="3601" y="1957"/>
            <a:chExt cx="480" cy="407"/>
          </a:xfrm>
          <a:solidFill>
            <a:schemeClr val="accent1"/>
          </a:solidFill>
        </p:grpSpPr>
        <p:sp>
          <p:nvSpPr>
            <p:cNvPr id="29" name="Freeform 5">
              <a:extLst>
                <a:ext uri="{FF2B5EF4-FFF2-40B4-BE49-F238E27FC236}">
                  <a16:creationId xmlns:a16="http://schemas.microsoft.com/office/drawing/2014/main" id="{8FC81CFA-AA0F-F0BD-7032-1F8E8FB571D4}"/>
                </a:ext>
              </a:extLst>
            </p:cNvPr>
            <p:cNvSpPr>
              <a:spLocks/>
            </p:cNvSpPr>
            <p:nvPr/>
          </p:nvSpPr>
          <p:spPr bwMode="auto">
            <a:xfrm>
              <a:off x="3601" y="2037"/>
              <a:ext cx="24" cy="163"/>
            </a:xfrm>
            <a:custGeom>
              <a:avLst/>
              <a:gdLst>
                <a:gd name="T0" fmla="*/ 0 w 24"/>
                <a:gd name="T1" fmla="*/ 0 h 163"/>
                <a:gd name="T2" fmla="*/ 6 w 24"/>
                <a:gd name="T3" fmla="*/ 154 h 163"/>
                <a:gd name="T4" fmla="*/ 6 w 24"/>
                <a:gd name="T5" fmla="*/ 154 h 163"/>
                <a:gd name="T6" fmla="*/ 7 w 24"/>
                <a:gd name="T7" fmla="*/ 157 h 163"/>
                <a:gd name="T8" fmla="*/ 8 w 24"/>
                <a:gd name="T9" fmla="*/ 160 h 163"/>
                <a:gd name="T10" fmla="*/ 12 w 24"/>
                <a:gd name="T11" fmla="*/ 161 h 163"/>
                <a:gd name="T12" fmla="*/ 15 w 24"/>
                <a:gd name="T13" fmla="*/ 163 h 163"/>
                <a:gd name="T14" fmla="*/ 15 w 24"/>
                <a:gd name="T15" fmla="*/ 163 h 163"/>
                <a:gd name="T16" fmla="*/ 19 w 24"/>
                <a:gd name="T17" fmla="*/ 161 h 163"/>
                <a:gd name="T18" fmla="*/ 22 w 24"/>
                <a:gd name="T19" fmla="*/ 160 h 163"/>
                <a:gd name="T20" fmla="*/ 23 w 24"/>
                <a:gd name="T21" fmla="*/ 157 h 163"/>
                <a:gd name="T22" fmla="*/ 24 w 24"/>
                <a:gd name="T23" fmla="*/ 154 h 163"/>
                <a:gd name="T24" fmla="*/ 15 w 24"/>
                <a:gd name="T25" fmla="*/ 0 h 163"/>
                <a:gd name="T26" fmla="*/ 0 w 24"/>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63">
                  <a:moveTo>
                    <a:pt x="0" y="0"/>
                  </a:moveTo>
                  <a:lnTo>
                    <a:pt x="6" y="154"/>
                  </a:lnTo>
                  <a:lnTo>
                    <a:pt x="6" y="154"/>
                  </a:lnTo>
                  <a:lnTo>
                    <a:pt x="7" y="157"/>
                  </a:lnTo>
                  <a:lnTo>
                    <a:pt x="8" y="160"/>
                  </a:lnTo>
                  <a:lnTo>
                    <a:pt x="12" y="161"/>
                  </a:lnTo>
                  <a:lnTo>
                    <a:pt x="15" y="163"/>
                  </a:lnTo>
                  <a:lnTo>
                    <a:pt x="15" y="163"/>
                  </a:lnTo>
                  <a:lnTo>
                    <a:pt x="19" y="161"/>
                  </a:lnTo>
                  <a:lnTo>
                    <a:pt x="22" y="160"/>
                  </a:lnTo>
                  <a:lnTo>
                    <a:pt x="23" y="157"/>
                  </a:lnTo>
                  <a:lnTo>
                    <a:pt x="24" y="154"/>
                  </a:lnTo>
                  <a:lnTo>
                    <a:pt x="1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30" name="Freeform 6">
              <a:extLst>
                <a:ext uri="{FF2B5EF4-FFF2-40B4-BE49-F238E27FC236}">
                  <a16:creationId xmlns:a16="http://schemas.microsoft.com/office/drawing/2014/main" id="{BA6DEEBD-EF0A-7B4E-4798-F86A84EC74BD}"/>
                </a:ext>
              </a:extLst>
            </p:cNvPr>
            <p:cNvSpPr>
              <a:spLocks/>
            </p:cNvSpPr>
            <p:nvPr/>
          </p:nvSpPr>
          <p:spPr bwMode="auto">
            <a:xfrm>
              <a:off x="3715" y="2037"/>
              <a:ext cx="25" cy="163"/>
            </a:xfrm>
            <a:custGeom>
              <a:avLst/>
              <a:gdLst>
                <a:gd name="T0" fmla="*/ 0 w 25"/>
                <a:gd name="T1" fmla="*/ 154 h 163"/>
                <a:gd name="T2" fmla="*/ 0 w 25"/>
                <a:gd name="T3" fmla="*/ 154 h 163"/>
                <a:gd name="T4" fmla="*/ 1 w 25"/>
                <a:gd name="T5" fmla="*/ 157 h 163"/>
                <a:gd name="T6" fmla="*/ 3 w 25"/>
                <a:gd name="T7" fmla="*/ 160 h 163"/>
                <a:gd name="T8" fmla="*/ 7 w 25"/>
                <a:gd name="T9" fmla="*/ 161 h 163"/>
                <a:gd name="T10" fmla="*/ 10 w 25"/>
                <a:gd name="T11" fmla="*/ 163 h 163"/>
                <a:gd name="T12" fmla="*/ 10 w 25"/>
                <a:gd name="T13" fmla="*/ 163 h 163"/>
                <a:gd name="T14" fmla="*/ 13 w 25"/>
                <a:gd name="T15" fmla="*/ 161 h 163"/>
                <a:gd name="T16" fmla="*/ 16 w 25"/>
                <a:gd name="T17" fmla="*/ 160 h 163"/>
                <a:gd name="T18" fmla="*/ 18 w 25"/>
                <a:gd name="T19" fmla="*/ 157 h 163"/>
                <a:gd name="T20" fmla="*/ 18 w 25"/>
                <a:gd name="T21" fmla="*/ 154 h 163"/>
                <a:gd name="T22" fmla="*/ 25 w 25"/>
                <a:gd name="T23" fmla="*/ 0 h 163"/>
                <a:gd name="T24" fmla="*/ 10 w 25"/>
                <a:gd name="T25" fmla="*/ 0 h 163"/>
                <a:gd name="T26" fmla="*/ 0 w 25"/>
                <a:gd name="T27" fmla="*/ 154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63">
                  <a:moveTo>
                    <a:pt x="0" y="154"/>
                  </a:moveTo>
                  <a:lnTo>
                    <a:pt x="0" y="154"/>
                  </a:lnTo>
                  <a:lnTo>
                    <a:pt x="1" y="157"/>
                  </a:lnTo>
                  <a:lnTo>
                    <a:pt x="3" y="160"/>
                  </a:lnTo>
                  <a:lnTo>
                    <a:pt x="7" y="161"/>
                  </a:lnTo>
                  <a:lnTo>
                    <a:pt x="10" y="163"/>
                  </a:lnTo>
                  <a:lnTo>
                    <a:pt x="10" y="163"/>
                  </a:lnTo>
                  <a:lnTo>
                    <a:pt x="13" y="161"/>
                  </a:lnTo>
                  <a:lnTo>
                    <a:pt x="16" y="160"/>
                  </a:lnTo>
                  <a:lnTo>
                    <a:pt x="18" y="157"/>
                  </a:lnTo>
                  <a:lnTo>
                    <a:pt x="18" y="154"/>
                  </a:lnTo>
                  <a:lnTo>
                    <a:pt x="25" y="0"/>
                  </a:lnTo>
                  <a:lnTo>
                    <a:pt x="10" y="0"/>
                  </a:lnTo>
                  <a:lnTo>
                    <a:pt x="0"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31" name="Freeform 7">
              <a:extLst>
                <a:ext uri="{FF2B5EF4-FFF2-40B4-BE49-F238E27FC236}">
                  <a16:creationId xmlns:a16="http://schemas.microsoft.com/office/drawing/2014/main" id="{3F41FE4E-B0AA-B9C8-9744-0929650767F9}"/>
                </a:ext>
              </a:extLst>
            </p:cNvPr>
            <p:cNvSpPr>
              <a:spLocks/>
            </p:cNvSpPr>
            <p:nvPr/>
          </p:nvSpPr>
          <p:spPr bwMode="auto">
            <a:xfrm>
              <a:off x="3633" y="1957"/>
              <a:ext cx="75" cy="75"/>
            </a:xfrm>
            <a:custGeom>
              <a:avLst/>
              <a:gdLst>
                <a:gd name="T0" fmla="*/ 38 w 75"/>
                <a:gd name="T1" fmla="*/ 75 h 75"/>
                <a:gd name="T2" fmla="*/ 38 w 75"/>
                <a:gd name="T3" fmla="*/ 75 h 75"/>
                <a:gd name="T4" fmla="*/ 45 w 75"/>
                <a:gd name="T5" fmla="*/ 75 h 75"/>
                <a:gd name="T6" fmla="*/ 53 w 75"/>
                <a:gd name="T7" fmla="*/ 73 h 75"/>
                <a:gd name="T8" fmla="*/ 59 w 75"/>
                <a:gd name="T9" fmla="*/ 69 h 75"/>
                <a:gd name="T10" fmla="*/ 64 w 75"/>
                <a:gd name="T11" fmla="*/ 64 h 75"/>
                <a:gd name="T12" fmla="*/ 68 w 75"/>
                <a:gd name="T13" fmla="*/ 59 h 75"/>
                <a:gd name="T14" fmla="*/ 73 w 75"/>
                <a:gd name="T15" fmla="*/ 52 h 75"/>
                <a:gd name="T16" fmla="*/ 75 w 75"/>
                <a:gd name="T17" fmla="*/ 45 h 75"/>
                <a:gd name="T18" fmla="*/ 75 w 75"/>
                <a:gd name="T19" fmla="*/ 38 h 75"/>
                <a:gd name="T20" fmla="*/ 75 w 75"/>
                <a:gd name="T21" fmla="*/ 38 h 75"/>
                <a:gd name="T22" fmla="*/ 75 w 75"/>
                <a:gd name="T23" fmla="*/ 30 h 75"/>
                <a:gd name="T24" fmla="*/ 73 w 75"/>
                <a:gd name="T25" fmla="*/ 23 h 75"/>
                <a:gd name="T26" fmla="*/ 68 w 75"/>
                <a:gd name="T27" fmla="*/ 17 h 75"/>
                <a:gd name="T28" fmla="*/ 64 w 75"/>
                <a:gd name="T29" fmla="*/ 11 h 75"/>
                <a:gd name="T30" fmla="*/ 59 w 75"/>
                <a:gd name="T31" fmla="*/ 6 h 75"/>
                <a:gd name="T32" fmla="*/ 53 w 75"/>
                <a:gd name="T33" fmla="*/ 3 h 75"/>
                <a:gd name="T34" fmla="*/ 45 w 75"/>
                <a:gd name="T35" fmla="*/ 1 h 75"/>
                <a:gd name="T36" fmla="*/ 38 w 75"/>
                <a:gd name="T37" fmla="*/ 0 h 75"/>
                <a:gd name="T38" fmla="*/ 38 w 75"/>
                <a:gd name="T39" fmla="*/ 0 h 75"/>
                <a:gd name="T40" fmla="*/ 29 w 75"/>
                <a:gd name="T41" fmla="*/ 1 h 75"/>
                <a:gd name="T42" fmla="*/ 23 w 75"/>
                <a:gd name="T43" fmla="*/ 3 h 75"/>
                <a:gd name="T44" fmla="*/ 17 w 75"/>
                <a:gd name="T45" fmla="*/ 6 h 75"/>
                <a:gd name="T46" fmla="*/ 10 w 75"/>
                <a:gd name="T47" fmla="*/ 11 h 75"/>
                <a:gd name="T48" fmla="*/ 6 w 75"/>
                <a:gd name="T49" fmla="*/ 17 h 75"/>
                <a:gd name="T50" fmla="*/ 3 w 75"/>
                <a:gd name="T51" fmla="*/ 23 h 75"/>
                <a:gd name="T52" fmla="*/ 1 w 75"/>
                <a:gd name="T53" fmla="*/ 30 h 75"/>
                <a:gd name="T54" fmla="*/ 0 w 75"/>
                <a:gd name="T55" fmla="*/ 38 h 75"/>
                <a:gd name="T56" fmla="*/ 0 w 75"/>
                <a:gd name="T57" fmla="*/ 38 h 75"/>
                <a:gd name="T58" fmla="*/ 1 w 75"/>
                <a:gd name="T59" fmla="*/ 45 h 75"/>
                <a:gd name="T60" fmla="*/ 3 w 75"/>
                <a:gd name="T61" fmla="*/ 52 h 75"/>
                <a:gd name="T62" fmla="*/ 6 w 75"/>
                <a:gd name="T63" fmla="*/ 59 h 75"/>
                <a:gd name="T64" fmla="*/ 10 w 75"/>
                <a:gd name="T65" fmla="*/ 64 h 75"/>
                <a:gd name="T66" fmla="*/ 17 w 75"/>
                <a:gd name="T67" fmla="*/ 69 h 75"/>
                <a:gd name="T68" fmla="*/ 23 w 75"/>
                <a:gd name="T69" fmla="*/ 73 h 75"/>
                <a:gd name="T70" fmla="*/ 29 w 75"/>
                <a:gd name="T71" fmla="*/ 75 h 75"/>
                <a:gd name="T72" fmla="*/ 38 w 75"/>
                <a:gd name="T73" fmla="*/ 75 h 75"/>
                <a:gd name="T74" fmla="*/ 38 w 75"/>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5">
                  <a:moveTo>
                    <a:pt x="38" y="75"/>
                  </a:moveTo>
                  <a:lnTo>
                    <a:pt x="38" y="75"/>
                  </a:lnTo>
                  <a:lnTo>
                    <a:pt x="45" y="75"/>
                  </a:lnTo>
                  <a:lnTo>
                    <a:pt x="53" y="73"/>
                  </a:lnTo>
                  <a:lnTo>
                    <a:pt x="59" y="69"/>
                  </a:lnTo>
                  <a:lnTo>
                    <a:pt x="64" y="64"/>
                  </a:lnTo>
                  <a:lnTo>
                    <a:pt x="68" y="59"/>
                  </a:lnTo>
                  <a:lnTo>
                    <a:pt x="73" y="52"/>
                  </a:lnTo>
                  <a:lnTo>
                    <a:pt x="75" y="45"/>
                  </a:lnTo>
                  <a:lnTo>
                    <a:pt x="75" y="38"/>
                  </a:lnTo>
                  <a:lnTo>
                    <a:pt x="75" y="38"/>
                  </a:lnTo>
                  <a:lnTo>
                    <a:pt x="75" y="30"/>
                  </a:lnTo>
                  <a:lnTo>
                    <a:pt x="73" y="23"/>
                  </a:lnTo>
                  <a:lnTo>
                    <a:pt x="68" y="17"/>
                  </a:lnTo>
                  <a:lnTo>
                    <a:pt x="64" y="11"/>
                  </a:lnTo>
                  <a:lnTo>
                    <a:pt x="59" y="6"/>
                  </a:lnTo>
                  <a:lnTo>
                    <a:pt x="53" y="3"/>
                  </a:lnTo>
                  <a:lnTo>
                    <a:pt x="45" y="1"/>
                  </a:lnTo>
                  <a:lnTo>
                    <a:pt x="38" y="0"/>
                  </a:lnTo>
                  <a:lnTo>
                    <a:pt x="38" y="0"/>
                  </a:lnTo>
                  <a:lnTo>
                    <a:pt x="29" y="1"/>
                  </a:lnTo>
                  <a:lnTo>
                    <a:pt x="23" y="3"/>
                  </a:lnTo>
                  <a:lnTo>
                    <a:pt x="17" y="6"/>
                  </a:lnTo>
                  <a:lnTo>
                    <a:pt x="10" y="11"/>
                  </a:lnTo>
                  <a:lnTo>
                    <a:pt x="6" y="17"/>
                  </a:lnTo>
                  <a:lnTo>
                    <a:pt x="3" y="23"/>
                  </a:lnTo>
                  <a:lnTo>
                    <a:pt x="1" y="30"/>
                  </a:lnTo>
                  <a:lnTo>
                    <a:pt x="0" y="38"/>
                  </a:lnTo>
                  <a:lnTo>
                    <a:pt x="0" y="38"/>
                  </a:lnTo>
                  <a:lnTo>
                    <a:pt x="1" y="45"/>
                  </a:lnTo>
                  <a:lnTo>
                    <a:pt x="3" y="52"/>
                  </a:lnTo>
                  <a:lnTo>
                    <a:pt x="6" y="59"/>
                  </a:lnTo>
                  <a:lnTo>
                    <a:pt x="10" y="64"/>
                  </a:lnTo>
                  <a:lnTo>
                    <a:pt x="17" y="69"/>
                  </a:lnTo>
                  <a:lnTo>
                    <a:pt x="23" y="73"/>
                  </a:lnTo>
                  <a:lnTo>
                    <a:pt x="29" y="75"/>
                  </a:lnTo>
                  <a:lnTo>
                    <a:pt x="38" y="75"/>
                  </a:lnTo>
                  <a:lnTo>
                    <a:pt x="3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32" name="Freeform 8">
              <a:extLst>
                <a:ext uri="{FF2B5EF4-FFF2-40B4-BE49-F238E27FC236}">
                  <a16:creationId xmlns:a16="http://schemas.microsoft.com/office/drawing/2014/main" id="{24324B06-860F-1BB8-789F-BF3DDFEE9562}"/>
                </a:ext>
              </a:extLst>
            </p:cNvPr>
            <p:cNvSpPr>
              <a:spLocks/>
            </p:cNvSpPr>
            <p:nvPr/>
          </p:nvSpPr>
          <p:spPr bwMode="auto">
            <a:xfrm>
              <a:off x="3627" y="2037"/>
              <a:ext cx="86" cy="327"/>
            </a:xfrm>
            <a:custGeom>
              <a:avLst/>
              <a:gdLst>
                <a:gd name="T0" fmla="*/ 44 w 86"/>
                <a:gd name="T1" fmla="*/ 33 h 327"/>
                <a:gd name="T2" fmla="*/ 22 w 86"/>
                <a:gd name="T3" fmla="*/ 0 h 327"/>
                <a:gd name="T4" fmla="*/ 0 w 86"/>
                <a:gd name="T5" fmla="*/ 0 h 327"/>
                <a:gd name="T6" fmla="*/ 9 w 86"/>
                <a:gd name="T7" fmla="*/ 154 h 327"/>
                <a:gd name="T8" fmla="*/ 9 w 86"/>
                <a:gd name="T9" fmla="*/ 154 h 327"/>
                <a:gd name="T10" fmla="*/ 9 w 86"/>
                <a:gd name="T11" fmla="*/ 313 h 327"/>
                <a:gd name="T12" fmla="*/ 9 w 86"/>
                <a:gd name="T13" fmla="*/ 313 h 327"/>
                <a:gd name="T14" fmla="*/ 10 w 86"/>
                <a:gd name="T15" fmla="*/ 319 h 327"/>
                <a:gd name="T16" fmla="*/ 13 w 86"/>
                <a:gd name="T17" fmla="*/ 323 h 327"/>
                <a:gd name="T18" fmla="*/ 18 w 86"/>
                <a:gd name="T19" fmla="*/ 326 h 327"/>
                <a:gd name="T20" fmla="*/ 24 w 86"/>
                <a:gd name="T21" fmla="*/ 327 h 327"/>
                <a:gd name="T22" fmla="*/ 24 w 86"/>
                <a:gd name="T23" fmla="*/ 327 h 327"/>
                <a:gd name="T24" fmla="*/ 29 w 86"/>
                <a:gd name="T25" fmla="*/ 326 h 327"/>
                <a:gd name="T26" fmla="*/ 33 w 86"/>
                <a:gd name="T27" fmla="*/ 323 h 327"/>
                <a:gd name="T28" fmla="*/ 36 w 86"/>
                <a:gd name="T29" fmla="*/ 319 h 327"/>
                <a:gd name="T30" fmla="*/ 37 w 86"/>
                <a:gd name="T31" fmla="*/ 313 h 327"/>
                <a:gd name="T32" fmla="*/ 37 w 86"/>
                <a:gd name="T33" fmla="*/ 154 h 327"/>
                <a:gd name="T34" fmla="*/ 49 w 86"/>
                <a:gd name="T35" fmla="*/ 154 h 327"/>
                <a:gd name="T36" fmla="*/ 49 w 86"/>
                <a:gd name="T37" fmla="*/ 313 h 327"/>
                <a:gd name="T38" fmla="*/ 49 w 86"/>
                <a:gd name="T39" fmla="*/ 313 h 327"/>
                <a:gd name="T40" fmla="*/ 50 w 86"/>
                <a:gd name="T41" fmla="*/ 319 h 327"/>
                <a:gd name="T42" fmla="*/ 53 w 86"/>
                <a:gd name="T43" fmla="*/ 323 h 327"/>
                <a:gd name="T44" fmla="*/ 58 w 86"/>
                <a:gd name="T45" fmla="*/ 326 h 327"/>
                <a:gd name="T46" fmla="*/ 63 w 86"/>
                <a:gd name="T47" fmla="*/ 327 h 327"/>
                <a:gd name="T48" fmla="*/ 63 w 86"/>
                <a:gd name="T49" fmla="*/ 327 h 327"/>
                <a:gd name="T50" fmla="*/ 69 w 86"/>
                <a:gd name="T51" fmla="*/ 326 h 327"/>
                <a:gd name="T52" fmla="*/ 73 w 86"/>
                <a:gd name="T53" fmla="*/ 323 h 327"/>
                <a:gd name="T54" fmla="*/ 77 w 86"/>
                <a:gd name="T55" fmla="*/ 319 h 327"/>
                <a:gd name="T56" fmla="*/ 78 w 86"/>
                <a:gd name="T57" fmla="*/ 313 h 327"/>
                <a:gd name="T58" fmla="*/ 78 w 86"/>
                <a:gd name="T59" fmla="*/ 154 h 327"/>
                <a:gd name="T60" fmla="*/ 78 w 86"/>
                <a:gd name="T61" fmla="*/ 154 h 327"/>
                <a:gd name="T62" fmla="*/ 86 w 86"/>
                <a:gd name="T63" fmla="*/ 0 h 327"/>
                <a:gd name="T64" fmla="*/ 65 w 86"/>
                <a:gd name="T65" fmla="*/ 0 h 327"/>
                <a:gd name="T66" fmla="*/ 44 w 86"/>
                <a:gd name="T67" fmla="*/ 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 h="327">
                  <a:moveTo>
                    <a:pt x="44" y="33"/>
                  </a:moveTo>
                  <a:lnTo>
                    <a:pt x="22" y="0"/>
                  </a:lnTo>
                  <a:lnTo>
                    <a:pt x="0" y="0"/>
                  </a:lnTo>
                  <a:lnTo>
                    <a:pt x="9" y="154"/>
                  </a:lnTo>
                  <a:lnTo>
                    <a:pt x="9" y="154"/>
                  </a:lnTo>
                  <a:lnTo>
                    <a:pt x="9" y="313"/>
                  </a:lnTo>
                  <a:lnTo>
                    <a:pt x="9" y="313"/>
                  </a:lnTo>
                  <a:lnTo>
                    <a:pt x="10" y="319"/>
                  </a:lnTo>
                  <a:lnTo>
                    <a:pt x="13" y="323"/>
                  </a:lnTo>
                  <a:lnTo>
                    <a:pt x="18" y="326"/>
                  </a:lnTo>
                  <a:lnTo>
                    <a:pt x="24" y="327"/>
                  </a:lnTo>
                  <a:lnTo>
                    <a:pt x="24" y="327"/>
                  </a:lnTo>
                  <a:lnTo>
                    <a:pt x="29" y="326"/>
                  </a:lnTo>
                  <a:lnTo>
                    <a:pt x="33" y="323"/>
                  </a:lnTo>
                  <a:lnTo>
                    <a:pt x="36" y="319"/>
                  </a:lnTo>
                  <a:lnTo>
                    <a:pt x="37" y="313"/>
                  </a:lnTo>
                  <a:lnTo>
                    <a:pt x="37" y="154"/>
                  </a:lnTo>
                  <a:lnTo>
                    <a:pt x="49" y="154"/>
                  </a:lnTo>
                  <a:lnTo>
                    <a:pt x="49" y="313"/>
                  </a:lnTo>
                  <a:lnTo>
                    <a:pt x="49" y="313"/>
                  </a:lnTo>
                  <a:lnTo>
                    <a:pt x="50" y="319"/>
                  </a:lnTo>
                  <a:lnTo>
                    <a:pt x="53" y="323"/>
                  </a:lnTo>
                  <a:lnTo>
                    <a:pt x="58" y="326"/>
                  </a:lnTo>
                  <a:lnTo>
                    <a:pt x="63" y="327"/>
                  </a:lnTo>
                  <a:lnTo>
                    <a:pt x="63" y="327"/>
                  </a:lnTo>
                  <a:lnTo>
                    <a:pt x="69" y="326"/>
                  </a:lnTo>
                  <a:lnTo>
                    <a:pt x="73" y="323"/>
                  </a:lnTo>
                  <a:lnTo>
                    <a:pt x="77" y="319"/>
                  </a:lnTo>
                  <a:lnTo>
                    <a:pt x="78" y="313"/>
                  </a:lnTo>
                  <a:lnTo>
                    <a:pt x="78" y="154"/>
                  </a:lnTo>
                  <a:lnTo>
                    <a:pt x="78" y="154"/>
                  </a:lnTo>
                  <a:lnTo>
                    <a:pt x="86" y="0"/>
                  </a:lnTo>
                  <a:lnTo>
                    <a:pt x="65" y="0"/>
                  </a:lnTo>
                  <a:lnTo>
                    <a:pt x="4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33" name="Freeform 9">
              <a:extLst>
                <a:ext uri="{FF2B5EF4-FFF2-40B4-BE49-F238E27FC236}">
                  <a16:creationId xmlns:a16="http://schemas.microsoft.com/office/drawing/2014/main" id="{3A7ACC1D-3634-524A-2AD8-B8534B793335}"/>
                </a:ext>
              </a:extLst>
            </p:cNvPr>
            <p:cNvSpPr>
              <a:spLocks/>
            </p:cNvSpPr>
            <p:nvPr/>
          </p:nvSpPr>
          <p:spPr bwMode="auto">
            <a:xfrm>
              <a:off x="3771" y="2037"/>
              <a:ext cx="25" cy="163"/>
            </a:xfrm>
            <a:custGeom>
              <a:avLst/>
              <a:gdLst>
                <a:gd name="T0" fmla="*/ 0 w 25"/>
                <a:gd name="T1" fmla="*/ 0 h 163"/>
                <a:gd name="T2" fmla="*/ 7 w 25"/>
                <a:gd name="T3" fmla="*/ 154 h 163"/>
                <a:gd name="T4" fmla="*/ 7 w 25"/>
                <a:gd name="T5" fmla="*/ 154 h 163"/>
                <a:gd name="T6" fmla="*/ 8 w 25"/>
                <a:gd name="T7" fmla="*/ 157 h 163"/>
                <a:gd name="T8" fmla="*/ 10 w 25"/>
                <a:gd name="T9" fmla="*/ 160 h 163"/>
                <a:gd name="T10" fmla="*/ 12 w 25"/>
                <a:gd name="T11" fmla="*/ 161 h 163"/>
                <a:gd name="T12" fmla="*/ 16 w 25"/>
                <a:gd name="T13" fmla="*/ 163 h 163"/>
                <a:gd name="T14" fmla="*/ 16 w 25"/>
                <a:gd name="T15" fmla="*/ 163 h 163"/>
                <a:gd name="T16" fmla="*/ 19 w 25"/>
                <a:gd name="T17" fmla="*/ 161 h 163"/>
                <a:gd name="T18" fmla="*/ 22 w 25"/>
                <a:gd name="T19" fmla="*/ 160 h 163"/>
                <a:gd name="T20" fmla="*/ 25 w 25"/>
                <a:gd name="T21" fmla="*/ 157 h 163"/>
                <a:gd name="T22" fmla="*/ 25 w 25"/>
                <a:gd name="T23" fmla="*/ 154 h 163"/>
                <a:gd name="T24" fmla="*/ 16 w 25"/>
                <a:gd name="T25" fmla="*/ 0 h 163"/>
                <a:gd name="T26" fmla="*/ 0 w 25"/>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63">
                  <a:moveTo>
                    <a:pt x="0" y="0"/>
                  </a:moveTo>
                  <a:lnTo>
                    <a:pt x="7" y="154"/>
                  </a:lnTo>
                  <a:lnTo>
                    <a:pt x="7" y="154"/>
                  </a:lnTo>
                  <a:lnTo>
                    <a:pt x="8" y="157"/>
                  </a:lnTo>
                  <a:lnTo>
                    <a:pt x="10" y="160"/>
                  </a:lnTo>
                  <a:lnTo>
                    <a:pt x="12" y="161"/>
                  </a:lnTo>
                  <a:lnTo>
                    <a:pt x="16" y="163"/>
                  </a:lnTo>
                  <a:lnTo>
                    <a:pt x="16" y="163"/>
                  </a:lnTo>
                  <a:lnTo>
                    <a:pt x="19" y="161"/>
                  </a:lnTo>
                  <a:lnTo>
                    <a:pt x="22" y="160"/>
                  </a:lnTo>
                  <a:lnTo>
                    <a:pt x="25" y="157"/>
                  </a:lnTo>
                  <a:lnTo>
                    <a:pt x="25" y="154"/>
                  </a:lnTo>
                  <a:lnTo>
                    <a:pt x="1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34" name="Freeform 10">
              <a:extLst>
                <a:ext uri="{FF2B5EF4-FFF2-40B4-BE49-F238E27FC236}">
                  <a16:creationId xmlns:a16="http://schemas.microsoft.com/office/drawing/2014/main" id="{9FFA54C1-27CF-9FB6-D5CE-F3B95FE40683}"/>
                </a:ext>
              </a:extLst>
            </p:cNvPr>
            <p:cNvSpPr>
              <a:spLocks/>
            </p:cNvSpPr>
            <p:nvPr/>
          </p:nvSpPr>
          <p:spPr bwMode="auto">
            <a:xfrm>
              <a:off x="3886" y="2037"/>
              <a:ext cx="24" cy="163"/>
            </a:xfrm>
            <a:custGeom>
              <a:avLst/>
              <a:gdLst>
                <a:gd name="T0" fmla="*/ 0 w 24"/>
                <a:gd name="T1" fmla="*/ 154 h 163"/>
                <a:gd name="T2" fmla="*/ 0 w 24"/>
                <a:gd name="T3" fmla="*/ 154 h 163"/>
                <a:gd name="T4" fmla="*/ 0 w 24"/>
                <a:gd name="T5" fmla="*/ 157 h 163"/>
                <a:gd name="T6" fmla="*/ 3 w 24"/>
                <a:gd name="T7" fmla="*/ 160 h 163"/>
                <a:gd name="T8" fmla="*/ 6 w 24"/>
                <a:gd name="T9" fmla="*/ 161 h 163"/>
                <a:gd name="T10" fmla="*/ 9 w 24"/>
                <a:gd name="T11" fmla="*/ 163 h 163"/>
                <a:gd name="T12" fmla="*/ 9 w 24"/>
                <a:gd name="T13" fmla="*/ 163 h 163"/>
                <a:gd name="T14" fmla="*/ 12 w 24"/>
                <a:gd name="T15" fmla="*/ 161 h 163"/>
                <a:gd name="T16" fmla="*/ 15 w 24"/>
                <a:gd name="T17" fmla="*/ 160 h 163"/>
                <a:gd name="T18" fmla="*/ 17 w 24"/>
                <a:gd name="T19" fmla="*/ 157 h 163"/>
                <a:gd name="T20" fmla="*/ 18 w 24"/>
                <a:gd name="T21" fmla="*/ 154 h 163"/>
                <a:gd name="T22" fmla="*/ 24 w 24"/>
                <a:gd name="T23" fmla="*/ 0 h 163"/>
                <a:gd name="T24" fmla="*/ 9 w 24"/>
                <a:gd name="T25" fmla="*/ 0 h 163"/>
                <a:gd name="T26" fmla="*/ 0 w 24"/>
                <a:gd name="T27" fmla="*/ 154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63">
                  <a:moveTo>
                    <a:pt x="0" y="154"/>
                  </a:moveTo>
                  <a:lnTo>
                    <a:pt x="0" y="154"/>
                  </a:lnTo>
                  <a:lnTo>
                    <a:pt x="0" y="157"/>
                  </a:lnTo>
                  <a:lnTo>
                    <a:pt x="3" y="160"/>
                  </a:lnTo>
                  <a:lnTo>
                    <a:pt x="6" y="161"/>
                  </a:lnTo>
                  <a:lnTo>
                    <a:pt x="9" y="163"/>
                  </a:lnTo>
                  <a:lnTo>
                    <a:pt x="9" y="163"/>
                  </a:lnTo>
                  <a:lnTo>
                    <a:pt x="12" y="161"/>
                  </a:lnTo>
                  <a:lnTo>
                    <a:pt x="15" y="160"/>
                  </a:lnTo>
                  <a:lnTo>
                    <a:pt x="17" y="157"/>
                  </a:lnTo>
                  <a:lnTo>
                    <a:pt x="18" y="154"/>
                  </a:lnTo>
                  <a:lnTo>
                    <a:pt x="24" y="0"/>
                  </a:lnTo>
                  <a:lnTo>
                    <a:pt x="9" y="0"/>
                  </a:lnTo>
                  <a:lnTo>
                    <a:pt x="0"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35" name="Freeform 11">
              <a:extLst>
                <a:ext uri="{FF2B5EF4-FFF2-40B4-BE49-F238E27FC236}">
                  <a16:creationId xmlns:a16="http://schemas.microsoft.com/office/drawing/2014/main" id="{FB046C1B-C5A6-F6DD-5D38-17288D2F5BD4}"/>
                </a:ext>
              </a:extLst>
            </p:cNvPr>
            <p:cNvSpPr>
              <a:spLocks/>
            </p:cNvSpPr>
            <p:nvPr/>
          </p:nvSpPr>
          <p:spPr bwMode="auto">
            <a:xfrm>
              <a:off x="3803" y="1957"/>
              <a:ext cx="76" cy="75"/>
            </a:xfrm>
            <a:custGeom>
              <a:avLst/>
              <a:gdLst>
                <a:gd name="T0" fmla="*/ 38 w 76"/>
                <a:gd name="T1" fmla="*/ 75 h 75"/>
                <a:gd name="T2" fmla="*/ 38 w 76"/>
                <a:gd name="T3" fmla="*/ 75 h 75"/>
                <a:gd name="T4" fmla="*/ 45 w 76"/>
                <a:gd name="T5" fmla="*/ 75 h 75"/>
                <a:gd name="T6" fmla="*/ 53 w 76"/>
                <a:gd name="T7" fmla="*/ 73 h 75"/>
                <a:gd name="T8" fmla="*/ 59 w 76"/>
                <a:gd name="T9" fmla="*/ 69 h 75"/>
                <a:gd name="T10" fmla="*/ 64 w 76"/>
                <a:gd name="T11" fmla="*/ 64 h 75"/>
                <a:gd name="T12" fmla="*/ 69 w 76"/>
                <a:gd name="T13" fmla="*/ 59 h 75"/>
                <a:gd name="T14" fmla="*/ 73 w 76"/>
                <a:gd name="T15" fmla="*/ 52 h 75"/>
                <a:gd name="T16" fmla="*/ 75 w 76"/>
                <a:gd name="T17" fmla="*/ 45 h 75"/>
                <a:gd name="T18" fmla="*/ 76 w 76"/>
                <a:gd name="T19" fmla="*/ 38 h 75"/>
                <a:gd name="T20" fmla="*/ 76 w 76"/>
                <a:gd name="T21" fmla="*/ 38 h 75"/>
                <a:gd name="T22" fmla="*/ 75 w 76"/>
                <a:gd name="T23" fmla="*/ 30 h 75"/>
                <a:gd name="T24" fmla="*/ 73 w 76"/>
                <a:gd name="T25" fmla="*/ 23 h 75"/>
                <a:gd name="T26" fmla="*/ 69 w 76"/>
                <a:gd name="T27" fmla="*/ 17 h 75"/>
                <a:gd name="T28" fmla="*/ 64 w 76"/>
                <a:gd name="T29" fmla="*/ 11 h 75"/>
                <a:gd name="T30" fmla="*/ 59 w 76"/>
                <a:gd name="T31" fmla="*/ 6 h 75"/>
                <a:gd name="T32" fmla="*/ 53 w 76"/>
                <a:gd name="T33" fmla="*/ 3 h 75"/>
                <a:gd name="T34" fmla="*/ 45 w 76"/>
                <a:gd name="T35" fmla="*/ 1 h 75"/>
                <a:gd name="T36" fmla="*/ 38 w 76"/>
                <a:gd name="T37" fmla="*/ 0 h 75"/>
                <a:gd name="T38" fmla="*/ 38 w 76"/>
                <a:gd name="T39" fmla="*/ 0 h 75"/>
                <a:gd name="T40" fmla="*/ 31 w 76"/>
                <a:gd name="T41" fmla="*/ 1 h 75"/>
                <a:gd name="T42" fmla="*/ 23 w 76"/>
                <a:gd name="T43" fmla="*/ 3 h 75"/>
                <a:gd name="T44" fmla="*/ 17 w 76"/>
                <a:gd name="T45" fmla="*/ 6 h 75"/>
                <a:gd name="T46" fmla="*/ 11 w 76"/>
                <a:gd name="T47" fmla="*/ 11 h 75"/>
                <a:gd name="T48" fmla="*/ 6 w 76"/>
                <a:gd name="T49" fmla="*/ 17 h 75"/>
                <a:gd name="T50" fmla="*/ 3 w 76"/>
                <a:gd name="T51" fmla="*/ 23 h 75"/>
                <a:gd name="T52" fmla="*/ 1 w 76"/>
                <a:gd name="T53" fmla="*/ 30 h 75"/>
                <a:gd name="T54" fmla="*/ 0 w 76"/>
                <a:gd name="T55" fmla="*/ 38 h 75"/>
                <a:gd name="T56" fmla="*/ 0 w 76"/>
                <a:gd name="T57" fmla="*/ 38 h 75"/>
                <a:gd name="T58" fmla="*/ 1 w 76"/>
                <a:gd name="T59" fmla="*/ 45 h 75"/>
                <a:gd name="T60" fmla="*/ 3 w 76"/>
                <a:gd name="T61" fmla="*/ 52 h 75"/>
                <a:gd name="T62" fmla="*/ 6 w 76"/>
                <a:gd name="T63" fmla="*/ 59 h 75"/>
                <a:gd name="T64" fmla="*/ 11 w 76"/>
                <a:gd name="T65" fmla="*/ 64 h 75"/>
                <a:gd name="T66" fmla="*/ 17 w 76"/>
                <a:gd name="T67" fmla="*/ 69 h 75"/>
                <a:gd name="T68" fmla="*/ 23 w 76"/>
                <a:gd name="T69" fmla="*/ 73 h 75"/>
                <a:gd name="T70" fmla="*/ 31 w 76"/>
                <a:gd name="T71" fmla="*/ 75 h 75"/>
                <a:gd name="T72" fmla="*/ 38 w 76"/>
                <a:gd name="T73" fmla="*/ 75 h 75"/>
                <a:gd name="T74" fmla="*/ 38 w 76"/>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 h="75">
                  <a:moveTo>
                    <a:pt x="38" y="75"/>
                  </a:moveTo>
                  <a:lnTo>
                    <a:pt x="38" y="75"/>
                  </a:lnTo>
                  <a:lnTo>
                    <a:pt x="45" y="75"/>
                  </a:lnTo>
                  <a:lnTo>
                    <a:pt x="53" y="73"/>
                  </a:lnTo>
                  <a:lnTo>
                    <a:pt x="59" y="69"/>
                  </a:lnTo>
                  <a:lnTo>
                    <a:pt x="64" y="64"/>
                  </a:lnTo>
                  <a:lnTo>
                    <a:pt x="69" y="59"/>
                  </a:lnTo>
                  <a:lnTo>
                    <a:pt x="73" y="52"/>
                  </a:lnTo>
                  <a:lnTo>
                    <a:pt x="75" y="45"/>
                  </a:lnTo>
                  <a:lnTo>
                    <a:pt x="76" y="38"/>
                  </a:lnTo>
                  <a:lnTo>
                    <a:pt x="76" y="38"/>
                  </a:lnTo>
                  <a:lnTo>
                    <a:pt x="75" y="30"/>
                  </a:lnTo>
                  <a:lnTo>
                    <a:pt x="73" y="23"/>
                  </a:lnTo>
                  <a:lnTo>
                    <a:pt x="69" y="17"/>
                  </a:lnTo>
                  <a:lnTo>
                    <a:pt x="64" y="11"/>
                  </a:lnTo>
                  <a:lnTo>
                    <a:pt x="59" y="6"/>
                  </a:lnTo>
                  <a:lnTo>
                    <a:pt x="53" y="3"/>
                  </a:lnTo>
                  <a:lnTo>
                    <a:pt x="45" y="1"/>
                  </a:lnTo>
                  <a:lnTo>
                    <a:pt x="38" y="0"/>
                  </a:lnTo>
                  <a:lnTo>
                    <a:pt x="38" y="0"/>
                  </a:lnTo>
                  <a:lnTo>
                    <a:pt x="31" y="1"/>
                  </a:lnTo>
                  <a:lnTo>
                    <a:pt x="23" y="3"/>
                  </a:lnTo>
                  <a:lnTo>
                    <a:pt x="17" y="6"/>
                  </a:lnTo>
                  <a:lnTo>
                    <a:pt x="11" y="11"/>
                  </a:lnTo>
                  <a:lnTo>
                    <a:pt x="6" y="17"/>
                  </a:lnTo>
                  <a:lnTo>
                    <a:pt x="3" y="23"/>
                  </a:lnTo>
                  <a:lnTo>
                    <a:pt x="1" y="30"/>
                  </a:lnTo>
                  <a:lnTo>
                    <a:pt x="0" y="38"/>
                  </a:lnTo>
                  <a:lnTo>
                    <a:pt x="0" y="38"/>
                  </a:lnTo>
                  <a:lnTo>
                    <a:pt x="1" y="45"/>
                  </a:lnTo>
                  <a:lnTo>
                    <a:pt x="3" y="52"/>
                  </a:lnTo>
                  <a:lnTo>
                    <a:pt x="6" y="59"/>
                  </a:lnTo>
                  <a:lnTo>
                    <a:pt x="11" y="64"/>
                  </a:lnTo>
                  <a:lnTo>
                    <a:pt x="17" y="69"/>
                  </a:lnTo>
                  <a:lnTo>
                    <a:pt x="23" y="73"/>
                  </a:lnTo>
                  <a:lnTo>
                    <a:pt x="31" y="75"/>
                  </a:lnTo>
                  <a:lnTo>
                    <a:pt x="38" y="75"/>
                  </a:lnTo>
                  <a:lnTo>
                    <a:pt x="3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36" name="Freeform 12">
              <a:extLst>
                <a:ext uri="{FF2B5EF4-FFF2-40B4-BE49-F238E27FC236}">
                  <a16:creationId xmlns:a16="http://schemas.microsoft.com/office/drawing/2014/main" id="{A73E58A0-5580-A35A-CAE3-BAFE6ABCDF70}"/>
                </a:ext>
              </a:extLst>
            </p:cNvPr>
            <p:cNvSpPr>
              <a:spLocks/>
            </p:cNvSpPr>
            <p:nvPr/>
          </p:nvSpPr>
          <p:spPr bwMode="auto">
            <a:xfrm>
              <a:off x="3798" y="2037"/>
              <a:ext cx="86" cy="327"/>
            </a:xfrm>
            <a:custGeom>
              <a:avLst/>
              <a:gdLst>
                <a:gd name="T0" fmla="*/ 43 w 86"/>
                <a:gd name="T1" fmla="*/ 33 h 327"/>
                <a:gd name="T2" fmla="*/ 21 w 86"/>
                <a:gd name="T3" fmla="*/ 0 h 327"/>
                <a:gd name="T4" fmla="*/ 0 w 86"/>
                <a:gd name="T5" fmla="*/ 0 h 327"/>
                <a:gd name="T6" fmla="*/ 8 w 86"/>
                <a:gd name="T7" fmla="*/ 154 h 327"/>
                <a:gd name="T8" fmla="*/ 8 w 86"/>
                <a:gd name="T9" fmla="*/ 154 h 327"/>
                <a:gd name="T10" fmla="*/ 8 w 86"/>
                <a:gd name="T11" fmla="*/ 313 h 327"/>
                <a:gd name="T12" fmla="*/ 8 w 86"/>
                <a:gd name="T13" fmla="*/ 313 h 327"/>
                <a:gd name="T14" fmla="*/ 9 w 86"/>
                <a:gd name="T15" fmla="*/ 319 h 327"/>
                <a:gd name="T16" fmla="*/ 12 w 86"/>
                <a:gd name="T17" fmla="*/ 323 h 327"/>
                <a:gd name="T18" fmla="*/ 18 w 86"/>
                <a:gd name="T19" fmla="*/ 326 h 327"/>
                <a:gd name="T20" fmla="*/ 23 w 86"/>
                <a:gd name="T21" fmla="*/ 327 h 327"/>
                <a:gd name="T22" fmla="*/ 23 w 86"/>
                <a:gd name="T23" fmla="*/ 327 h 327"/>
                <a:gd name="T24" fmla="*/ 28 w 86"/>
                <a:gd name="T25" fmla="*/ 326 h 327"/>
                <a:gd name="T26" fmla="*/ 33 w 86"/>
                <a:gd name="T27" fmla="*/ 323 h 327"/>
                <a:gd name="T28" fmla="*/ 37 w 86"/>
                <a:gd name="T29" fmla="*/ 319 h 327"/>
                <a:gd name="T30" fmla="*/ 38 w 86"/>
                <a:gd name="T31" fmla="*/ 313 h 327"/>
                <a:gd name="T32" fmla="*/ 38 w 86"/>
                <a:gd name="T33" fmla="*/ 154 h 327"/>
                <a:gd name="T34" fmla="*/ 48 w 86"/>
                <a:gd name="T35" fmla="*/ 154 h 327"/>
                <a:gd name="T36" fmla="*/ 48 w 86"/>
                <a:gd name="T37" fmla="*/ 313 h 327"/>
                <a:gd name="T38" fmla="*/ 48 w 86"/>
                <a:gd name="T39" fmla="*/ 313 h 327"/>
                <a:gd name="T40" fmla="*/ 49 w 86"/>
                <a:gd name="T41" fmla="*/ 319 h 327"/>
                <a:gd name="T42" fmla="*/ 53 w 86"/>
                <a:gd name="T43" fmla="*/ 323 h 327"/>
                <a:gd name="T44" fmla="*/ 57 w 86"/>
                <a:gd name="T45" fmla="*/ 326 h 327"/>
                <a:gd name="T46" fmla="*/ 63 w 86"/>
                <a:gd name="T47" fmla="*/ 327 h 327"/>
                <a:gd name="T48" fmla="*/ 63 w 86"/>
                <a:gd name="T49" fmla="*/ 327 h 327"/>
                <a:gd name="T50" fmla="*/ 68 w 86"/>
                <a:gd name="T51" fmla="*/ 326 h 327"/>
                <a:gd name="T52" fmla="*/ 73 w 86"/>
                <a:gd name="T53" fmla="*/ 323 h 327"/>
                <a:gd name="T54" fmla="*/ 76 w 86"/>
                <a:gd name="T55" fmla="*/ 319 h 327"/>
                <a:gd name="T56" fmla="*/ 77 w 86"/>
                <a:gd name="T57" fmla="*/ 313 h 327"/>
                <a:gd name="T58" fmla="*/ 77 w 86"/>
                <a:gd name="T59" fmla="*/ 154 h 327"/>
                <a:gd name="T60" fmla="*/ 77 w 86"/>
                <a:gd name="T61" fmla="*/ 154 h 327"/>
                <a:gd name="T62" fmla="*/ 86 w 86"/>
                <a:gd name="T63" fmla="*/ 0 h 327"/>
                <a:gd name="T64" fmla="*/ 64 w 86"/>
                <a:gd name="T65" fmla="*/ 0 h 327"/>
                <a:gd name="T66" fmla="*/ 43 w 86"/>
                <a:gd name="T67" fmla="*/ 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 h="327">
                  <a:moveTo>
                    <a:pt x="43" y="33"/>
                  </a:moveTo>
                  <a:lnTo>
                    <a:pt x="21" y="0"/>
                  </a:lnTo>
                  <a:lnTo>
                    <a:pt x="0" y="0"/>
                  </a:lnTo>
                  <a:lnTo>
                    <a:pt x="8" y="154"/>
                  </a:lnTo>
                  <a:lnTo>
                    <a:pt x="8" y="154"/>
                  </a:lnTo>
                  <a:lnTo>
                    <a:pt x="8" y="313"/>
                  </a:lnTo>
                  <a:lnTo>
                    <a:pt x="8" y="313"/>
                  </a:lnTo>
                  <a:lnTo>
                    <a:pt x="9" y="319"/>
                  </a:lnTo>
                  <a:lnTo>
                    <a:pt x="12" y="323"/>
                  </a:lnTo>
                  <a:lnTo>
                    <a:pt x="18" y="326"/>
                  </a:lnTo>
                  <a:lnTo>
                    <a:pt x="23" y="327"/>
                  </a:lnTo>
                  <a:lnTo>
                    <a:pt x="23" y="327"/>
                  </a:lnTo>
                  <a:lnTo>
                    <a:pt x="28" y="326"/>
                  </a:lnTo>
                  <a:lnTo>
                    <a:pt x="33" y="323"/>
                  </a:lnTo>
                  <a:lnTo>
                    <a:pt x="37" y="319"/>
                  </a:lnTo>
                  <a:lnTo>
                    <a:pt x="38" y="313"/>
                  </a:lnTo>
                  <a:lnTo>
                    <a:pt x="38" y="154"/>
                  </a:lnTo>
                  <a:lnTo>
                    <a:pt x="48" y="154"/>
                  </a:lnTo>
                  <a:lnTo>
                    <a:pt x="48" y="313"/>
                  </a:lnTo>
                  <a:lnTo>
                    <a:pt x="48" y="313"/>
                  </a:lnTo>
                  <a:lnTo>
                    <a:pt x="49" y="319"/>
                  </a:lnTo>
                  <a:lnTo>
                    <a:pt x="53" y="323"/>
                  </a:lnTo>
                  <a:lnTo>
                    <a:pt x="57" y="326"/>
                  </a:lnTo>
                  <a:lnTo>
                    <a:pt x="63" y="327"/>
                  </a:lnTo>
                  <a:lnTo>
                    <a:pt x="63" y="327"/>
                  </a:lnTo>
                  <a:lnTo>
                    <a:pt x="68" y="326"/>
                  </a:lnTo>
                  <a:lnTo>
                    <a:pt x="73" y="323"/>
                  </a:lnTo>
                  <a:lnTo>
                    <a:pt x="76" y="319"/>
                  </a:lnTo>
                  <a:lnTo>
                    <a:pt x="77" y="313"/>
                  </a:lnTo>
                  <a:lnTo>
                    <a:pt x="77" y="154"/>
                  </a:lnTo>
                  <a:lnTo>
                    <a:pt x="77" y="154"/>
                  </a:lnTo>
                  <a:lnTo>
                    <a:pt x="86" y="0"/>
                  </a:lnTo>
                  <a:lnTo>
                    <a:pt x="64" y="0"/>
                  </a:lnTo>
                  <a:lnTo>
                    <a:pt x="43"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37" name="Freeform 13">
              <a:extLst>
                <a:ext uri="{FF2B5EF4-FFF2-40B4-BE49-F238E27FC236}">
                  <a16:creationId xmlns:a16="http://schemas.microsoft.com/office/drawing/2014/main" id="{196F63B4-ABF1-023C-3B49-4E80CA291DCA}"/>
                </a:ext>
              </a:extLst>
            </p:cNvPr>
            <p:cNvSpPr>
              <a:spLocks/>
            </p:cNvSpPr>
            <p:nvPr/>
          </p:nvSpPr>
          <p:spPr bwMode="auto">
            <a:xfrm>
              <a:off x="3941" y="2037"/>
              <a:ext cx="25" cy="163"/>
            </a:xfrm>
            <a:custGeom>
              <a:avLst/>
              <a:gdLst>
                <a:gd name="T0" fmla="*/ 0 w 25"/>
                <a:gd name="T1" fmla="*/ 0 h 163"/>
                <a:gd name="T2" fmla="*/ 7 w 25"/>
                <a:gd name="T3" fmla="*/ 154 h 163"/>
                <a:gd name="T4" fmla="*/ 7 w 25"/>
                <a:gd name="T5" fmla="*/ 154 h 163"/>
                <a:gd name="T6" fmla="*/ 8 w 25"/>
                <a:gd name="T7" fmla="*/ 157 h 163"/>
                <a:gd name="T8" fmla="*/ 10 w 25"/>
                <a:gd name="T9" fmla="*/ 160 h 163"/>
                <a:gd name="T10" fmla="*/ 13 w 25"/>
                <a:gd name="T11" fmla="*/ 161 h 163"/>
                <a:gd name="T12" fmla="*/ 16 w 25"/>
                <a:gd name="T13" fmla="*/ 163 h 163"/>
                <a:gd name="T14" fmla="*/ 16 w 25"/>
                <a:gd name="T15" fmla="*/ 163 h 163"/>
                <a:gd name="T16" fmla="*/ 19 w 25"/>
                <a:gd name="T17" fmla="*/ 161 h 163"/>
                <a:gd name="T18" fmla="*/ 23 w 25"/>
                <a:gd name="T19" fmla="*/ 160 h 163"/>
                <a:gd name="T20" fmla="*/ 25 w 25"/>
                <a:gd name="T21" fmla="*/ 157 h 163"/>
                <a:gd name="T22" fmla="*/ 25 w 25"/>
                <a:gd name="T23" fmla="*/ 154 h 163"/>
                <a:gd name="T24" fmla="*/ 16 w 25"/>
                <a:gd name="T25" fmla="*/ 0 h 163"/>
                <a:gd name="T26" fmla="*/ 0 w 25"/>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63">
                  <a:moveTo>
                    <a:pt x="0" y="0"/>
                  </a:moveTo>
                  <a:lnTo>
                    <a:pt x="7" y="154"/>
                  </a:lnTo>
                  <a:lnTo>
                    <a:pt x="7" y="154"/>
                  </a:lnTo>
                  <a:lnTo>
                    <a:pt x="8" y="157"/>
                  </a:lnTo>
                  <a:lnTo>
                    <a:pt x="10" y="160"/>
                  </a:lnTo>
                  <a:lnTo>
                    <a:pt x="13" y="161"/>
                  </a:lnTo>
                  <a:lnTo>
                    <a:pt x="16" y="163"/>
                  </a:lnTo>
                  <a:lnTo>
                    <a:pt x="16" y="163"/>
                  </a:lnTo>
                  <a:lnTo>
                    <a:pt x="19" y="161"/>
                  </a:lnTo>
                  <a:lnTo>
                    <a:pt x="23" y="160"/>
                  </a:lnTo>
                  <a:lnTo>
                    <a:pt x="25" y="157"/>
                  </a:lnTo>
                  <a:lnTo>
                    <a:pt x="25" y="154"/>
                  </a:lnTo>
                  <a:lnTo>
                    <a:pt x="1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38" name="Freeform 14">
              <a:extLst>
                <a:ext uri="{FF2B5EF4-FFF2-40B4-BE49-F238E27FC236}">
                  <a16:creationId xmlns:a16="http://schemas.microsoft.com/office/drawing/2014/main" id="{1F57CF80-5F56-7F23-C286-F1CDBAD1CECA}"/>
                </a:ext>
              </a:extLst>
            </p:cNvPr>
            <p:cNvSpPr>
              <a:spLocks/>
            </p:cNvSpPr>
            <p:nvPr/>
          </p:nvSpPr>
          <p:spPr bwMode="auto">
            <a:xfrm>
              <a:off x="4057" y="2037"/>
              <a:ext cx="24" cy="163"/>
            </a:xfrm>
            <a:custGeom>
              <a:avLst/>
              <a:gdLst>
                <a:gd name="T0" fmla="*/ 8 w 24"/>
                <a:gd name="T1" fmla="*/ 0 h 163"/>
                <a:gd name="T2" fmla="*/ 0 w 24"/>
                <a:gd name="T3" fmla="*/ 154 h 163"/>
                <a:gd name="T4" fmla="*/ 0 w 24"/>
                <a:gd name="T5" fmla="*/ 154 h 163"/>
                <a:gd name="T6" fmla="*/ 0 w 24"/>
                <a:gd name="T7" fmla="*/ 157 h 163"/>
                <a:gd name="T8" fmla="*/ 2 w 24"/>
                <a:gd name="T9" fmla="*/ 160 h 163"/>
                <a:gd name="T10" fmla="*/ 5 w 24"/>
                <a:gd name="T11" fmla="*/ 161 h 163"/>
                <a:gd name="T12" fmla="*/ 8 w 24"/>
                <a:gd name="T13" fmla="*/ 163 h 163"/>
                <a:gd name="T14" fmla="*/ 8 w 24"/>
                <a:gd name="T15" fmla="*/ 163 h 163"/>
                <a:gd name="T16" fmla="*/ 12 w 24"/>
                <a:gd name="T17" fmla="*/ 161 h 163"/>
                <a:gd name="T18" fmla="*/ 14 w 24"/>
                <a:gd name="T19" fmla="*/ 160 h 163"/>
                <a:gd name="T20" fmla="*/ 17 w 24"/>
                <a:gd name="T21" fmla="*/ 157 h 163"/>
                <a:gd name="T22" fmla="*/ 18 w 24"/>
                <a:gd name="T23" fmla="*/ 154 h 163"/>
                <a:gd name="T24" fmla="*/ 24 w 24"/>
                <a:gd name="T25" fmla="*/ 0 h 163"/>
                <a:gd name="T26" fmla="*/ 8 w 24"/>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63">
                  <a:moveTo>
                    <a:pt x="8" y="0"/>
                  </a:moveTo>
                  <a:lnTo>
                    <a:pt x="0" y="154"/>
                  </a:lnTo>
                  <a:lnTo>
                    <a:pt x="0" y="154"/>
                  </a:lnTo>
                  <a:lnTo>
                    <a:pt x="0" y="157"/>
                  </a:lnTo>
                  <a:lnTo>
                    <a:pt x="2" y="160"/>
                  </a:lnTo>
                  <a:lnTo>
                    <a:pt x="5" y="161"/>
                  </a:lnTo>
                  <a:lnTo>
                    <a:pt x="8" y="163"/>
                  </a:lnTo>
                  <a:lnTo>
                    <a:pt x="8" y="163"/>
                  </a:lnTo>
                  <a:lnTo>
                    <a:pt x="12" y="161"/>
                  </a:lnTo>
                  <a:lnTo>
                    <a:pt x="14" y="160"/>
                  </a:lnTo>
                  <a:lnTo>
                    <a:pt x="17" y="157"/>
                  </a:lnTo>
                  <a:lnTo>
                    <a:pt x="18" y="154"/>
                  </a:lnTo>
                  <a:lnTo>
                    <a:pt x="24"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39" name="Freeform 15">
              <a:extLst>
                <a:ext uri="{FF2B5EF4-FFF2-40B4-BE49-F238E27FC236}">
                  <a16:creationId xmlns:a16="http://schemas.microsoft.com/office/drawing/2014/main" id="{1777DC89-3B9A-4FCD-23DB-1F44DCDE886D}"/>
                </a:ext>
              </a:extLst>
            </p:cNvPr>
            <p:cNvSpPr>
              <a:spLocks/>
            </p:cNvSpPr>
            <p:nvPr/>
          </p:nvSpPr>
          <p:spPr bwMode="auto">
            <a:xfrm>
              <a:off x="3973" y="1957"/>
              <a:ext cx="76" cy="75"/>
            </a:xfrm>
            <a:custGeom>
              <a:avLst/>
              <a:gdLst>
                <a:gd name="T0" fmla="*/ 38 w 76"/>
                <a:gd name="T1" fmla="*/ 75 h 75"/>
                <a:gd name="T2" fmla="*/ 38 w 76"/>
                <a:gd name="T3" fmla="*/ 75 h 75"/>
                <a:gd name="T4" fmla="*/ 46 w 76"/>
                <a:gd name="T5" fmla="*/ 75 h 75"/>
                <a:gd name="T6" fmla="*/ 53 w 76"/>
                <a:gd name="T7" fmla="*/ 73 h 75"/>
                <a:gd name="T8" fmla="*/ 59 w 76"/>
                <a:gd name="T9" fmla="*/ 69 h 75"/>
                <a:gd name="T10" fmla="*/ 65 w 76"/>
                <a:gd name="T11" fmla="*/ 64 h 75"/>
                <a:gd name="T12" fmla="*/ 70 w 76"/>
                <a:gd name="T13" fmla="*/ 59 h 75"/>
                <a:gd name="T14" fmla="*/ 73 w 76"/>
                <a:gd name="T15" fmla="*/ 52 h 75"/>
                <a:gd name="T16" fmla="*/ 75 w 76"/>
                <a:gd name="T17" fmla="*/ 45 h 75"/>
                <a:gd name="T18" fmla="*/ 76 w 76"/>
                <a:gd name="T19" fmla="*/ 38 h 75"/>
                <a:gd name="T20" fmla="*/ 76 w 76"/>
                <a:gd name="T21" fmla="*/ 38 h 75"/>
                <a:gd name="T22" fmla="*/ 75 w 76"/>
                <a:gd name="T23" fmla="*/ 30 h 75"/>
                <a:gd name="T24" fmla="*/ 73 w 76"/>
                <a:gd name="T25" fmla="*/ 23 h 75"/>
                <a:gd name="T26" fmla="*/ 70 w 76"/>
                <a:gd name="T27" fmla="*/ 17 h 75"/>
                <a:gd name="T28" fmla="*/ 65 w 76"/>
                <a:gd name="T29" fmla="*/ 11 h 75"/>
                <a:gd name="T30" fmla="*/ 59 w 76"/>
                <a:gd name="T31" fmla="*/ 6 h 75"/>
                <a:gd name="T32" fmla="*/ 53 w 76"/>
                <a:gd name="T33" fmla="*/ 3 h 75"/>
                <a:gd name="T34" fmla="*/ 46 w 76"/>
                <a:gd name="T35" fmla="*/ 1 h 75"/>
                <a:gd name="T36" fmla="*/ 38 w 76"/>
                <a:gd name="T37" fmla="*/ 0 h 75"/>
                <a:gd name="T38" fmla="*/ 38 w 76"/>
                <a:gd name="T39" fmla="*/ 0 h 75"/>
                <a:gd name="T40" fmla="*/ 31 w 76"/>
                <a:gd name="T41" fmla="*/ 1 h 75"/>
                <a:gd name="T42" fmla="*/ 23 w 76"/>
                <a:gd name="T43" fmla="*/ 3 h 75"/>
                <a:gd name="T44" fmla="*/ 17 w 76"/>
                <a:gd name="T45" fmla="*/ 6 h 75"/>
                <a:gd name="T46" fmla="*/ 12 w 76"/>
                <a:gd name="T47" fmla="*/ 11 h 75"/>
                <a:gd name="T48" fmla="*/ 7 w 76"/>
                <a:gd name="T49" fmla="*/ 17 h 75"/>
                <a:gd name="T50" fmla="*/ 3 w 76"/>
                <a:gd name="T51" fmla="*/ 23 h 75"/>
                <a:gd name="T52" fmla="*/ 1 w 76"/>
                <a:gd name="T53" fmla="*/ 30 h 75"/>
                <a:gd name="T54" fmla="*/ 0 w 76"/>
                <a:gd name="T55" fmla="*/ 38 h 75"/>
                <a:gd name="T56" fmla="*/ 0 w 76"/>
                <a:gd name="T57" fmla="*/ 38 h 75"/>
                <a:gd name="T58" fmla="*/ 1 w 76"/>
                <a:gd name="T59" fmla="*/ 45 h 75"/>
                <a:gd name="T60" fmla="*/ 3 w 76"/>
                <a:gd name="T61" fmla="*/ 52 h 75"/>
                <a:gd name="T62" fmla="*/ 7 w 76"/>
                <a:gd name="T63" fmla="*/ 59 h 75"/>
                <a:gd name="T64" fmla="*/ 12 w 76"/>
                <a:gd name="T65" fmla="*/ 64 h 75"/>
                <a:gd name="T66" fmla="*/ 17 w 76"/>
                <a:gd name="T67" fmla="*/ 69 h 75"/>
                <a:gd name="T68" fmla="*/ 23 w 76"/>
                <a:gd name="T69" fmla="*/ 73 h 75"/>
                <a:gd name="T70" fmla="*/ 31 w 76"/>
                <a:gd name="T71" fmla="*/ 75 h 75"/>
                <a:gd name="T72" fmla="*/ 38 w 76"/>
                <a:gd name="T73" fmla="*/ 75 h 75"/>
                <a:gd name="T74" fmla="*/ 38 w 76"/>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 h="75">
                  <a:moveTo>
                    <a:pt x="38" y="75"/>
                  </a:moveTo>
                  <a:lnTo>
                    <a:pt x="38" y="75"/>
                  </a:lnTo>
                  <a:lnTo>
                    <a:pt x="46" y="75"/>
                  </a:lnTo>
                  <a:lnTo>
                    <a:pt x="53" y="73"/>
                  </a:lnTo>
                  <a:lnTo>
                    <a:pt x="59" y="69"/>
                  </a:lnTo>
                  <a:lnTo>
                    <a:pt x="65" y="64"/>
                  </a:lnTo>
                  <a:lnTo>
                    <a:pt x="70" y="59"/>
                  </a:lnTo>
                  <a:lnTo>
                    <a:pt x="73" y="52"/>
                  </a:lnTo>
                  <a:lnTo>
                    <a:pt x="75" y="45"/>
                  </a:lnTo>
                  <a:lnTo>
                    <a:pt x="76" y="38"/>
                  </a:lnTo>
                  <a:lnTo>
                    <a:pt x="76" y="38"/>
                  </a:lnTo>
                  <a:lnTo>
                    <a:pt x="75" y="30"/>
                  </a:lnTo>
                  <a:lnTo>
                    <a:pt x="73" y="23"/>
                  </a:lnTo>
                  <a:lnTo>
                    <a:pt x="70" y="17"/>
                  </a:lnTo>
                  <a:lnTo>
                    <a:pt x="65" y="11"/>
                  </a:lnTo>
                  <a:lnTo>
                    <a:pt x="59" y="6"/>
                  </a:lnTo>
                  <a:lnTo>
                    <a:pt x="53" y="3"/>
                  </a:lnTo>
                  <a:lnTo>
                    <a:pt x="46" y="1"/>
                  </a:lnTo>
                  <a:lnTo>
                    <a:pt x="38" y="0"/>
                  </a:lnTo>
                  <a:lnTo>
                    <a:pt x="38" y="0"/>
                  </a:lnTo>
                  <a:lnTo>
                    <a:pt x="31" y="1"/>
                  </a:lnTo>
                  <a:lnTo>
                    <a:pt x="23" y="3"/>
                  </a:lnTo>
                  <a:lnTo>
                    <a:pt x="17" y="6"/>
                  </a:lnTo>
                  <a:lnTo>
                    <a:pt x="12" y="11"/>
                  </a:lnTo>
                  <a:lnTo>
                    <a:pt x="7" y="17"/>
                  </a:lnTo>
                  <a:lnTo>
                    <a:pt x="3" y="23"/>
                  </a:lnTo>
                  <a:lnTo>
                    <a:pt x="1" y="30"/>
                  </a:lnTo>
                  <a:lnTo>
                    <a:pt x="0" y="38"/>
                  </a:lnTo>
                  <a:lnTo>
                    <a:pt x="0" y="38"/>
                  </a:lnTo>
                  <a:lnTo>
                    <a:pt x="1" y="45"/>
                  </a:lnTo>
                  <a:lnTo>
                    <a:pt x="3" y="52"/>
                  </a:lnTo>
                  <a:lnTo>
                    <a:pt x="7" y="59"/>
                  </a:lnTo>
                  <a:lnTo>
                    <a:pt x="12" y="64"/>
                  </a:lnTo>
                  <a:lnTo>
                    <a:pt x="17" y="69"/>
                  </a:lnTo>
                  <a:lnTo>
                    <a:pt x="23" y="73"/>
                  </a:lnTo>
                  <a:lnTo>
                    <a:pt x="31" y="75"/>
                  </a:lnTo>
                  <a:lnTo>
                    <a:pt x="38" y="75"/>
                  </a:lnTo>
                  <a:lnTo>
                    <a:pt x="3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40" name="Freeform 16">
              <a:extLst>
                <a:ext uri="{FF2B5EF4-FFF2-40B4-BE49-F238E27FC236}">
                  <a16:creationId xmlns:a16="http://schemas.microsoft.com/office/drawing/2014/main" id="{C2EC341F-A16E-52F6-06F7-9BAF6D59629F}"/>
                </a:ext>
              </a:extLst>
            </p:cNvPr>
            <p:cNvSpPr>
              <a:spLocks/>
            </p:cNvSpPr>
            <p:nvPr/>
          </p:nvSpPr>
          <p:spPr bwMode="auto">
            <a:xfrm>
              <a:off x="3968" y="2037"/>
              <a:ext cx="87" cy="327"/>
            </a:xfrm>
            <a:custGeom>
              <a:avLst/>
              <a:gdLst>
                <a:gd name="T0" fmla="*/ 43 w 87"/>
                <a:gd name="T1" fmla="*/ 33 h 327"/>
                <a:gd name="T2" fmla="*/ 22 w 87"/>
                <a:gd name="T3" fmla="*/ 0 h 327"/>
                <a:gd name="T4" fmla="*/ 0 w 87"/>
                <a:gd name="T5" fmla="*/ 0 h 327"/>
                <a:gd name="T6" fmla="*/ 9 w 87"/>
                <a:gd name="T7" fmla="*/ 154 h 327"/>
                <a:gd name="T8" fmla="*/ 9 w 87"/>
                <a:gd name="T9" fmla="*/ 154 h 327"/>
                <a:gd name="T10" fmla="*/ 9 w 87"/>
                <a:gd name="T11" fmla="*/ 313 h 327"/>
                <a:gd name="T12" fmla="*/ 9 w 87"/>
                <a:gd name="T13" fmla="*/ 313 h 327"/>
                <a:gd name="T14" fmla="*/ 10 w 87"/>
                <a:gd name="T15" fmla="*/ 319 h 327"/>
                <a:gd name="T16" fmla="*/ 14 w 87"/>
                <a:gd name="T17" fmla="*/ 323 h 327"/>
                <a:gd name="T18" fmla="*/ 18 w 87"/>
                <a:gd name="T19" fmla="*/ 326 h 327"/>
                <a:gd name="T20" fmla="*/ 23 w 87"/>
                <a:gd name="T21" fmla="*/ 327 h 327"/>
                <a:gd name="T22" fmla="*/ 23 w 87"/>
                <a:gd name="T23" fmla="*/ 327 h 327"/>
                <a:gd name="T24" fmla="*/ 29 w 87"/>
                <a:gd name="T25" fmla="*/ 326 h 327"/>
                <a:gd name="T26" fmla="*/ 34 w 87"/>
                <a:gd name="T27" fmla="*/ 323 h 327"/>
                <a:gd name="T28" fmla="*/ 37 w 87"/>
                <a:gd name="T29" fmla="*/ 319 h 327"/>
                <a:gd name="T30" fmla="*/ 38 w 87"/>
                <a:gd name="T31" fmla="*/ 313 h 327"/>
                <a:gd name="T32" fmla="*/ 38 w 87"/>
                <a:gd name="T33" fmla="*/ 154 h 327"/>
                <a:gd name="T34" fmla="*/ 49 w 87"/>
                <a:gd name="T35" fmla="*/ 154 h 327"/>
                <a:gd name="T36" fmla="*/ 49 w 87"/>
                <a:gd name="T37" fmla="*/ 313 h 327"/>
                <a:gd name="T38" fmla="*/ 49 w 87"/>
                <a:gd name="T39" fmla="*/ 313 h 327"/>
                <a:gd name="T40" fmla="*/ 50 w 87"/>
                <a:gd name="T41" fmla="*/ 319 h 327"/>
                <a:gd name="T42" fmla="*/ 53 w 87"/>
                <a:gd name="T43" fmla="*/ 323 h 327"/>
                <a:gd name="T44" fmla="*/ 57 w 87"/>
                <a:gd name="T45" fmla="*/ 326 h 327"/>
                <a:gd name="T46" fmla="*/ 63 w 87"/>
                <a:gd name="T47" fmla="*/ 327 h 327"/>
                <a:gd name="T48" fmla="*/ 63 w 87"/>
                <a:gd name="T49" fmla="*/ 327 h 327"/>
                <a:gd name="T50" fmla="*/ 69 w 87"/>
                <a:gd name="T51" fmla="*/ 326 h 327"/>
                <a:gd name="T52" fmla="*/ 73 w 87"/>
                <a:gd name="T53" fmla="*/ 323 h 327"/>
                <a:gd name="T54" fmla="*/ 76 w 87"/>
                <a:gd name="T55" fmla="*/ 319 h 327"/>
                <a:gd name="T56" fmla="*/ 77 w 87"/>
                <a:gd name="T57" fmla="*/ 313 h 327"/>
                <a:gd name="T58" fmla="*/ 77 w 87"/>
                <a:gd name="T59" fmla="*/ 154 h 327"/>
                <a:gd name="T60" fmla="*/ 77 w 87"/>
                <a:gd name="T61" fmla="*/ 154 h 327"/>
                <a:gd name="T62" fmla="*/ 87 w 87"/>
                <a:gd name="T63" fmla="*/ 0 h 327"/>
                <a:gd name="T64" fmla="*/ 64 w 87"/>
                <a:gd name="T65" fmla="*/ 0 h 327"/>
                <a:gd name="T66" fmla="*/ 43 w 87"/>
                <a:gd name="T67" fmla="*/ 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 h="327">
                  <a:moveTo>
                    <a:pt x="43" y="33"/>
                  </a:moveTo>
                  <a:lnTo>
                    <a:pt x="22" y="0"/>
                  </a:lnTo>
                  <a:lnTo>
                    <a:pt x="0" y="0"/>
                  </a:lnTo>
                  <a:lnTo>
                    <a:pt x="9" y="154"/>
                  </a:lnTo>
                  <a:lnTo>
                    <a:pt x="9" y="154"/>
                  </a:lnTo>
                  <a:lnTo>
                    <a:pt x="9" y="313"/>
                  </a:lnTo>
                  <a:lnTo>
                    <a:pt x="9" y="313"/>
                  </a:lnTo>
                  <a:lnTo>
                    <a:pt x="10" y="319"/>
                  </a:lnTo>
                  <a:lnTo>
                    <a:pt x="14" y="323"/>
                  </a:lnTo>
                  <a:lnTo>
                    <a:pt x="18" y="326"/>
                  </a:lnTo>
                  <a:lnTo>
                    <a:pt x="23" y="327"/>
                  </a:lnTo>
                  <a:lnTo>
                    <a:pt x="23" y="327"/>
                  </a:lnTo>
                  <a:lnTo>
                    <a:pt x="29" y="326"/>
                  </a:lnTo>
                  <a:lnTo>
                    <a:pt x="34" y="323"/>
                  </a:lnTo>
                  <a:lnTo>
                    <a:pt x="37" y="319"/>
                  </a:lnTo>
                  <a:lnTo>
                    <a:pt x="38" y="313"/>
                  </a:lnTo>
                  <a:lnTo>
                    <a:pt x="38" y="154"/>
                  </a:lnTo>
                  <a:lnTo>
                    <a:pt x="49" y="154"/>
                  </a:lnTo>
                  <a:lnTo>
                    <a:pt x="49" y="313"/>
                  </a:lnTo>
                  <a:lnTo>
                    <a:pt x="49" y="313"/>
                  </a:lnTo>
                  <a:lnTo>
                    <a:pt x="50" y="319"/>
                  </a:lnTo>
                  <a:lnTo>
                    <a:pt x="53" y="323"/>
                  </a:lnTo>
                  <a:lnTo>
                    <a:pt x="57" y="326"/>
                  </a:lnTo>
                  <a:lnTo>
                    <a:pt x="63" y="327"/>
                  </a:lnTo>
                  <a:lnTo>
                    <a:pt x="63" y="327"/>
                  </a:lnTo>
                  <a:lnTo>
                    <a:pt x="69" y="326"/>
                  </a:lnTo>
                  <a:lnTo>
                    <a:pt x="73" y="323"/>
                  </a:lnTo>
                  <a:lnTo>
                    <a:pt x="76" y="319"/>
                  </a:lnTo>
                  <a:lnTo>
                    <a:pt x="77" y="313"/>
                  </a:lnTo>
                  <a:lnTo>
                    <a:pt x="77" y="154"/>
                  </a:lnTo>
                  <a:lnTo>
                    <a:pt x="77" y="154"/>
                  </a:lnTo>
                  <a:lnTo>
                    <a:pt x="87" y="0"/>
                  </a:lnTo>
                  <a:lnTo>
                    <a:pt x="64" y="0"/>
                  </a:lnTo>
                  <a:lnTo>
                    <a:pt x="43"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grpSp>
      <p:grpSp>
        <p:nvGrpSpPr>
          <p:cNvPr id="41" name="Group 4">
            <a:extLst>
              <a:ext uri="{FF2B5EF4-FFF2-40B4-BE49-F238E27FC236}">
                <a16:creationId xmlns:a16="http://schemas.microsoft.com/office/drawing/2014/main" id="{463779DC-4783-773A-374D-D21E22CEB9F7}"/>
              </a:ext>
            </a:extLst>
          </p:cNvPr>
          <p:cNvGrpSpPr>
            <a:grpSpLocks noChangeAspect="1"/>
          </p:cNvGrpSpPr>
          <p:nvPr/>
        </p:nvGrpSpPr>
        <p:grpSpPr bwMode="auto">
          <a:xfrm>
            <a:off x="621417" y="2998370"/>
            <a:ext cx="1248519" cy="1058639"/>
            <a:chOff x="3601" y="1957"/>
            <a:chExt cx="480" cy="407"/>
          </a:xfrm>
          <a:solidFill>
            <a:schemeClr val="accent1"/>
          </a:solidFill>
        </p:grpSpPr>
        <p:sp>
          <p:nvSpPr>
            <p:cNvPr id="42" name="Freeform 5">
              <a:extLst>
                <a:ext uri="{FF2B5EF4-FFF2-40B4-BE49-F238E27FC236}">
                  <a16:creationId xmlns:a16="http://schemas.microsoft.com/office/drawing/2014/main" id="{182D0486-4F29-10D6-E07B-D77B736589CE}"/>
                </a:ext>
              </a:extLst>
            </p:cNvPr>
            <p:cNvSpPr>
              <a:spLocks/>
            </p:cNvSpPr>
            <p:nvPr/>
          </p:nvSpPr>
          <p:spPr bwMode="auto">
            <a:xfrm>
              <a:off x="3601" y="2037"/>
              <a:ext cx="24" cy="163"/>
            </a:xfrm>
            <a:custGeom>
              <a:avLst/>
              <a:gdLst>
                <a:gd name="T0" fmla="*/ 0 w 24"/>
                <a:gd name="T1" fmla="*/ 0 h 163"/>
                <a:gd name="T2" fmla="*/ 6 w 24"/>
                <a:gd name="T3" fmla="*/ 154 h 163"/>
                <a:gd name="T4" fmla="*/ 6 w 24"/>
                <a:gd name="T5" fmla="*/ 154 h 163"/>
                <a:gd name="T6" fmla="*/ 7 w 24"/>
                <a:gd name="T7" fmla="*/ 157 h 163"/>
                <a:gd name="T8" fmla="*/ 8 w 24"/>
                <a:gd name="T9" fmla="*/ 160 h 163"/>
                <a:gd name="T10" fmla="*/ 12 w 24"/>
                <a:gd name="T11" fmla="*/ 161 h 163"/>
                <a:gd name="T12" fmla="*/ 15 w 24"/>
                <a:gd name="T13" fmla="*/ 163 h 163"/>
                <a:gd name="T14" fmla="*/ 15 w 24"/>
                <a:gd name="T15" fmla="*/ 163 h 163"/>
                <a:gd name="T16" fmla="*/ 19 w 24"/>
                <a:gd name="T17" fmla="*/ 161 h 163"/>
                <a:gd name="T18" fmla="*/ 22 w 24"/>
                <a:gd name="T19" fmla="*/ 160 h 163"/>
                <a:gd name="T20" fmla="*/ 23 w 24"/>
                <a:gd name="T21" fmla="*/ 157 h 163"/>
                <a:gd name="T22" fmla="*/ 24 w 24"/>
                <a:gd name="T23" fmla="*/ 154 h 163"/>
                <a:gd name="T24" fmla="*/ 15 w 24"/>
                <a:gd name="T25" fmla="*/ 0 h 163"/>
                <a:gd name="T26" fmla="*/ 0 w 24"/>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63">
                  <a:moveTo>
                    <a:pt x="0" y="0"/>
                  </a:moveTo>
                  <a:lnTo>
                    <a:pt x="6" y="154"/>
                  </a:lnTo>
                  <a:lnTo>
                    <a:pt x="6" y="154"/>
                  </a:lnTo>
                  <a:lnTo>
                    <a:pt x="7" y="157"/>
                  </a:lnTo>
                  <a:lnTo>
                    <a:pt x="8" y="160"/>
                  </a:lnTo>
                  <a:lnTo>
                    <a:pt x="12" y="161"/>
                  </a:lnTo>
                  <a:lnTo>
                    <a:pt x="15" y="163"/>
                  </a:lnTo>
                  <a:lnTo>
                    <a:pt x="15" y="163"/>
                  </a:lnTo>
                  <a:lnTo>
                    <a:pt x="19" y="161"/>
                  </a:lnTo>
                  <a:lnTo>
                    <a:pt x="22" y="160"/>
                  </a:lnTo>
                  <a:lnTo>
                    <a:pt x="23" y="157"/>
                  </a:lnTo>
                  <a:lnTo>
                    <a:pt x="24" y="154"/>
                  </a:lnTo>
                  <a:lnTo>
                    <a:pt x="1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43" name="Freeform 6">
              <a:extLst>
                <a:ext uri="{FF2B5EF4-FFF2-40B4-BE49-F238E27FC236}">
                  <a16:creationId xmlns:a16="http://schemas.microsoft.com/office/drawing/2014/main" id="{16730816-4D41-2054-ECF4-BC52D1F88338}"/>
                </a:ext>
              </a:extLst>
            </p:cNvPr>
            <p:cNvSpPr>
              <a:spLocks/>
            </p:cNvSpPr>
            <p:nvPr/>
          </p:nvSpPr>
          <p:spPr bwMode="auto">
            <a:xfrm>
              <a:off x="3715" y="2037"/>
              <a:ext cx="25" cy="163"/>
            </a:xfrm>
            <a:custGeom>
              <a:avLst/>
              <a:gdLst>
                <a:gd name="T0" fmla="*/ 0 w 25"/>
                <a:gd name="T1" fmla="*/ 154 h 163"/>
                <a:gd name="T2" fmla="*/ 0 w 25"/>
                <a:gd name="T3" fmla="*/ 154 h 163"/>
                <a:gd name="T4" fmla="*/ 1 w 25"/>
                <a:gd name="T5" fmla="*/ 157 h 163"/>
                <a:gd name="T6" fmla="*/ 3 w 25"/>
                <a:gd name="T7" fmla="*/ 160 h 163"/>
                <a:gd name="T8" fmla="*/ 7 w 25"/>
                <a:gd name="T9" fmla="*/ 161 h 163"/>
                <a:gd name="T10" fmla="*/ 10 w 25"/>
                <a:gd name="T11" fmla="*/ 163 h 163"/>
                <a:gd name="T12" fmla="*/ 10 w 25"/>
                <a:gd name="T13" fmla="*/ 163 h 163"/>
                <a:gd name="T14" fmla="*/ 13 w 25"/>
                <a:gd name="T15" fmla="*/ 161 h 163"/>
                <a:gd name="T16" fmla="*/ 16 w 25"/>
                <a:gd name="T17" fmla="*/ 160 h 163"/>
                <a:gd name="T18" fmla="*/ 18 w 25"/>
                <a:gd name="T19" fmla="*/ 157 h 163"/>
                <a:gd name="T20" fmla="*/ 18 w 25"/>
                <a:gd name="T21" fmla="*/ 154 h 163"/>
                <a:gd name="T22" fmla="*/ 25 w 25"/>
                <a:gd name="T23" fmla="*/ 0 h 163"/>
                <a:gd name="T24" fmla="*/ 10 w 25"/>
                <a:gd name="T25" fmla="*/ 0 h 163"/>
                <a:gd name="T26" fmla="*/ 0 w 25"/>
                <a:gd name="T27" fmla="*/ 154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63">
                  <a:moveTo>
                    <a:pt x="0" y="154"/>
                  </a:moveTo>
                  <a:lnTo>
                    <a:pt x="0" y="154"/>
                  </a:lnTo>
                  <a:lnTo>
                    <a:pt x="1" y="157"/>
                  </a:lnTo>
                  <a:lnTo>
                    <a:pt x="3" y="160"/>
                  </a:lnTo>
                  <a:lnTo>
                    <a:pt x="7" y="161"/>
                  </a:lnTo>
                  <a:lnTo>
                    <a:pt x="10" y="163"/>
                  </a:lnTo>
                  <a:lnTo>
                    <a:pt x="10" y="163"/>
                  </a:lnTo>
                  <a:lnTo>
                    <a:pt x="13" y="161"/>
                  </a:lnTo>
                  <a:lnTo>
                    <a:pt x="16" y="160"/>
                  </a:lnTo>
                  <a:lnTo>
                    <a:pt x="18" y="157"/>
                  </a:lnTo>
                  <a:lnTo>
                    <a:pt x="18" y="154"/>
                  </a:lnTo>
                  <a:lnTo>
                    <a:pt x="25" y="0"/>
                  </a:lnTo>
                  <a:lnTo>
                    <a:pt x="10" y="0"/>
                  </a:lnTo>
                  <a:lnTo>
                    <a:pt x="0"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44" name="Freeform 7">
              <a:extLst>
                <a:ext uri="{FF2B5EF4-FFF2-40B4-BE49-F238E27FC236}">
                  <a16:creationId xmlns:a16="http://schemas.microsoft.com/office/drawing/2014/main" id="{A5660192-EB6A-CAC7-7704-DB6665F05EF6}"/>
                </a:ext>
              </a:extLst>
            </p:cNvPr>
            <p:cNvSpPr>
              <a:spLocks/>
            </p:cNvSpPr>
            <p:nvPr/>
          </p:nvSpPr>
          <p:spPr bwMode="auto">
            <a:xfrm>
              <a:off x="3633" y="1957"/>
              <a:ext cx="75" cy="75"/>
            </a:xfrm>
            <a:custGeom>
              <a:avLst/>
              <a:gdLst>
                <a:gd name="T0" fmla="*/ 38 w 75"/>
                <a:gd name="T1" fmla="*/ 75 h 75"/>
                <a:gd name="T2" fmla="*/ 38 w 75"/>
                <a:gd name="T3" fmla="*/ 75 h 75"/>
                <a:gd name="T4" fmla="*/ 45 w 75"/>
                <a:gd name="T5" fmla="*/ 75 h 75"/>
                <a:gd name="T6" fmla="*/ 53 w 75"/>
                <a:gd name="T7" fmla="*/ 73 h 75"/>
                <a:gd name="T8" fmla="*/ 59 w 75"/>
                <a:gd name="T9" fmla="*/ 69 h 75"/>
                <a:gd name="T10" fmla="*/ 64 w 75"/>
                <a:gd name="T11" fmla="*/ 64 h 75"/>
                <a:gd name="T12" fmla="*/ 68 w 75"/>
                <a:gd name="T13" fmla="*/ 59 h 75"/>
                <a:gd name="T14" fmla="*/ 73 w 75"/>
                <a:gd name="T15" fmla="*/ 52 h 75"/>
                <a:gd name="T16" fmla="*/ 75 w 75"/>
                <a:gd name="T17" fmla="*/ 45 h 75"/>
                <a:gd name="T18" fmla="*/ 75 w 75"/>
                <a:gd name="T19" fmla="*/ 38 h 75"/>
                <a:gd name="T20" fmla="*/ 75 w 75"/>
                <a:gd name="T21" fmla="*/ 38 h 75"/>
                <a:gd name="T22" fmla="*/ 75 w 75"/>
                <a:gd name="T23" fmla="*/ 30 h 75"/>
                <a:gd name="T24" fmla="*/ 73 w 75"/>
                <a:gd name="T25" fmla="*/ 23 h 75"/>
                <a:gd name="T26" fmla="*/ 68 w 75"/>
                <a:gd name="T27" fmla="*/ 17 h 75"/>
                <a:gd name="T28" fmla="*/ 64 w 75"/>
                <a:gd name="T29" fmla="*/ 11 h 75"/>
                <a:gd name="T30" fmla="*/ 59 w 75"/>
                <a:gd name="T31" fmla="*/ 6 h 75"/>
                <a:gd name="T32" fmla="*/ 53 w 75"/>
                <a:gd name="T33" fmla="*/ 3 h 75"/>
                <a:gd name="T34" fmla="*/ 45 w 75"/>
                <a:gd name="T35" fmla="*/ 1 h 75"/>
                <a:gd name="T36" fmla="*/ 38 w 75"/>
                <a:gd name="T37" fmla="*/ 0 h 75"/>
                <a:gd name="T38" fmla="*/ 38 w 75"/>
                <a:gd name="T39" fmla="*/ 0 h 75"/>
                <a:gd name="T40" fmla="*/ 29 w 75"/>
                <a:gd name="T41" fmla="*/ 1 h 75"/>
                <a:gd name="T42" fmla="*/ 23 w 75"/>
                <a:gd name="T43" fmla="*/ 3 h 75"/>
                <a:gd name="T44" fmla="*/ 17 w 75"/>
                <a:gd name="T45" fmla="*/ 6 h 75"/>
                <a:gd name="T46" fmla="*/ 10 w 75"/>
                <a:gd name="T47" fmla="*/ 11 h 75"/>
                <a:gd name="T48" fmla="*/ 6 w 75"/>
                <a:gd name="T49" fmla="*/ 17 h 75"/>
                <a:gd name="T50" fmla="*/ 3 w 75"/>
                <a:gd name="T51" fmla="*/ 23 h 75"/>
                <a:gd name="T52" fmla="*/ 1 w 75"/>
                <a:gd name="T53" fmla="*/ 30 h 75"/>
                <a:gd name="T54" fmla="*/ 0 w 75"/>
                <a:gd name="T55" fmla="*/ 38 h 75"/>
                <a:gd name="T56" fmla="*/ 0 w 75"/>
                <a:gd name="T57" fmla="*/ 38 h 75"/>
                <a:gd name="T58" fmla="*/ 1 w 75"/>
                <a:gd name="T59" fmla="*/ 45 h 75"/>
                <a:gd name="T60" fmla="*/ 3 w 75"/>
                <a:gd name="T61" fmla="*/ 52 h 75"/>
                <a:gd name="T62" fmla="*/ 6 w 75"/>
                <a:gd name="T63" fmla="*/ 59 h 75"/>
                <a:gd name="T64" fmla="*/ 10 w 75"/>
                <a:gd name="T65" fmla="*/ 64 h 75"/>
                <a:gd name="T66" fmla="*/ 17 w 75"/>
                <a:gd name="T67" fmla="*/ 69 h 75"/>
                <a:gd name="T68" fmla="*/ 23 w 75"/>
                <a:gd name="T69" fmla="*/ 73 h 75"/>
                <a:gd name="T70" fmla="*/ 29 w 75"/>
                <a:gd name="T71" fmla="*/ 75 h 75"/>
                <a:gd name="T72" fmla="*/ 38 w 75"/>
                <a:gd name="T73" fmla="*/ 75 h 75"/>
                <a:gd name="T74" fmla="*/ 38 w 75"/>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5">
                  <a:moveTo>
                    <a:pt x="38" y="75"/>
                  </a:moveTo>
                  <a:lnTo>
                    <a:pt x="38" y="75"/>
                  </a:lnTo>
                  <a:lnTo>
                    <a:pt x="45" y="75"/>
                  </a:lnTo>
                  <a:lnTo>
                    <a:pt x="53" y="73"/>
                  </a:lnTo>
                  <a:lnTo>
                    <a:pt x="59" y="69"/>
                  </a:lnTo>
                  <a:lnTo>
                    <a:pt x="64" y="64"/>
                  </a:lnTo>
                  <a:lnTo>
                    <a:pt x="68" y="59"/>
                  </a:lnTo>
                  <a:lnTo>
                    <a:pt x="73" y="52"/>
                  </a:lnTo>
                  <a:lnTo>
                    <a:pt x="75" y="45"/>
                  </a:lnTo>
                  <a:lnTo>
                    <a:pt x="75" y="38"/>
                  </a:lnTo>
                  <a:lnTo>
                    <a:pt x="75" y="38"/>
                  </a:lnTo>
                  <a:lnTo>
                    <a:pt x="75" y="30"/>
                  </a:lnTo>
                  <a:lnTo>
                    <a:pt x="73" y="23"/>
                  </a:lnTo>
                  <a:lnTo>
                    <a:pt x="68" y="17"/>
                  </a:lnTo>
                  <a:lnTo>
                    <a:pt x="64" y="11"/>
                  </a:lnTo>
                  <a:lnTo>
                    <a:pt x="59" y="6"/>
                  </a:lnTo>
                  <a:lnTo>
                    <a:pt x="53" y="3"/>
                  </a:lnTo>
                  <a:lnTo>
                    <a:pt x="45" y="1"/>
                  </a:lnTo>
                  <a:lnTo>
                    <a:pt x="38" y="0"/>
                  </a:lnTo>
                  <a:lnTo>
                    <a:pt x="38" y="0"/>
                  </a:lnTo>
                  <a:lnTo>
                    <a:pt x="29" y="1"/>
                  </a:lnTo>
                  <a:lnTo>
                    <a:pt x="23" y="3"/>
                  </a:lnTo>
                  <a:lnTo>
                    <a:pt x="17" y="6"/>
                  </a:lnTo>
                  <a:lnTo>
                    <a:pt x="10" y="11"/>
                  </a:lnTo>
                  <a:lnTo>
                    <a:pt x="6" y="17"/>
                  </a:lnTo>
                  <a:lnTo>
                    <a:pt x="3" y="23"/>
                  </a:lnTo>
                  <a:lnTo>
                    <a:pt x="1" y="30"/>
                  </a:lnTo>
                  <a:lnTo>
                    <a:pt x="0" y="38"/>
                  </a:lnTo>
                  <a:lnTo>
                    <a:pt x="0" y="38"/>
                  </a:lnTo>
                  <a:lnTo>
                    <a:pt x="1" y="45"/>
                  </a:lnTo>
                  <a:lnTo>
                    <a:pt x="3" y="52"/>
                  </a:lnTo>
                  <a:lnTo>
                    <a:pt x="6" y="59"/>
                  </a:lnTo>
                  <a:lnTo>
                    <a:pt x="10" y="64"/>
                  </a:lnTo>
                  <a:lnTo>
                    <a:pt x="17" y="69"/>
                  </a:lnTo>
                  <a:lnTo>
                    <a:pt x="23" y="73"/>
                  </a:lnTo>
                  <a:lnTo>
                    <a:pt x="29" y="75"/>
                  </a:lnTo>
                  <a:lnTo>
                    <a:pt x="38" y="75"/>
                  </a:lnTo>
                  <a:lnTo>
                    <a:pt x="3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45" name="Freeform 8">
              <a:extLst>
                <a:ext uri="{FF2B5EF4-FFF2-40B4-BE49-F238E27FC236}">
                  <a16:creationId xmlns:a16="http://schemas.microsoft.com/office/drawing/2014/main" id="{C9D0A077-2EE2-A596-3577-B68BAB3AE2FE}"/>
                </a:ext>
              </a:extLst>
            </p:cNvPr>
            <p:cNvSpPr>
              <a:spLocks/>
            </p:cNvSpPr>
            <p:nvPr/>
          </p:nvSpPr>
          <p:spPr bwMode="auto">
            <a:xfrm>
              <a:off x="3627" y="2037"/>
              <a:ext cx="86" cy="327"/>
            </a:xfrm>
            <a:custGeom>
              <a:avLst/>
              <a:gdLst>
                <a:gd name="T0" fmla="*/ 44 w 86"/>
                <a:gd name="T1" fmla="*/ 33 h 327"/>
                <a:gd name="T2" fmla="*/ 22 w 86"/>
                <a:gd name="T3" fmla="*/ 0 h 327"/>
                <a:gd name="T4" fmla="*/ 0 w 86"/>
                <a:gd name="T5" fmla="*/ 0 h 327"/>
                <a:gd name="T6" fmla="*/ 9 w 86"/>
                <a:gd name="T7" fmla="*/ 154 h 327"/>
                <a:gd name="T8" fmla="*/ 9 w 86"/>
                <a:gd name="T9" fmla="*/ 154 h 327"/>
                <a:gd name="T10" fmla="*/ 9 w 86"/>
                <a:gd name="T11" fmla="*/ 313 h 327"/>
                <a:gd name="T12" fmla="*/ 9 w 86"/>
                <a:gd name="T13" fmla="*/ 313 h 327"/>
                <a:gd name="T14" fmla="*/ 10 w 86"/>
                <a:gd name="T15" fmla="*/ 319 h 327"/>
                <a:gd name="T16" fmla="*/ 13 w 86"/>
                <a:gd name="T17" fmla="*/ 323 h 327"/>
                <a:gd name="T18" fmla="*/ 18 w 86"/>
                <a:gd name="T19" fmla="*/ 326 h 327"/>
                <a:gd name="T20" fmla="*/ 24 w 86"/>
                <a:gd name="T21" fmla="*/ 327 h 327"/>
                <a:gd name="T22" fmla="*/ 24 w 86"/>
                <a:gd name="T23" fmla="*/ 327 h 327"/>
                <a:gd name="T24" fmla="*/ 29 w 86"/>
                <a:gd name="T25" fmla="*/ 326 h 327"/>
                <a:gd name="T26" fmla="*/ 33 w 86"/>
                <a:gd name="T27" fmla="*/ 323 h 327"/>
                <a:gd name="T28" fmla="*/ 36 w 86"/>
                <a:gd name="T29" fmla="*/ 319 h 327"/>
                <a:gd name="T30" fmla="*/ 37 w 86"/>
                <a:gd name="T31" fmla="*/ 313 h 327"/>
                <a:gd name="T32" fmla="*/ 37 w 86"/>
                <a:gd name="T33" fmla="*/ 154 h 327"/>
                <a:gd name="T34" fmla="*/ 49 w 86"/>
                <a:gd name="T35" fmla="*/ 154 h 327"/>
                <a:gd name="T36" fmla="*/ 49 w 86"/>
                <a:gd name="T37" fmla="*/ 313 h 327"/>
                <a:gd name="T38" fmla="*/ 49 w 86"/>
                <a:gd name="T39" fmla="*/ 313 h 327"/>
                <a:gd name="T40" fmla="*/ 50 w 86"/>
                <a:gd name="T41" fmla="*/ 319 h 327"/>
                <a:gd name="T42" fmla="*/ 53 w 86"/>
                <a:gd name="T43" fmla="*/ 323 h 327"/>
                <a:gd name="T44" fmla="*/ 58 w 86"/>
                <a:gd name="T45" fmla="*/ 326 h 327"/>
                <a:gd name="T46" fmla="*/ 63 w 86"/>
                <a:gd name="T47" fmla="*/ 327 h 327"/>
                <a:gd name="T48" fmla="*/ 63 w 86"/>
                <a:gd name="T49" fmla="*/ 327 h 327"/>
                <a:gd name="T50" fmla="*/ 69 w 86"/>
                <a:gd name="T51" fmla="*/ 326 h 327"/>
                <a:gd name="T52" fmla="*/ 73 w 86"/>
                <a:gd name="T53" fmla="*/ 323 h 327"/>
                <a:gd name="T54" fmla="*/ 77 w 86"/>
                <a:gd name="T55" fmla="*/ 319 h 327"/>
                <a:gd name="T56" fmla="*/ 78 w 86"/>
                <a:gd name="T57" fmla="*/ 313 h 327"/>
                <a:gd name="T58" fmla="*/ 78 w 86"/>
                <a:gd name="T59" fmla="*/ 154 h 327"/>
                <a:gd name="T60" fmla="*/ 78 w 86"/>
                <a:gd name="T61" fmla="*/ 154 h 327"/>
                <a:gd name="T62" fmla="*/ 86 w 86"/>
                <a:gd name="T63" fmla="*/ 0 h 327"/>
                <a:gd name="T64" fmla="*/ 65 w 86"/>
                <a:gd name="T65" fmla="*/ 0 h 327"/>
                <a:gd name="T66" fmla="*/ 44 w 86"/>
                <a:gd name="T67" fmla="*/ 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 h="327">
                  <a:moveTo>
                    <a:pt x="44" y="33"/>
                  </a:moveTo>
                  <a:lnTo>
                    <a:pt x="22" y="0"/>
                  </a:lnTo>
                  <a:lnTo>
                    <a:pt x="0" y="0"/>
                  </a:lnTo>
                  <a:lnTo>
                    <a:pt x="9" y="154"/>
                  </a:lnTo>
                  <a:lnTo>
                    <a:pt x="9" y="154"/>
                  </a:lnTo>
                  <a:lnTo>
                    <a:pt x="9" y="313"/>
                  </a:lnTo>
                  <a:lnTo>
                    <a:pt x="9" y="313"/>
                  </a:lnTo>
                  <a:lnTo>
                    <a:pt x="10" y="319"/>
                  </a:lnTo>
                  <a:lnTo>
                    <a:pt x="13" y="323"/>
                  </a:lnTo>
                  <a:lnTo>
                    <a:pt x="18" y="326"/>
                  </a:lnTo>
                  <a:lnTo>
                    <a:pt x="24" y="327"/>
                  </a:lnTo>
                  <a:lnTo>
                    <a:pt x="24" y="327"/>
                  </a:lnTo>
                  <a:lnTo>
                    <a:pt x="29" y="326"/>
                  </a:lnTo>
                  <a:lnTo>
                    <a:pt x="33" y="323"/>
                  </a:lnTo>
                  <a:lnTo>
                    <a:pt x="36" y="319"/>
                  </a:lnTo>
                  <a:lnTo>
                    <a:pt x="37" y="313"/>
                  </a:lnTo>
                  <a:lnTo>
                    <a:pt x="37" y="154"/>
                  </a:lnTo>
                  <a:lnTo>
                    <a:pt x="49" y="154"/>
                  </a:lnTo>
                  <a:lnTo>
                    <a:pt x="49" y="313"/>
                  </a:lnTo>
                  <a:lnTo>
                    <a:pt x="49" y="313"/>
                  </a:lnTo>
                  <a:lnTo>
                    <a:pt x="50" y="319"/>
                  </a:lnTo>
                  <a:lnTo>
                    <a:pt x="53" y="323"/>
                  </a:lnTo>
                  <a:lnTo>
                    <a:pt x="58" y="326"/>
                  </a:lnTo>
                  <a:lnTo>
                    <a:pt x="63" y="327"/>
                  </a:lnTo>
                  <a:lnTo>
                    <a:pt x="63" y="327"/>
                  </a:lnTo>
                  <a:lnTo>
                    <a:pt x="69" y="326"/>
                  </a:lnTo>
                  <a:lnTo>
                    <a:pt x="73" y="323"/>
                  </a:lnTo>
                  <a:lnTo>
                    <a:pt x="77" y="319"/>
                  </a:lnTo>
                  <a:lnTo>
                    <a:pt x="78" y="313"/>
                  </a:lnTo>
                  <a:lnTo>
                    <a:pt x="78" y="154"/>
                  </a:lnTo>
                  <a:lnTo>
                    <a:pt x="78" y="154"/>
                  </a:lnTo>
                  <a:lnTo>
                    <a:pt x="86" y="0"/>
                  </a:lnTo>
                  <a:lnTo>
                    <a:pt x="65" y="0"/>
                  </a:lnTo>
                  <a:lnTo>
                    <a:pt x="4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46" name="Freeform 9">
              <a:extLst>
                <a:ext uri="{FF2B5EF4-FFF2-40B4-BE49-F238E27FC236}">
                  <a16:creationId xmlns:a16="http://schemas.microsoft.com/office/drawing/2014/main" id="{09ABD9AB-82DC-07D6-2606-3AD8493FD6B5}"/>
                </a:ext>
              </a:extLst>
            </p:cNvPr>
            <p:cNvSpPr>
              <a:spLocks/>
            </p:cNvSpPr>
            <p:nvPr/>
          </p:nvSpPr>
          <p:spPr bwMode="auto">
            <a:xfrm>
              <a:off x="3771" y="2037"/>
              <a:ext cx="25" cy="163"/>
            </a:xfrm>
            <a:custGeom>
              <a:avLst/>
              <a:gdLst>
                <a:gd name="T0" fmla="*/ 0 w 25"/>
                <a:gd name="T1" fmla="*/ 0 h 163"/>
                <a:gd name="T2" fmla="*/ 7 w 25"/>
                <a:gd name="T3" fmla="*/ 154 h 163"/>
                <a:gd name="T4" fmla="*/ 7 w 25"/>
                <a:gd name="T5" fmla="*/ 154 h 163"/>
                <a:gd name="T6" fmla="*/ 8 w 25"/>
                <a:gd name="T7" fmla="*/ 157 h 163"/>
                <a:gd name="T8" fmla="*/ 10 w 25"/>
                <a:gd name="T9" fmla="*/ 160 h 163"/>
                <a:gd name="T10" fmla="*/ 12 w 25"/>
                <a:gd name="T11" fmla="*/ 161 h 163"/>
                <a:gd name="T12" fmla="*/ 16 w 25"/>
                <a:gd name="T13" fmla="*/ 163 h 163"/>
                <a:gd name="T14" fmla="*/ 16 w 25"/>
                <a:gd name="T15" fmla="*/ 163 h 163"/>
                <a:gd name="T16" fmla="*/ 19 w 25"/>
                <a:gd name="T17" fmla="*/ 161 h 163"/>
                <a:gd name="T18" fmla="*/ 22 w 25"/>
                <a:gd name="T19" fmla="*/ 160 h 163"/>
                <a:gd name="T20" fmla="*/ 25 w 25"/>
                <a:gd name="T21" fmla="*/ 157 h 163"/>
                <a:gd name="T22" fmla="*/ 25 w 25"/>
                <a:gd name="T23" fmla="*/ 154 h 163"/>
                <a:gd name="T24" fmla="*/ 16 w 25"/>
                <a:gd name="T25" fmla="*/ 0 h 163"/>
                <a:gd name="T26" fmla="*/ 0 w 25"/>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63">
                  <a:moveTo>
                    <a:pt x="0" y="0"/>
                  </a:moveTo>
                  <a:lnTo>
                    <a:pt x="7" y="154"/>
                  </a:lnTo>
                  <a:lnTo>
                    <a:pt x="7" y="154"/>
                  </a:lnTo>
                  <a:lnTo>
                    <a:pt x="8" y="157"/>
                  </a:lnTo>
                  <a:lnTo>
                    <a:pt x="10" y="160"/>
                  </a:lnTo>
                  <a:lnTo>
                    <a:pt x="12" y="161"/>
                  </a:lnTo>
                  <a:lnTo>
                    <a:pt x="16" y="163"/>
                  </a:lnTo>
                  <a:lnTo>
                    <a:pt x="16" y="163"/>
                  </a:lnTo>
                  <a:lnTo>
                    <a:pt x="19" y="161"/>
                  </a:lnTo>
                  <a:lnTo>
                    <a:pt x="22" y="160"/>
                  </a:lnTo>
                  <a:lnTo>
                    <a:pt x="25" y="157"/>
                  </a:lnTo>
                  <a:lnTo>
                    <a:pt x="25" y="154"/>
                  </a:lnTo>
                  <a:lnTo>
                    <a:pt x="1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47" name="Freeform 10">
              <a:extLst>
                <a:ext uri="{FF2B5EF4-FFF2-40B4-BE49-F238E27FC236}">
                  <a16:creationId xmlns:a16="http://schemas.microsoft.com/office/drawing/2014/main" id="{126B763A-94D4-B925-E913-3415112A6573}"/>
                </a:ext>
              </a:extLst>
            </p:cNvPr>
            <p:cNvSpPr>
              <a:spLocks/>
            </p:cNvSpPr>
            <p:nvPr/>
          </p:nvSpPr>
          <p:spPr bwMode="auto">
            <a:xfrm>
              <a:off x="3886" y="2037"/>
              <a:ext cx="24" cy="163"/>
            </a:xfrm>
            <a:custGeom>
              <a:avLst/>
              <a:gdLst>
                <a:gd name="T0" fmla="*/ 0 w 24"/>
                <a:gd name="T1" fmla="*/ 154 h 163"/>
                <a:gd name="T2" fmla="*/ 0 w 24"/>
                <a:gd name="T3" fmla="*/ 154 h 163"/>
                <a:gd name="T4" fmla="*/ 0 w 24"/>
                <a:gd name="T5" fmla="*/ 157 h 163"/>
                <a:gd name="T6" fmla="*/ 3 w 24"/>
                <a:gd name="T7" fmla="*/ 160 h 163"/>
                <a:gd name="T8" fmla="*/ 6 w 24"/>
                <a:gd name="T9" fmla="*/ 161 h 163"/>
                <a:gd name="T10" fmla="*/ 9 w 24"/>
                <a:gd name="T11" fmla="*/ 163 h 163"/>
                <a:gd name="T12" fmla="*/ 9 w 24"/>
                <a:gd name="T13" fmla="*/ 163 h 163"/>
                <a:gd name="T14" fmla="*/ 12 w 24"/>
                <a:gd name="T15" fmla="*/ 161 h 163"/>
                <a:gd name="T16" fmla="*/ 15 w 24"/>
                <a:gd name="T17" fmla="*/ 160 h 163"/>
                <a:gd name="T18" fmla="*/ 17 w 24"/>
                <a:gd name="T19" fmla="*/ 157 h 163"/>
                <a:gd name="T20" fmla="*/ 18 w 24"/>
                <a:gd name="T21" fmla="*/ 154 h 163"/>
                <a:gd name="T22" fmla="*/ 24 w 24"/>
                <a:gd name="T23" fmla="*/ 0 h 163"/>
                <a:gd name="T24" fmla="*/ 9 w 24"/>
                <a:gd name="T25" fmla="*/ 0 h 163"/>
                <a:gd name="T26" fmla="*/ 0 w 24"/>
                <a:gd name="T27" fmla="*/ 154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63">
                  <a:moveTo>
                    <a:pt x="0" y="154"/>
                  </a:moveTo>
                  <a:lnTo>
                    <a:pt x="0" y="154"/>
                  </a:lnTo>
                  <a:lnTo>
                    <a:pt x="0" y="157"/>
                  </a:lnTo>
                  <a:lnTo>
                    <a:pt x="3" y="160"/>
                  </a:lnTo>
                  <a:lnTo>
                    <a:pt x="6" y="161"/>
                  </a:lnTo>
                  <a:lnTo>
                    <a:pt x="9" y="163"/>
                  </a:lnTo>
                  <a:lnTo>
                    <a:pt x="9" y="163"/>
                  </a:lnTo>
                  <a:lnTo>
                    <a:pt x="12" y="161"/>
                  </a:lnTo>
                  <a:lnTo>
                    <a:pt x="15" y="160"/>
                  </a:lnTo>
                  <a:lnTo>
                    <a:pt x="17" y="157"/>
                  </a:lnTo>
                  <a:lnTo>
                    <a:pt x="18" y="154"/>
                  </a:lnTo>
                  <a:lnTo>
                    <a:pt x="24" y="0"/>
                  </a:lnTo>
                  <a:lnTo>
                    <a:pt x="9" y="0"/>
                  </a:lnTo>
                  <a:lnTo>
                    <a:pt x="0"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48" name="Freeform 11">
              <a:extLst>
                <a:ext uri="{FF2B5EF4-FFF2-40B4-BE49-F238E27FC236}">
                  <a16:creationId xmlns:a16="http://schemas.microsoft.com/office/drawing/2014/main" id="{1D836CD7-F650-0E22-1580-D22956E23FDC}"/>
                </a:ext>
              </a:extLst>
            </p:cNvPr>
            <p:cNvSpPr>
              <a:spLocks/>
            </p:cNvSpPr>
            <p:nvPr/>
          </p:nvSpPr>
          <p:spPr bwMode="auto">
            <a:xfrm>
              <a:off x="3803" y="1957"/>
              <a:ext cx="76" cy="75"/>
            </a:xfrm>
            <a:custGeom>
              <a:avLst/>
              <a:gdLst>
                <a:gd name="T0" fmla="*/ 38 w 76"/>
                <a:gd name="T1" fmla="*/ 75 h 75"/>
                <a:gd name="T2" fmla="*/ 38 w 76"/>
                <a:gd name="T3" fmla="*/ 75 h 75"/>
                <a:gd name="T4" fmla="*/ 45 w 76"/>
                <a:gd name="T5" fmla="*/ 75 h 75"/>
                <a:gd name="T6" fmla="*/ 53 w 76"/>
                <a:gd name="T7" fmla="*/ 73 h 75"/>
                <a:gd name="T8" fmla="*/ 59 w 76"/>
                <a:gd name="T9" fmla="*/ 69 h 75"/>
                <a:gd name="T10" fmla="*/ 64 w 76"/>
                <a:gd name="T11" fmla="*/ 64 h 75"/>
                <a:gd name="T12" fmla="*/ 69 w 76"/>
                <a:gd name="T13" fmla="*/ 59 h 75"/>
                <a:gd name="T14" fmla="*/ 73 w 76"/>
                <a:gd name="T15" fmla="*/ 52 h 75"/>
                <a:gd name="T16" fmla="*/ 75 w 76"/>
                <a:gd name="T17" fmla="*/ 45 h 75"/>
                <a:gd name="T18" fmla="*/ 76 w 76"/>
                <a:gd name="T19" fmla="*/ 38 h 75"/>
                <a:gd name="T20" fmla="*/ 76 w 76"/>
                <a:gd name="T21" fmla="*/ 38 h 75"/>
                <a:gd name="T22" fmla="*/ 75 w 76"/>
                <a:gd name="T23" fmla="*/ 30 h 75"/>
                <a:gd name="T24" fmla="*/ 73 w 76"/>
                <a:gd name="T25" fmla="*/ 23 h 75"/>
                <a:gd name="T26" fmla="*/ 69 w 76"/>
                <a:gd name="T27" fmla="*/ 17 h 75"/>
                <a:gd name="T28" fmla="*/ 64 w 76"/>
                <a:gd name="T29" fmla="*/ 11 h 75"/>
                <a:gd name="T30" fmla="*/ 59 w 76"/>
                <a:gd name="T31" fmla="*/ 6 h 75"/>
                <a:gd name="T32" fmla="*/ 53 w 76"/>
                <a:gd name="T33" fmla="*/ 3 h 75"/>
                <a:gd name="T34" fmla="*/ 45 w 76"/>
                <a:gd name="T35" fmla="*/ 1 h 75"/>
                <a:gd name="T36" fmla="*/ 38 w 76"/>
                <a:gd name="T37" fmla="*/ 0 h 75"/>
                <a:gd name="T38" fmla="*/ 38 w 76"/>
                <a:gd name="T39" fmla="*/ 0 h 75"/>
                <a:gd name="T40" fmla="*/ 31 w 76"/>
                <a:gd name="T41" fmla="*/ 1 h 75"/>
                <a:gd name="T42" fmla="*/ 23 w 76"/>
                <a:gd name="T43" fmla="*/ 3 h 75"/>
                <a:gd name="T44" fmla="*/ 17 w 76"/>
                <a:gd name="T45" fmla="*/ 6 h 75"/>
                <a:gd name="T46" fmla="*/ 11 w 76"/>
                <a:gd name="T47" fmla="*/ 11 h 75"/>
                <a:gd name="T48" fmla="*/ 6 w 76"/>
                <a:gd name="T49" fmla="*/ 17 h 75"/>
                <a:gd name="T50" fmla="*/ 3 w 76"/>
                <a:gd name="T51" fmla="*/ 23 h 75"/>
                <a:gd name="T52" fmla="*/ 1 w 76"/>
                <a:gd name="T53" fmla="*/ 30 h 75"/>
                <a:gd name="T54" fmla="*/ 0 w 76"/>
                <a:gd name="T55" fmla="*/ 38 h 75"/>
                <a:gd name="T56" fmla="*/ 0 w 76"/>
                <a:gd name="T57" fmla="*/ 38 h 75"/>
                <a:gd name="T58" fmla="*/ 1 w 76"/>
                <a:gd name="T59" fmla="*/ 45 h 75"/>
                <a:gd name="T60" fmla="*/ 3 w 76"/>
                <a:gd name="T61" fmla="*/ 52 h 75"/>
                <a:gd name="T62" fmla="*/ 6 w 76"/>
                <a:gd name="T63" fmla="*/ 59 h 75"/>
                <a:gd name="T64" fmla="*/ 11 w 76"/>
                <a:gd name="T65" fmla="*/ 64 h 75"/>
                <a:gd name="T66" fmla="*/ 17 w 76"/>
                <a:gd name="T67" fmla="*/ 69 h 75"/>
                <a:gd name="T68" fmla="*/ 23 w 76"/>
                <a:gd name="T69" fmla="*/ 73 h 75"/>
                <a:gd name="T70" fmla="*/ 31 w 76"/>
                <a:gd name="T71" fmla="*/ 75 h 75"/>
                <a:gd name="T72" fmla="*/ 38 w 76"/>
                <a:gd name="T73" fmla="*/ 75 h 75"/>
                <a:gd name="T74" fmla="*/ 38 w 76"/>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 h="75">
                  <a:moveTo>
                    <a:pt x="38" y="75"/>
                  </a:moveTo>
                  <a:lnTo>
                    <a:pt x="38" y="75"/>
                  </a:lnTo>
                  <a:lnTo>
                    <a:pt x="45" y="75"/>
                  </a:lnTo>
                  <a:lnTo>
                    <a:pt x="53" y="73"/>
                  </a:lnTo>
                  <a:lnTo>
                    <a:pt x="59" y="69"/>
                  </a:lnTo>
                  <a:lnTo>
                    <a:pt x="64" y="64"/>
                  </a:lnTo>
                  <a:lnTo>
                    <a:pt x="69" y="59"/>
                  </a:lnTo>
                  <a:lnTo>
                    <a:pt x="73" y="52"/>
                  </a:lnTo>
                  <a:lnTo>
                    <a:pt x="75" y="45"/>
                  </a:lnTo>
                  <a:lnTo>
                    <a:pt x="76" y="38"/>
                  </a:lnTo>
                  <a:lnTo>
                    <a:pt x="76" y="38"/>
                  </a:lnTo>
                  <a:lnTo>
                    <a:pt x="75" y="30"/>
                  </a:lnTo>
                  <a:lnTo>
                    <a:pt x="73" y="23"/>
                  </a:lnTo>
                  <a:lnTo>
                    <a:pt x="69" y="17"/>
                  </a:lnTo>
                  <a:lnTo>
                    <a:pt x="64" y="11"/>
                  </a:lnTo>
                  <a:lnTo>
                    <a:pt x="59" y="6"/>
                  </a:lnTo>
                  <a:lnTo>
                    <a:pt x="53" y="3"/>
                  </a:lnTo>
                  <a:lnTo>
                    <a:pt x="45" y="1"/>
                  </a:lnTo>
                  <a:lnTo>
                    <a:pt x="38" y="0"/>
                  </a:lnTo>
                  <a:lnTo>
                    <a:pt x="38" y="0"/>
                  </a:lnTo>
                  <a:lnTo>
                    <a:pt x="31" y="1"/>
                  </a:lnTo>
                  <a:lnTo>
                    <a:pt x="23" y="3"/>
                  </a:lnTo>
                  <a:lnTo>
                    <a:pt x="17" y="6"/>
                  </a:lnTo>
                  <a:lnTo>
                    <a:pt x="11" y="11"/>
                  </a:lnTo>
                  <a:lnTo>
                    <a:pt x="6" y="17"/>
                  </a:lnTo>
                  <a:lnTo>
                    <a:pt x="3" y="23"/>
                  </a:lnTo>
                  <a:lnTo>
                    <a:pt x="1" y="30"/>
                  </a:lnTo>
                  <a:lnTo>
                    <a:pt x="0" y="38"/>
                  </a:lnTo>
                  <a:lnTo>
                    <a:pt x="0" y="38"/>
                  </a:lnTo>
                  <a:lnTo>
                    <a:pt x="1" y="45"/>
                  </a:lnTo>
                  <a:lnTo>
                    <a:pt x="3" y="52"/>
                  </a:lnTo>
                  <a:lnTo>
                    <a:pt x="6" y="59"/>
                  </a:lnTo>
                  <a:lnTo>
                    <a:pt x="11" y="64"/>
                  </a:lnTo>
                  <a:lnTo>
                    <a:pt x="17" y="69"/>
                  </a:lnTo>
                  <a:lnTo>
                    <a:pt x="23" y="73"/>
                  </a:lnTo>
                  <a:lnTo>
                    <a:pt x="31" y="75"/>
                  </a:lnTo>
                  <a:lnTo>
                    <a:pt x="38" y="75"/>
                  </a:lnTo>
                  <a:lnTo>
                    <a:pt x="3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49" name="Freeform 12">
              <a:extLst>
                <a:ext uri="{FF2B5EF4-FFF2-40B4-BE49-F238E27FC236}">
                  <a16:creationId xmlns:a16="http://schemas.microsoft.com/office/drawing/2014/main" id="{CCD4CDD2-62CE-76DF-EA29-C8BBCD400029}"/>
                </a:ext>
              </a:extLst>
            </p:cNvPr>
            <p:cNvSpPr>
              <a:spLocks/>
            </p:cNvSpPr>
            <p:nvPr/>
          </p:nvSpPr>
          <p:spPr bwMode="auto">
            <a:xfrm>
              <a:off x="3798" y="2037"/>
              <a:ext cx="86" cy="327"/>
            </a:xfrm>
            <a:custGeom>
              <a:avLst/>
              <a:gdLst>
                <a:gd name="T0" fmla="*/ 43 w 86"/>
                <a:gd name="T1" fmla="*/ 33 h 327"/>
                <a:gd name="T2" fmla="*/ 21 w 86"/>
                <a:gd name="T3" fmla="*/ 0 h 327"/>
                <a:gd name="T4" fmla="*/ 0 w 86"/>
                <a:gd name="T5" fmla="*/ 0 h 327"/>
                <a:gd name="T6" fmla="*/ 8 w 86"/>
                <a:gd name="T7" fmla="*/ 154 h 327"/>
                <a:gd name="T8" fmla="*/ 8 w 86"/>
                <a:gd name="T9" fmla="*/ 154 h 327"/>
                <a:gd name="T10" fmla="*/ 8 w 86"/>
                <a:gd name="T11" fmla="*/ 313 h 327"/>
                <a:gd name="T12" fmla="*/ 8 w 86"/>
                <a:gd name="T13" fmla="*/ 313 h 327"/>
                <a:gd name="T14" fmla="*/ 9 w 86"/>
                <a:gd name="T15" fmla="*/ 319 h 327"/>
                <a:gd name="T16" fmla="*/ 12 w 86"/>
                <a:gd name="T17" fmla="*/ 323 h 327"/>
                <a:gd name="T18" fmla="*/ 18 w 86"/>
                <a:gd name="T19" fmla="*/ 326 h 327"/>
                <a:gd name="T20" fmla="*/ 23 w 86"/>
                <a:gd name="T21" fmla="*/ 327 h 327"/>
                <a:gd name="T22" fmla="*/ 23 w 86"/>
                <a:gd name="T23" fmla="*/ 327 h 327"/>
                <a:gd name="T24" fmla="*/ 28 w 86"/>
                <a:gd name="T25" fmla="*/ 326 h 327"/>
                <a:gd name="T26" fmla="*/ 33 w 86"/>
                <a:gd name="T27" fmla="*/ 323 h 327"/>
                <a:gd name="T28" fmla="*/ 37 w 86"/>
                <a:gd name="T29" fmla="*/ 319 h 327"/>
                <a:gd name="T30" fmla="*/ 38 w 86"/>
                <a:gd name="T31" fmla="*/ 313 h 327"/>
                <a:gd name="T32" fmla="*/ 38 w 86"/>
                <a:gd name="T33" fmla="*/ 154 h 327"/>
                <a:gd name="T34" fmla="*/ 48 w 86"/>
                <a:gd name="T35" fmla="*/ 154 h 327"/>
                <a:gd name="T36" fmla="*/ 48 w 86"/>
                <a:gd name="T37" fmla="*/ 313 h 327"/>
                <a:gd name="T38" fmla="*/ 48 w 86"/>
                <a:gd name="T39" fmla="*/ 313 h 327"/>
                <a:gd name="T40" fmla="*/ 49 w 86"/>
                <a:gd name="T41" fmla="*/ 319 h 327"/>
                <a:gd name="T42" fmla="*/ 53 w 86"/>
                <a:gd name="T43" fmla="*/ 323 h 327"/>
                <a:gd name="T44" fmla="*/ 57 w 86"/>
                <a:gd name="T45" fmla="*/ 326 h 327"/>
                <a:gd name="T46" fmla="*/ 63 w 86"/>
                <a:gd name="T47" fmla="*/ 327 h 327"/>
                <a:gd name="T48" fmla="*/ 63 w 86"/>
                <a:gd name="T49" fmla="*/ 327 h 327"/>
                <a:gd name="T50" fmla="*/ 68 w 86"/>
                <a:gd name="T51" fmla="*/ 326 h 327"/>
                <a:gd name="T52" fmla="*/ 73 w 86"/>
                <a:gd name="T53" fmla="*/ 323 h 327"/>
                <a:gd name="T54" fmla="*/ 76 w 86"/>
                <a:gd name="T55" fmla="*/ 319 h 327"/>
                <a:gd name="T56" fmla="*/ 77 w 86"/>
                <a:gd name="T57" fmla="*/ 313 h 327"/>
                <a:gd name="T58" fmla="*/ 77 w 86"/>
                <a:gd name="T59" fmla="*/ 154 h 327"/>
                <a:gd name="T60" fmla="*/ 77 w 86"/>
                <a:gd name="T61" fmla="*/ 154 h 327"/>
                <a:gd name="T62" fmla="*/ 86 w 86"/>
                <a:gd name="T63" fmla="*/ 0 h 327"/>
                <a:gd name="T64" fmla="*/ 64 w 86"/>
                <a:gd name="T65" fmla="*/ 0 h 327"/>
                <a:gd name="T66" fmla="*/ 43 w 86"/>
                <a:gd name="T67" fmla="*/ 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 h="327">
                  <a:moveTo>
                    <a:pt x="43" y="33"/>
                  </a:moveTo>
                  <a:lnTo>
                    <a:pt x="21" y="0"/>
                  </a:lnTo>
                  <a:lnTo>
                    <a:pt x="0" y="0"/>
                  </a:lnTo>
                  <a:lnTo>
                    <a:pt x="8" y="154"/>
                  </a:lnTo>
                  <a:lnTo>
                    <a:pt x="8" y="154"/>
                  </a:lnTo>
                  <a:lnTo>
                    <a:pt x="8" y="313"/>
                  </a:lnTo>
                  <a:lnTo>
                    <a:pt x="8" y="313"/>
                  </a:lnTo>
                  <a:lnTo>
                    <a:pt x="9" y="319"/>
                  </a:lnTo>
                  <a:lnTo>
                    <a:pt x="12" y="323"/>
                  </a:lnTo>
                  <a:lnTo>
                    <a:pt x="18" y="326"/>
                  </a:lnTo>
                  <a:lnTo>
                    <a:pt x="23" y="327"/>
                  </a:lnTo>
                  <a:lnTo>
                    <a:pt x="23" y="327"/>
                  </a:lnTo>
                  <a:lnTo>
                    <a:pt x="28" y="326"/>
                  </a:lnTo>
                  <a:lnTo>
                    <a:pt x="33" y="323"/>
                  </a:lnTo>
                  <a:lnTo>
                    <a:pt x="37" y="319"/>
                  </a:lnTo>
                  <a:lnTo>
                    <a:pt x="38" y="313"/>
                  </a:lnTo>
                  <a:lnTo>
                    <a:pt x="38" y="154"/>
                  </a:lnTo>
                  <a:lnTo>
                    <a:pt x="48" y="154"/>
                  </a:lnTo>
                  <a:lnTo>
                    <a:pt x="48" y="313"/>
                  </a:lnTo>
                  <a:lnTo>
                    <a:pt x="48" y="313"/>
                  </a:lnTo>
                  <a:lnTo>
                    <a:pt x="49" y="319"/>
                  </a:lnTo>
                  <a:lnTo>
                    <a:pt x="53" y="323"/>
                  </a:lnTo>
                  <a:lnTo>
                    <a:pt x="57" y="326"/>
                  </a:lnTo>
                  <a:lnTo>
                    <a:pt x="63" y="327"/>
                  </a:lnTo>
                  <a:lnTo>
                    <a:pt x="63" y="327"/>
                  </a:lnTo>
                  <a:lnTo>
                    <a:pt x="68" y="326"/>
                  </a:lnTo>
                  <a:lnTo>
                    <a:pt x="73" y="323"/>
                  </a:lnTo>
                  <a:lnTo>
                    <a:pt x="76" y="319"/>
                  </a:lnTo>
                  <a:lnTo>
                    <a:pt x="77" y="313"/>
                  </a:lnTo>
                  <a:lnTo>
                    <a:pt x="77" y="154"/>
                  </a:lnTo>
                  <a:lnTo>
                    <a:pt x="77" y="154"/>
                  </a:lnTo>
                  <a:lnTo>
                    <a:pt x="86" y="0"/>
                  </a:lnTo>
                  <a:lnTo>
                    <a:pt x="64" y="0"/>
                  </a:lnTo>
                  <a:lnTo>
                    <a:pt x="43"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50" name="Freeform 13">
              <a:extLst>
                <a:ext uri="{FF2B5EF4-FFF2-40B4-BE49-F238E27FC236}">
                  <a16:creationId xmlns:a16="http://schemas.microsoft.com/office/drawing/2014/main" id="{AC4ED92C-9A47-AE65-A13F-7D488426C198}"/>
                </a:ext>
              </a:extLst>
            </p:cNvPr>
            <p:cNvSpPr>
              <a:spLocks/>
            </p:cNvSpPr>
            <p:nvPr/>
          </p:nvSpPr>
          <p:spPr bwMode="auto">
            <a:xfrm>
              <a:off x="3941" y="2037"/>
              <a:ext cx="25" cy="163"/>
            </a:xfrm>
            <a:custGeom>
              <a:avLst/>
              <a:gdLst>
                <a:gd name="T0" fmla="*/ 0 w 25"/>
                <a:gd name="T1" fmla="*/ 0 h 163"/>
                <a:gd name="T2" fmla="*/ 7 w 25"/>
                <a:gd name="T3" fmla="*/ 154 h 163"/>
                <a:gd name="T4" fmla="*/ 7 w 25"/>
                <a:gd name="T5" fmla="*/ 154 h 163"/>
                <a:gd name="T6" fmla="*/ 8 w 25"/>
                <a:gd name="T7" fmla="*/ 157 h 163"/>
                <a:gd name="T8" fmla="*/ 10 w 25"/>
                <a:gd name="T9" fmla="*/ 160 h 163"/>
                <a:gd name="T10" fmla="*/ 13 w 25"/>
                <a:gd name="T11" fmla="*/ 161 h 163"/>
                <a:gd name="T12" fmla="*/ 16 w 25"/>
                <a:gd name="T13" fmla="*/ 163 h 163"/>
                <a:gd name="T14" fmla="*/ 16 w 25"/>
                <a:gd name="T15" fmla="*/ 163 h 163"/>
                <a:gd name="T16" fmla="*/ 19 w 25"/>
                <a:gd name="T17" fmla="*/ 161 h 163"/>
                <a:gd name="T18" fmla="*/ 23 w 25"/>
                <a:gd name="T19" fmla="*/ 160 h 163"/>
                <a:gd name="T20" fmla="*/ 25 w 25"/>
                <a:gd name="T21" fmla="*/ 157 h 163"/>
                <a:gd name="T22" fmla="*/ 25 w 25"/>
                <a:gd name="T23" fmla="*/ 154 h 163"/>
                <a:gd name="T24" fmla="*/ 16 w 25"/>
                <a:gd name="T25" fmla="*/ 0 h 163"/>
                <a:gd name="T26" fmla="*/ 0 w 25"/>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63">
                  <a:moveTo>
                    <a:pt x="0" y="0"/>
                  </a:moveTo>
                  <a:lnTo>
                    <a:pt x="7" y="154"/>
                  </a:lnTo>
                  <a:lnTo>
                    <a:pt x="7" y="154"/>
                  </a:lnTo>
                  <a:lnTo>
                    <a:pt x="8" y="157"/>
                  </a:lnTo>
                  <a:lnTo>
                    <a:pt x="10" y="160"/>
                  </a:lnTo>
                  <a:lnTo>
                    <a:pt x="13" y="161"/>
                  </a:lnTo>
                  <a:lnTo>
                    <a:pt x="16" y="163"/>
                  </a:lnTo>
                  <a:lnTo>
                    <a:pt x="16" y="163"/>
                  </a:lnTo>
                  <a:lnTo>
                    <a:pt x="19" y="161"/>
                  </a:lnTo>
                  <a:lnTo>
                    <a:pt x="23" y="160"/>
                  </a:lnTo>
                  <a:lnTo>
                    <a:pt x="25" y="157"/>
                  </a:lnTo>
                  <a:lnTo>
                    <a:pt x="25" y="154"/>
                  </a:lnTo>
                  <a:lnTo>
                    <a:pt x="1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51" name="Freeform 14">
              <a:extLst>
                <a:ext uri="{FF2B5EF4-FFF2-40B4-BE49-F238E27FC236}">
                  <a16:creationId xmlns:a16="http://schemas.microsoft.com/office/drawing/2014/main" id="{583BDC9C-0AD4-BE15-F38E-8CA5D7BAC369}"/>
                </a:ext>
              </a:extLst>
            </p:cNvPr>
            <p:cNvSpPr>
              <a:spLocks/>
            </p:cNvSpPr>
            <p:nvPr/>
          </p:nvSpPr>
          <p:spPr bwMode="auto">
            <a:xfrm>
              <a:off x="4057" y="2037"/>
              <a:ext cx="24" cy="163"/>
            </a:xfrm>
            <a:custGeom>
              <a:avLst/>
              <a:gdLst>
                <a:gd name="T0" fmla="*/ 8 w 24"/>
                <a:gd name="T1" fmla="*/ 0 h 163"/>
                <a:gd name="T2" fmla="*/ 0 w 24"/>
                <a:gd name="T3" fmla="*/ 154 h 163"/>
                <a:gd name="T4" fmla="*/ 0 w 24"/>
                <a:gd name="T5" fmla="*/ 154 h 163"/>
                <a:gd name="T6" fmla="*/ 0 w 24"/>
                <a:gd name="T7" fmla="*/ 157 h 163"/>
                <a:gd name="T8" fmla="*/ 2 w 24"/>
                <a:gd name="T9" fmla="*/ 160 h 163"/>
                <a:gd name="T10" fmla="*/ 5 w 24"/>
                <a:gd name="T11" fmla="*/ 161 h 163"/>
                <a:gd name="T12" fmla="*/ 8 w 24"/>
                <a:gd name="T13" fmla="*/ 163 h 163"/>
                <a:gd name="T14" fmla="*/ 8 w 24"/>
                <a:gd name="T15" fmla="*/ 163 h 163"/>
                <a:gd name="T16" fmla="*/ 12 w 24"/>
                <a:gd name="T17" fmla="*/ 161 h 163"/>
                <a:gd name="T18" fmla="*/ 14 w 24"/>
                <a:gd name="T19" fmla="*/ 160 h 163"/>
                <a:gd name="T20" fmla="*/ 17 w 24"/>
                <a:gd name="T21" fmla="*/ 157 h 163"/>
                <a:gd name="T22" fmla="*/ 18 w 24"/>
                <a:gd name="T23" fmla="*/ 154 h 163"/>
                <a:gd name="T24" fmla="*/ 24 w 24"/>
                <a:gd name="T25" fmla="*/ 0 h 163"/>
                <a:gd name="T26" fmla="*/ 8 w 24"/>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63">
                  <a:moveTo>
                    <a:pt x="8" y="0"/>
                  </a:moveTo>
                  <a:lnTo>
                    <a:pt x="0" y="154"/>
                  </a:lnTo>
                  <a:lnTo>
                    <a:pt x="0" y="154"/>
                  </a:lnTo>
                  <a:lnTo>
                    <a:pt x="0" y="157"/>
                  </a:lnTo>
                  <a:lnTo>
                    <a:pt x="2" y="160"/>
                  </a:lnTo>
                  <a:lnTo>
                    <a:pt x="5" y="161"/>
                  </a:lnTo>
                  <a:lnTo>
                    <a:pt x="8" y="163"/>
                  </a:lnTo>
                  <a:lnTo>
                    <a:pt x="8" y="163"/>
                  </a:lnTo>
                  <a:lnTo>
                    <a:pt x="12" y="161"/>
                  </a:lnTo>
                  <a:lnTo>
                    <a:pt x="14" y="160"/>
                  </a:lnTo>
                  <a:lnTo>
                    <a:pt x="17" y="157"/>
                  </a:lnTo>
                  <a:lnTo>
                    <a:pt x="18" y="154"/>
                  </a:lnTo>
                  <a:lnTo>
                    <a:pt x="24"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52" name="Freeform 15">
              <a:extLst>
                <a:ext uri="{FF2B5EF4-FFF2-40B4-BE49-F238E27FC236}">
                  <a16:creationId xmlns:a16="http://schemas.microsoft.com/office/drawing/2014/main" id="{7A5FF112-EAF0-1C5C-C29B-B6AFBA33BE13}"/>
                </a:ext>
              </a:extLst>
            </p:cNvPr>
            <p:cNvSpPr>
              <a:spLocks/>
            </p:cNvSpPr>
            <p:nvPr/>
          </p:nvSpPr>
          <p:spPr bwMode="auto">
            <a:xfrm>
              <a:off x="3973" y="1957"/>
              <a:ext cx="76" cy="75"/>
            </a:xfrm>
            <a:custGeom>
              <a:avLst/>
              <a:gdLst>
                <a:gd name="T0" fmla="*/ 38 w 76"/>
                <a:gd name="T1" fmla="*/ 75 h 75"/>
                <a:gd name="T2" fmla="*/ 38 w 76"/>
                <a:gd name="T3" fmla="*/ 75 h 75"/>
                <a:gd name="T4" fmla="*/ 46 w 76"/>
                <a:gd name="T5" fmla="*/ 75 h 75"/>
                <a:gd name="T6" fmla="*/ 53 w 76"/>
                <a:gd name="T7" fmla="*/ 73 h 75"/>
                <a:gd name="T8" fmla="*/ 59 w 76"/>
                <a:gd name="T9" fmla="*/ 69 h 75"/>
                <a:gd name="T10" fmla="*/ 65 w 76"/>
                <a:gd name="T11" fmla="*/ 64 h 75"/>
                <a:gd name="T12" fmla="*/ 70 w 76"/>
                <a:gd name="T13" fmla="*/ 59 h 75"/>
                <a:gd name="T14" fmla="*/ 73 w 76"/>
                <a:gd name="T15" fmla="*/ 52 h 75"/>
                <a:gd name="T16" fmla="*/ 75 w 76"/>
                <a:gd name="T17" fmla="*/ 45 h 75"/>
                <a:gd name="T18" fmla="*/ 76 w 76"/>
                <a:gd name="T19" fmla="*/ 38 h 75"/>
                <a:gd name="T20" fmla="*/ 76 w 76"/>
                <a:gd name="T21" fmla="*/ 38 h 75"/>
                <a:gd name="T22" fmla="*/ 75 w 76"/>
                <a:gd name="T23" fmla="*/ 30 h 75"/>
                <a:gd name="T24" fmla="*/ 73 w 76"/>
                <a:gd name="T25" fmla="*/ 23 h 75"/>
                <a:gd name="T26" fmla="*/ 70 w 76"/>
                <a:gd name="T27" fmla="*/ 17 h 75"/>
                <a:gd name="T28" fmla="*/ 65 w 76"/>
                <a:gd name="T29" fmla="*/ 11 h 75"/>
                <a:gd name="T30" fmla="*/ 59 w 76"/>
                <a:gd name="T31" fmla="*/ 6 h 75"/>
                <a:gd name="T32" fmla="*/ 53 w 76"/>
                <a:gd name="T33" fmla="*/ 3 h 75"/>
                <a:gd name="T34" fmla="*/ 46 w 76"/>
                <a:gd name="T35" fmla="*/ 1 h 75"/>
                <a:gd name="T36" fmla="*/ 38 w 76"/>
                <a:gd name="T37" fmla="*/ 0 h 75"/>
                <a:gd name="T38" fmla="*/ 38 w 76"/>
                <a:gd name="T39" fmla="*/ 0 h 75"/>
                <a:gd name="T40" fmla="*/ 31 w 76"/>
                <a:gd name="T41" fmla="*/ 1 h 75"/>
                <a:gd name="T42" fmla="*/ 23 w 76"/>
                <a:gd name="T43" fmla="*/ 3 h 75"/>
                <a:gd name="T44" fmla="*/ 17 w 76"/>
                <a:gd name="T45" fmla="*/ 6 h 75"/>
                <a:gd name="T46" fmla="*/ 12 w 76"/>
                <a:gd name="T47" fmla="*/ 11 h 75"/>
                <a:gd name="T48" fmla="*/ 7 w 76"/>
                <a:gd name="T49" fmla="*/ 17 h 75"/>
                <a:gd name="T50" fmla="*/ 3 w 76"/>
                <a:gd name="T51" fmla="*/ 23 h 75"/>
                <a:gd name="T52" fmla="*/ 1 w 76"/>
                <a:gd name="T53" fmla="*/ 30 h 75"/>
                <a:gd name="T54" fmla="*/ 0 w 76"/>
                <a:gd name="T55" fmla="*/ 38 h 75"/>
                <a:gd name="T56" fmla="*/ 0 w 76"/>
                <a:gd name="T57" fmla="*/ 38 h 75"/>
                <a:gd name="T58" fmla="*/ 1 w 76"/>
                <a:gd name="T59" fmla="*/ 45 h 75"/>
                <a:gd name="T60" fmla="*/ 3 w 76"/>
                <a:gd name="T61" fmla="*/ 52 h 75"/>
                <a:gd name="T62" fmla="*/ 7 w 76"/>
                <a:gd name="T63" fmla="*/ 59 h 75"/>
                <a:gd name="T64" fmla="*/ 12 w 76"/>
                <a:gd name="T65" fmla="*/ 64 h 75"/>
                <a:gd name="T66" fmla="*/ 17 w 76"/>
                <a:gd name="T67" fmla="*/ 69 h 75"/>
                <a:gd name="T68" fmla="*/ 23 w 76"/>
                <a:gd name="T69" fmla="*/ 73 h 75"/>
                <a:gd name="T70" fmla="*/ 31 w 76"/>
                <a:gd name="T71" fmla="*/ 75 h 75"/>
                <a:gd name="T72" fmla="*/ 38 w 76"/>
                <a:gd name="T73" fmla="*/ 75 h 75"/>
                <a:gd name="T74" fmla="*/ 38 w 76"/>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 h="75">
                  <a:moveTo>
                    <a:pt x="38" y="75"/>
                  </a:moveTo>
                  <a:lnTo>
                    <a:pt x="38" y="75"/>
                  </a:lnTo>
                  <a:lnTo>
                    <a:pt x="46" y="75"/>
                  </a:lnTo>
                  <a:lnTo>
                    <a:pt x="53" y="73"/>
                  </a:lnTo>
                  <a:lnTo>
                    <a:pt x="59" y="69"/>
                  </a:lnTo>
                  <a:lnTo>
                    <a:pt x="65" y="64"/>
                  </a:lnTo>
                  <a:lnTo>
                    <a:pt x="70" y="59"/>
                  </a:lnTo>
                  <a:lnTo>
                    <a:pt x="73" y="52"/>
                  </a:lnTo>
                  <a:lnTo>
                    <a:pt x="75" y="45"/>
                  </a:lnTo>
                  <a:lnTo>
                    <a:pt x="76" y="38"/>
                  </a:lnTo>
                  <a:lnTo>
                    <a:pt x="76" y="38"/>
                  </a:lnTo>
                  <a:lnTo>
                    <a:pt x="75" y="30"/>
                  </a:lnTo>
                  <a:lnTo>
                    <a:pt x="73" y="23"/>
                  </a:lnTo>
                  <a:lnTo>
                    <a:pt x="70" y="17"/>
                  </a:lnTo>
                  <a:lnTo>
                    <a:pt x="65" y="11"/>
                  </a:lnTo>
                  <a:lnTo>
                    <a:pt x="59" y="6"/>
                  </a:lnTo>
                  <a:lnTo>
                    <a:pt x="53" y="3"/>
                  </a:lnTo>
                  <a:lnTo>
                    <a:pt x="46" y="1"/>
                  </a:lnTo>
                  <a:lnTo>
                    <a:pt x="38" y="0"/>
                  </a:lnTo>
                  <a:lnTo>
                    <a:pt x="38" y="0"/>
                  </a:lnTo>
                  <a:lnTo>
                    <a:pt x="31" y="1"/>
                  </a:lnTo>
                  <a:lnTo>
                    <a:pt x="23" y="3"/>
                  </a:lnTo>
                  <a:lnTo>
                    <a:pt x="17" y="6"/>
                  </a:lnTo>
                  <a:lnTo>
                    <a:pt x="12" y="11"/>
                  </a:lnTo>
                  <a:lnTo>
                    <a:pt x="7" y="17"/>
                  </a:lnTo>
                  <a:lnTo>
                    <a:pt x="3" y="23"/>
                  </a:lnTo>
                  <a:lnTo>
                    <a:pt x="1" y="30"/>
                  </a:lnTo>
                  <a:lnTo>
                    <a:pt x="0" y="38"/>
                  </a:lnTo>
                  <a:lnTo>
                    <a:pt x="0" y="38"/>
                  </a:lnTo>
                  <a:lnTo>
                    <a:pt x="1" y="45"/>
                  </a:lnTo>
                  <a:lnTo>
                    <a:pt x="3" y="52"/>
                  </a:lnTo>
                  <a:lnTo>
                    <a:pt x="7" y="59"/>
                  </a:lnTo>
                  <a:lnTo>
                    <a:pt x="12" y="64"/>
                  </a:lnTo>
                  <a:lnTo>
                    <a:pt x="17" y="69"/>
                  </a:lnTo>
                  <a:lnTo>
                    <a:pt x="23" y="73"/>
                  </a:lnTo>
                  <a:lnTo>
                    <a:pt x="31" y="75"/>
                  </a:lnTo>
                  <a:lnTo>
                    <a:pt x="38" y="75"/>
                  </a:lnTo>
                  <a:lnTo>
                    <a:pt x="3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53" name="Freeform 16">
              <a:extLst>
                <a:ext uri="{FF2B5EF4-FFF2-40B4-BE49-F238E27FC236}">
                  <a16:creationId xmlns:a16="http://schemas.microsoft.com/office/drawing/2014/main" id="{3BA07EA6-8525-3D9C-F1CA-9095038BD65A}"/>
                </a:ext>
              </a:extLst>
            </p:cNvPr>
            <p:cNvSpPr>
              <a:spLocks/>
            </p:cNvSpPr>
            <p:nvPr/>
          </p:nvSpPr>
          <p:spPr bwMode="auto">
            <a:xfrm>
              <a:off x="3968" y="2037"/>
              <a:ext cx="87" cy="327"/>
            </a:xfrm>
            <a:custGeom>
              <a:avLst/>
              <a:gdLst>
                <a:gd name="T0" fmla="*/ 43 w 87"/>
                <a:gd name="T1" fmla="*/ 33 h 327"/>
                <a:gd name="T2" fmla="*/ 22 w 87"/>
                <a:gd name="T3" fmla="*/ 0 h 327"/>
                <a:gd name="T4" fmla="*/ 0 w 87"/>
                <a:gd name="T5" fmla="*/ 0 h 327"/>
                <a:gd name="T6" fmla="*/ 9 w 87"/>
                <a:gd name="T7" fmla="*/ 154 h 327"/>
                <a:gd name="T8" fmla="*/ 9 w 87"/>
                <a:gd name="T9" fmla="*/ 154 h 327"/>
                <a:gd name="T10" fmla="*/ 9 w 87"/>
                <a:gd name="T11" fmla="*/ 313 h 327"/>
                <a:gd name="T12" fmla="*/ 9 w 87"/>
                <a:gd name="T13" fmla="*/ 313 h 327"/>
                <a:gd name="T14" fmla="*/ 10 w 87"/>
                <a:gd name="T15" fmla="*/ 319 h 327"/>
                <a:gd name="T16" fmla="*/ 14 w 87"/>
                <a:gd name="T17" fmla="*/ 323 h 327"/>
                <a:gd name="T18" fmla="*/ 18 w 87"/>
                <a:gd name="T19" fmla="*/ 326 h 327"/>
                <a:gd name="T20" fmla="*/ 23 w 87"/>
                <a:gd name="T21" fmla="*/ 327 h 327"/>
                <a:gd name="T22" fmla="*/ 23 w 87"/>
                <a:gd name="T23" fmla="*/ 327 h 327"/>
                <a:gd name="T24" fmla="*/ 29 w 87"/>
                <a:gd name="T25" fmla="*/ 326 h 327"/>
                <a:gd name="T26" fmla="*/ 34 w 87"/>
                <a:gd name="T27" fmla="*/ 323 h 327"/>
                <a:gd name="T28" fmla="*/ 37 w 87"/>
                <a:gd name="T29" fmla="*/ 319 h 327"/>
                <a:gd name="T30" fmla="*/ 38 w 87"/>
                <a:gd name="T31" fmla="*/ 313 h 327"/>
                <a:gd name="T32" fmla="*/ 38 w 87"/>
                <a:gd name="T33" fmla="*/ 154 h 327"/>
                <a:gd name="T34" fmla="*/ 49 w 87"/>
                <a:gd name="T35" fmla="*/ 154 h 327"/>
                <a:gd name="T36" fmla="*/ 49 w 87"/>
                <a:gd name="T37" fmla="*/ 313 h 327"/>
                <a:gd name="T38" fmla="*/ 49 w 87"/>
                <a:gd name="T39" fmla="*/ 313 h 327"/>
                <a:gd name="T40" fmla="*/ 50 w 87"/>
                <a:gd name="T41" fmla="*/ 319 h 327"/>
                <a:gd name="T42" fmla="*/ 53 w 87"/>
                <a:gd name="T43" fmla="*/ 323 h 327"/>
                <a:gd name="T44" fmla="*/ 57 w 87"/>
                <a:gd name="T45" fmla="*/ 326 h 327"/>
                <a:gd name="T46" fmla="*/ 63 w 87"/>
                <a:gd name="T47" fmla="*/ 327 h 327"/>
                <a:gd name="T48" fmla="*/ 63 w 87"/>
                <a:gd name="T49" fmla="*/ 327 h 327"/>
                <a:gd name="T50" fmla="*/ 69 w 87"/>
                <a:gd name="T51" fmla="*/ 326 h 327"/>
                <a:gd name="T52" fmla="*/ 73 w 87"/>
                <a:gd name="T53" fmla="*/ 323 h 327"/>
                <a:gd name="T54" fmla="*/ 76 w 87"/>
                <a:gd name="T55" fmla="*/ 319 h 327"/>
                <a:gd name="T56" fmla="*/ 77 w 87"/>
                <a:gd name="T57" fmla="*/ 313 h 327"/>
                <a:gd name="T58" fmla="*/ 77 w 87"/>
                <a:gd name="T59" fmla="*/ 154 h 327"/>
                <a:gd name="T60" fmla="*/ 77 w 87"/>
                <a:gd name="T61" fmla="*/ 154 h 327"/>
                <a:gd name="T62" fmla="*/ 87 w 87"/>
                <a:gd name="T63" fmla="*/ 0 h 327"/>
                <a:gd name="T64" fmla="*/ 64 w 87"/>
                <a:gd name="T65" fmla="*/ 0 h 327"/>
                <a:gd name="T66" fmla="*/ 43 w 87"/>
                <a:gd name="T67" fmla="*/ 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 h="327">
                  <a:moveTo>
                    <a:pt x="43" y="33"/>
                  </a:moveTo>
                  <a:lnTo>
                    <a:pt x="22" y="0"/>
                  </a:lnTo>
                  <a:lnTo>
                    <a:pt x="0" y="0"/>
                  </a:lnTo>
                  <a:lnTo>
                    <a:pt x="9" y="154"/>
                  </a:lnTo>
                  <a:lnTo>
                    <a:pt x="9" y="154"/>
                  </a:lnTo>
                  <a:lnTo>
                    <a:pt x="9" y="313"/>
                  </a:lnTo>
                  <a:lnTo>
                    <a:pt x="9" y="313"/>
                  </a:lnTo>
                  <a:lnTo>
                    <a:pt x="10" y="319"/>
                  </a:lnTo>
                  <a:lnTo>
                    <a:pt x="14" y="323"/>
                  </a:lnTo>
                  <a:lnTo>
                    <a:pt x="18" y="326"/>
                  </a:lnTo>
                  <a:lnTo>
                    <a:pt x="23" y="327"/>
                  </a:lnTo>
                  <a:lnTo>
                    <a:pt x="23" y="327"/>
                  </a:lnTo>
                  <a:lnTo>
                    <a:pt x="29" y="326"/>
                  </a:lnTo>
                  <a:lnTo>
                    <a:pt x="34" y="323"/>
                  </a:lnTo>
                  <a:lnTo>
                    <a:pt x="37" y="319"/>
                  </a:lnTo>
                  <a:lnTo>
                    <a:pt x="38" y="313"/>
                  </a:lnTo>
                  <a:lnTo>
                    <a:pt x="38" y="154"/>
                  </a:lnTo>
                  <a:lnTo>
                    <a:pt x="49" y="154"/>
                  </a:lnTo>
                  <a:lnTo>
                    <a:pt x="49" y="313"/>
                  </a:lnTo>
                  <a:lnTo>
                    <a:pt x="49" y="313"/>
                  </a:lnTo>
                  <a:lnTo>
                    <a:pt x="50" y="319"/>
                  </a:lnTo>
                  <a:lnTo>
                    <a:pt x="53" y="323"/>
                  </a:lnTo>
                  <a:lnTo>
                    <a:pt x="57" y="326"/>
                  </a:lnTo>
                  <a:lnTo>
                    <a:pt x="63" y="327"/>
                  </a:lnTo>
                  <a:lnTo>
                    <a:pt x="63" y="327"/>
                  </a:lnTo>
                  <a:lnTo>
                    <a:pt x="69" y="326"/>
                  </a:lnTo>
                  <a:lnTo>
                    <a:pt x="73" y="323"/>
                  </a:lnTo>
                  <a:lnTo>
                    <a:pt x="76" y="319"/>
                  </a:lnTo>
                  <a:lnTo>
                    <a:pt x="77" y="313"/>
                  </a:lnTo>
                  <a:lnTo>
                    <a:pt x="77" y="154"/>
                  </a:lnTo>
                  <a:lnTo>
                    <a:pt x="77" y="154"/>
                  </a:lnTo>
                  <a:lnTo>
                    <a:pt x="87" y="0"/>
                  </a:lnTo>
                  <a:lnTo>
                    <a:pt x="64" y="0"/>
                  </a:lnTo>
                  <a:lnTo>
                    <a:pt x="43"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grpSp>
      <p:grpSp>
        <p:nvGrpSpPr>
          <p:cNvPr id="54" name="Group 4">
            <a:extLst>
              <a:ext uri="{FF2B5EF4-FFF2-40B4-BE49-F238E27FC236}">
                <a16:creationId xmlns:a16="http://schemas.microsoft.com/office/drawing/2014/main" id="{F029B10D-48D8-2960-C80D-7D8E66969F28}"/>
              </a:ext>
            </a:extLst>
          </p:cNvPr>
          <p:cNvGrpSpPr>
            <a:grpSpLocks noChangeAspect="1"/>
          </p:cNvGrpSpPr>
          <p:nvPr/>
        </p:nvGrpSpPr>
        <p:grpSpPr bwMode="auto">
          <a:xfrm>
            <a:off x="553788" y="4195766"/>
            <a:ext cx="1248519" cy="1058639"/>
            <a:chOff x="3601" y="1957"/>
            <a:chExt cx="480" cy="407"/>
          </a:xfrm>
          <a:solidFill>
            <a:schemeClr val="accent1"/>
          </a:solidFill>
        </p:grpSpPr>
        <p:sp>
          <p:nvSpPr>
            <p:cNvPr id="55" name="Freeform 5">
              <a:extLst>
                <a:ext uri="{FF2B5EF4-FFF2-40B4-BE49-F238E27FC236}">
                  <a16:creationId xmlns:a16="http://schemas.microsoft.com/office/drawing/2014/main" id="{F41638E3-E4A0-B847-6064-51DAFD95D52B}"/>
                </a:ext>
              </a:extLst>
            </p:cNvPr>
            <p:cNvSpPr>
              <a:spLocks/>
            </p:cNvSpPr>
            <p:nvPr/>
          </p:nvSpPr>
          <p:spPr bwMode="auto">
            <a:xfrm>
              <a:off x="3601" y="2037"/>
              <a:ext cx="24" cy="163"/>
            </a:xfrm>
            <a:custGeom>
              <a:avLst/>
              <a:gdLst>
                <a:gd name="T0" fmla="*/ 0 w 24"/>
                <a:gd name="T1" fmla="*/ 0 h 163"/>
                <a:gd name="T2" fmla="*/ 6 w 24"/>
                <a:gd name="T3" fmla="*/ 154 h 163"/>
                <a:gd name="T4" fmla="*/ 6 w 24"/>
                <a:gd name="T5" fmla="*/ 154 h 163"/>
                <a:gd name="T6" fmla="*/ 7 w 24"/>
                <a:gd name="T7" fmla="*/ 157 h 163"/>
                <a:gd name="T8" fmla="*/ 8 w 24"/>
                <a:gd name="T9" fmla="*/ 160 h 163"/>
                <a:gd name="T10" fmla="*/ 12 w 24"/>
                <a:gd name="T11" fmla="*/ 161 h 163"/>
                <a:gd name="T12" fmla="*/ 15 w 24"/>
                <a:gd name="T13" fmla="*/ 163 h 163"/>
                <a:gd name="T14" fmla="*/ 15 w 24"/>
                <a:gd name="T15" fmla="*/ 163 h 163"/>
                <a:gd name="T16" fmla="*/ 19 w 24"/>
                <a:gd name="T17" fmla="*/ 161 h 163"/>
                <a:gd name="T18" fmla="*/ 22 w 24"/>
                <a:gd name="T19" fmla="*/ 160 h 163"/>
                <a:gd name="T20" fmla="*/ 23 w 24"/>
                <a:gd name="T21" fmla="*/ 157 h 163"/>
                <a:gd name="T22" fmla="*/ 24 w 24"/>
                <a:gd name="T23" fmla="*/ 154 h 163"/>
                <a:gd name="T24" fmla="*/ 15 w 24"/>
                <a:gd name="T25" fmla="*/ 0 h 163"/>
                <a:gd name="T26" fmla="*/ 0 w 24"/>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63">
                  <a:moveTo>
                    <a:pt x="0" y="0"/>
                  </a:moveTo>
                  <a:lnTo>
                    <a:pt x="6" y="154"/>
                  </a:lnTo>
                  <a:lnTo>
                    <a:pt x="6" y="154"/>
                  </a:lnTo>
                  <a:lnTo>
                    <a:pt x="7" y="157"/>
                  </a:lnTo>
                  <a:lnTo>
                    <a:pt x="8" y="160"/>
                  </a:lnTo>
                  <a:lnTo>
                    <a:pt x="12" y="161"/>
                  </a:lnTo>
                  <a:lnTo>
                    <a:pt x="15" y="163"/>
                  </a:lnTo>
                  <a:lnTo>
                    <a:pt x="15" y="163"/>
                  </a:lnTo>
                  <a:lnTo>
                    <a:pt x="19" y="161"/>
                  </a:lnTo>
                  <a:lnTo>
                    <a:pt x="22" y="160"/>
                  </a:lnTo>
                  <a:lnTo>
                    <a:pt x="23" y="157"/>
                  </a:lnTo>
                  <a:lnTo>
                    <a:pt x="24" y="154"/>
                  </a:lnTo>
                  <a:lnTo>
                    <a:pt x="1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56" name="Freeform 6">
              <a:extLst>
                <a:ext uri="{FF2B5EF4-FFF2-40B4-BE49-F238E27FC236}">
                  <a16:creationId xmlns:a16="http://schemas.microsoft.com/office/drawing/2014/main" id="{9AC3F29F-45FF-E46A-AD58-33AD123C02C5}"/>
                </a:ext>
              </a:extLst>
            </p:cNvPr>
            <p:cNvSpPr>
              <a:spLocks/>
            </p:cNvSpPr>
            <p:nvPr/>
          </p:nvSpPr>
          <p:spPr bwMode="auto">
            <a:xfrm>
              <a:off x="3715" y="2037"/>
              <a:ext cx="25" cy="163"/>
            </a:xfrm>
            <a:custGeom>
              <a:avLst/>
              <a:gdLst>
                <a:gd name="T0" fmla="*/ 0 w 25"/>
                <a:gd name="T1" fmla="*/ 154 h 163"/>
                <a:gd name="T2" fmla="*/ 0 w 25"/>
                <a:gd name="T3" fmla="*/ 154 h 163"/>
                <a:gd name="T4" fmla="*/ 1 w 25"/>
                <a:gd name="T5" fmla="*/ 157 h 163"/>
                <a:gd name="T6" fmla="*/ 3 w 25"/>
                <a:gd name="T7" fmla="*/ 160 h 163"/>
                <a:gd name="T8" fmla="*/ 7 w 25"/>
                <a:gd name="T9" fmla="*/ 161 h 163"/>
                <a:gd name="T10" fmla="*/ 10 w 25"/>
                <a:gd name="T11" fmla="*/ 163 h 163"/>
                <a:gd name="T12" fmla="*/ 10 w 25"/>
                <a:gd name="T13" fmla="*/ 163 h 163"/>
                <a:gd name="T14" fmla="*/ 13 w 25"/>
                <a:gd name="T15" fmla="*/ 161 h 163"/>
                <a:gd name="T16" fmla="*/ 16 w 25"/>
                <a:gd name="T17" fmla="*/ 160 h 163"/>
                <a:gd name="T18" fmla="*/ 18 w 25"/>
                <a:gd name="T19" fmla="*/ 157 h 163"/>
                <a:gd name="T20" fmla="*/ 18 w 25"/>
                <a:gd name="T21" fmla="*/ 154 h 163"/>
                <a:gd name="T22" fmla="*/ 25 w 25"/>
                <a:gd name="T23" fmla="*/ 0 h 163"/>
                <a:gd name="T24" fmla="*/ 10 w 25"/>
                <a:gd name="T25" fmla="*/ 0 h 163"/>
                <a:gd name="T26" fmla="*/ 0 w 25"/>
                <a:gd name="T27" fmla="*/ 154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63">
                  <a:moveTo>
                    <a:pt x="0" y="154"/>
                  </a:moveTo>
                  <a:lnTo>
                    <a:pt x="0" y="154"/>
                  </a:lnTo>
                  <a:lnTo>
                    <a:pt x="1" y="157"/>
                  </a:lnTo>
                  <a:lnTo>
                    <a:pt x="3" y="160"/>
                  </a:lnTo>
                  <a:lnTo>
                    <a:pt x="7" y="161"/>
                  </a:lnTo>
                  <a:lnTo>
                    <a:pt x="10" y="163"/>
                  </a:lnTo>
                  <a:lnTo>
                    <a:pt x="10" y="163"/>
                  </a:lnTo>
                  <a:lnTo>
                    <a:pt x="13" y="161"/>
                  </a:lnTo>
                  <a:lnTo>
                    <a:pt x="16" y="160"/>
                  </a:lnTo>
                  <a:lnTo>
                    <a:pt x="18" y="157"/>
                  </a:lnTo>
                  <a:lnTo>
                    <a:pt x="18" y="154"/>
                  </a:lnTo>
                  <a:lnTo>
                    <a:pt x="25" y="0"/>
                  </a:lnTo>
                  <a:lnTo>
                    <a:pt x="10" y="0"/>
                  </a:lnTo>
                  <a:lnTo>
                    <a:pt x="0"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57" name="Freeform 7">
              <a:extLst>
                <a:ext uri="{FF2B5EF4-FFF2-40B4-BE49-F238E27FC236}">
                  <a16:creationId xmlns:a16="http://schemas.microsoft.com/office/drawing/2014/main" id="{0D7B5377-DC68-0DB7-F386-07CAA2DBD788}"/>
                </a:ext>
              </a:extLst>
            </p:cNvPr>
            <p:cNvSpPr>
              <a:spLocks/>
            </p:cNvSpPr>
            <p:nvPr/>
          </p:nvSpPr>
          <p:spPr bwMode="auto">
            <a:xfrm>
              <a:off x="3633" y="1957"/>
              <a:ext cx="75" cy="75"/>
            </a:xfrm>
            <a:custGeom>
              <a:avLst/>
              <a:gdLst>
                <a:gd name="T0" fmla="*/ 38 w 75"/>
                <a:gd name="T1" fmla="*/ 75 h 75"/>
                <a:gd name="T2" fmla="*/ 38 w 75"/>
                <a:gd name="T3" fmla="*/ 75 h 75"/>
                <a:gd name="T4" fmla="*/ 45 w 75"/>
                <a:gd name="T5" fmla="*/ 75 h 75"/>
                <a:gd name="T6" fmla="*/ 53 w 75"/>
                <a:gd name="T7" fmla="*/ 73 h 75"/>
                <a:gd name="T8" fmla="*/ 59 w 75"/>
                <a:gd name="T9" fmla="*/ 69 h 75"/>
                <a:gd name="T10" fmla="*/ 64 w 75"/>
                <a:gd name="T11" fmla="*/ 64 h 75"/>
                <a:gd name="T12" fmla="*/ 68 w 75"/>
                <a:gd name="T13" fmla="*/ 59 h 75"/>
                <a:gd name="T14" fmla="*/ 73 w 75"/>
                <a:gd name="T15" fmla="*/ 52 h 75"/>
                <a:gd name="T16" fmla="*/ 75 w 75"/>
                <a:gd name="T17" fmla="*/ 45 h 75"/>
                <a:gd name="T18" fmla="*/ 75 w 75"/>
                <a:gd name="T19" fmla="*/ 38 h 75"/>
                <a:gd name="T20" fmla="*/ 75 w 75"/>
                <a:gd name="T21" fmla="*/ 38 h 75"/>
                <a:gd name="T22" fmla="*/ 75 w 75"/>
                <a:gd name="T23" fmla="*/ 30 h 75"/>
                <a:gd name="T24" fmla="*/ 73 w 75"/>
                <a:gd name="T25" fmla="*/ 23 h 75"/>
                <a:gd name="T26" fmla="*/ 68 w 75"/>
                <a:gd name="T27" fmla="*/ 17 h 75"/>
                <a:gd name="T28" fmla="*/ 64 w 75"/>
                <a:gd name="T29" fmla="*/ 11 h 75"/>
                <a:gd name="T30" fmla="*/ 59 w 75"/>
                <a:gd name="T31" fmla="*/ 6 h 75"/>
                <a:gd name="T32" fmla="*/ 53 w 75"/>
                <a:gd name="T33" fmla="*/ 3 h 75"/>
                <a:gd name="T34" fmla="*/ 45 w 75"/>
                <a:gd name="T35" fmla="*/ 1 h 75"/>
                <a:gd name="T36" fmla="*/ 38 w 75"/>
                <a:gd name="T37" fmla="*/ 0 h 75"/>
                <a:gd name="T38" fmla="*/ 38 w 75"/>
                <a:gd name="T39" fmla="*/ 0 h 75"/>
                <a:gd name="T40" fmla="*/ 29 w 75"/>
                <a:gd name="T41" fmla="*/ 1 h 75"/>
                <a:gd name="T42" fmla="*/ 23 w 75"/>
                <a:gd name="T43" fmla="*/ 3 h 75"/>
                <a:gd name="T44" fmla="*/ 17 w 75"/>
                <a:gd name="T45" fmla="*/ 6 h 75"/>
                <a:gd name="T46" fmla="*/ 10 w 75"/>
                <a:gd name="T47" fmla="*/ 11 h 75"/>
                <a:gd name="T48" fmla="*/ 6 w 75"/>
                <a:gd name="T49" fmla="*/ 17 h 75"/>
                <a:gd name="T50" fmla="*/ 3 w 75"/>
                <a:gd name="T51" fmla="*/ 23 h 75"/>
                <a:gd name="T52" fmla="*/ 1 w 75"/>
                <a:gd name="T53" fmla="*/ 30 h 75"/>
                <a:gd name="T54" fmla="*/ 0 w 75"/>
                <a:gd name="T55" fmla="*/ 38 h 75"/>
                <a:gd name="T56" fmla="*/ 0 w 75"/>
                <a:gd name="T57" fmla="*/ 38 h 75"/>
                <a:gd name="T58" fmla="*/ 1 w 75"/>
                <a:gd name="T59" fmla="*/ 45 h 75"/>
                <a:gd name="T60" fmla="*/ 3 w 75"/>
                <a:gd name="T61" fmla="*/ 52 h 75"/>
                <a:gd name="T62" fmla="*/ 6 w 75"/>
                <a:gd name="T63" fmla="*/ 59 h 75"/>
                <a:gd name="T64" fmla="*/ 10 w 75"/>
                <a:gd name="T65" fmla="*/ 64 h 75"/>
                <a:gd name="T66" fmla="*/ 17 w 75"/>
                <a:gd name="T67" fmla="*/ 69 h 75"/>
                <a:gd name="T68" fmla="*/ 23 w 75"/>
                <a:gd name="T69" fmla="*/ 73 h 75"/>
                <a:gd name="T70" fmla="*/ 29 w 75"/>
                <a:gd name="T71" fmla="*/ 75 h 75"/>
                <a:gd name="T72" fmla="*/ 38 w 75"/>
                <a:gd name="T73" fmla="*/ 75 h 75"/>
                <a:gd name="T74" fmla="*/ 38 w 75"/>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5">
                  <a:moveTo>
                    <a:pt x="38" y="75"/>
                  </a:moveTo>
                  <a:lnTo>
                    <a:pt x="38" y="75"/>
                  </a:lnTo>
                  <a:lnTo>
                    <a:pt x="45" y="75"/>
                  </a:lnTo>
                  <a:lnTo>
                    <a:pt x="53" y="73"/>
                  </a:lnTo>
                  <a:lnTo>
                    <a:pt x="59" y="69"/>
                  </a:lnTo>
                  <a:lnTo>
                    <a:pt x="64" y="64"/>
                  </a:lnTo>
                  <a:lnTo>
                    <a:pt x="68" y="59"/>
                  </a:lnTo>
                  <a:lnTo>
                    <a:pt x="73" y="52"/>
                  </a:lnTo>
                  <a:lnTo>
                    <a:pt x="75" y="45"/>
                  </a:lnTo>
                  <a:lnTo>
                    <a:pt x="75" y="38"/>
                  </a:lnTo>
                  <a:lnTo>
                    <a:pt x="75" y="38"/>
                  </a:lnTo>
                  <a:lnTo>
                    <a:pt x="75" y="30"/>
                  </a:lnTo>
                  <a:lnTo>
                    <a:pt x="73" y="23"/>
                  </a:lnTo>
                  <a:lnTo>
                    <a:pt x="68" y="17"/>
                  </a:lnTo>
                  <a:lnTo>
                    <a:pt x="64" y="11"/>
                  </a:lnTo>
                  <a:lnTo>
                    <a:pt x="59" y="6"/>
                  </a:lnTo>
                  <a:lnTo>
                    <a:pt x="53" y="3"/>
                  </a:lnTo>
                  <a:lnTo>
                    <a:pt x="45" y="1"/>
                  </a:lnTo>
                  <a:lnTo>
                    <a:pt x="38" y="0"/>
                  </a:lnTo>
                  <a:lnTo>
                    <a:pt x="38" y="0"/>
                  </a:lnTo>
                  <a:lnTo>
                    <a:pt x="29" y="1"/>
                  </a:lnTo>
                  <a:lnTo>
                    <a:pt x="23" y="3"/>
                  </a:lnTo>
                  <a:lnTo>
                    <a:pt x="17" y="6"/>
                  </a:lnTo>
                  <a:lnTo>
                    <a:pt x="10" y="11"/>
                  </a:lnTo>
                  <a:lnTo>
                    <a:pt x="6" y="17"/>
                  </a:lnTo>
                  <a:lnTo>
                    <a:pt x="3" y="23"/>
                  </a:lnTo>
                  <a:lnTo>
                    <a:pt x="1" y="30"/>
                  </a:lnTo>
                  <a:lnTo>
                    <a:pt x="0" y="38"/>
                  </a:lnTo>
                  <a:lnTo>
                    <a:pt x="0" y="38"/>
                  </a:lnTo>
                  <a:lnTo>
                    <a:pt x="1" y="45"/>
                  </a:lnTo>
                  <a:lnTo>
                    <a:pt x="3" y="52"/>
                  </a:lnTo>
                  <a:lnTo>
                    <a:pt x="6" y="59"/>
                  </a:lnTo>
                  <a:lnTo>
                    <a:pt x="10" y="64"/>
                  </a:lnTo>
                  <a:lnTo>
                    <a:pt x="17" y="69"/>
                  </a:lnTo>
                  <a:lnTo>
                    <a:pt x="23" y="73"/>
                  </a:lnTo>
                  <a:lnTo>
                    <a:pt x="29" y="75"/>
                  </a:lnTo>
                  <a:lnTo>
                    <a:pt x="38" y="75"/>
                  </a:lnTo>
                  <a:lnTo>
                    <a:pt x="3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58" name="Freeform 8">
              <a:extLst>
                <a:ext uri="{FF2B5EF4-FFF2-40B4-BE49-F238E27FC236}">
                  <a16:creationId xmlns:a16="http://schemas.microsoft.com/office/drawing/2014/main" id="{8515F146-AD04-33F7-52A7-641BB52BE419}"/>
                </a:ext>
              </a:extLst>
            </p:cNvPr>
            <p:cNvSpPr>
              <a:spLocks/>
            </p:cNvSpPr>
            <p:nvPr/>
          </p:nvSpPr>
          <p:spPr bwMode="auto">
            <a:xfrm>
              <a:off x="3627" y="2037"/>
              <a:ext cx="86" cy="327"/>
            </a:xfrm>
            <a:custGeom>
              <a:avLst/>
              <a:gdLst>
                <a:gd name="T0" fmla="*/ 44 w 86"/>
                <a:gd name="T1" fmla="*/ 33 h 327"/>
                <a:gd name="T2" fmla="*/ 22 w 86"/>
                <a:gd name="T3" fmla="*/ 0 h 327"/>
                <a:gd name="T4" fmla="*/ 0 w 86"/>
                <a:gd name="T5" fmla="*/ 0 h 327"/>
                <a:gd name="T6" fmla="*/ 9 w 86"/>
                <a:gd name="T7" fmla="*/ 154 h 327"/>
                <a:gd name="T8" fmla="*/ 9 w 86"/>
                <a:gd name="T9" fmla="*/ 154 h 327"/>
                <a:gd name="T10" fmla="*/ 9 w 86"/>
                <a:gd name="T11" fmla="*/ 313 h 327"/>
                <a:gd name="T12" fmla="*/ 9 w 86"/>
                <a:gd name="T13" fmla="*/ 313 h 327"/>
                <a:gd name="T14" fmla="*/ 10 w 86"/>
                <a:gd name="T15" fmla="*/ 319 h 327"/>
                <a:gd name="T16" fmla="*/ 13 w 86"/>
                <a:gd name="T17" fmla="*/ 323 h 327"/>
                <a:gd name="T18" fmla="*/ 18 w 86"/>
                <a:gd name="T19" fmla="*/ 326 h 327"/>
                <a:gd name="T20" fmla="*/ 24 w 86"/>
                <a:gd name="T21" fmla="*/ 327 h 327"/>
                <a:gd name="T22" fmla="*/ 24 w 86"/>
                <a:gd name="T23" fmla="*/ 327 h 327"/>
                <a:gd name="T24" fmla="*/ 29 w 86"/>
                <a:gd name="T25" fmla="*/ 326 h 327"/>
                <a:gd name="T26" fmla="*/ 33 w 86"/>
                <a:gd name="T27" fmla="*/ 323 h 327"/>
                <a:gd name="T28" fmla="*/ 36 w 86"/>
                <a:gd name="T29" fmla="*/ 319 h 327"/>
                <a:gd name="T30" fmla="*/ 37 w 86"/>
                <a:gd name="T31" fmla="*/ 313 h 327"/>
                <a:gd name="T32" fmla="*/ 37 w 86"/>
                <a:gd name="T33" fmla="*/ 154 h 327"/>
                <a:gd name="T34" fmla="*/ 49 w 86"/>
                <a:gd name="T35" fmla="*/ 154 h 327"/>
                <a:gd name="T36" fmla="*/ 49 w 86"/>
                <a:gd name="T37" fmla="*/ 313 h 327"/>
                <a:gd name="T38" fmla="*/ 49 w 86"/>
                <a:gd name="T39" fmla="*/ 313 h 327"/>
                <a:gd name="T40" fmla="*/ 50 w 86"/>
                <a:gd name="T41" fmla="*/ 319 h 327"/>
                <a:gd name="T42" fmla="*/ 53 w 86"/>
                <a:gd name="T43" fmla="*/ 323 h 327"/>
                <a:gd name="T44" fmla="*/ 58 w 86"/>
                <a:gd name="T45" fmla="*/ 326 h 327"/>
                <a:gd name="T46" fmla="*/ 63 w 86"/>
                <a:gd name="T47" fmla="*/ 327 h 327"/>
                <a:gd name="T48" fmla="*/ 63 w 86"/>
                <a:gd name="T49" fmla="*/ 327 h 327"/>
                <a:gd name="T50" fmla="*/ 69 w 86"/>
                <a:gd name="T51" fmla="*/ 326 h 327"/>
                <a:gd name="T52" fmla="*/ 73 w 86"/>
                <a:gd name="T53" fmla="*/ 323 h 327"/>
                <a:gd name="T54" fmla="*/ 77 w 86"/>
                <a:gd name="T55" fmla="*/ 319 h 327"/>
                <a:gd name="T56" fmla="*/ 78 w 86"/>
                <a:gd name="T57" fmla="*/ 313 h 327"/>
                <a:gd name="T58" fmla="*/ 78 w 86"/>
                <a:gd name="T59" fmla="*/ 154 h 327"/>
                <a:gd name="T60" fmla="*/ 78 w 86"/>
                <a:gd name="T61" fmla="*/ 154 h 327"/>
                <a:gd name="T62" fmla="*/ 86 w 86"/>
                <a:gd name="T63" fmla="*/ 0 h 327"/>
                <a:gd name="T64" fmla="*/ 65 w 86"/>
                <a:gd name="T65" fmla="*/ 0 h 327"/>
                <a:gd name="T66" fmla="*/ 44 w 86"/>
                <a:gd name="T67" fmla="*/ 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 h="327">
                  <a:moveTo>
                    <a:pt x="44" y="33"/>
                  </a:moveTo>
                  <a:lnTo>
                    <a:pt x="22" y="0"/>
                  </a:lnTo>
                  <a:lnTo>
                    <a:pt x="0" y="0"/>
                  </a:lnTo>
                  <a:lnTo>
                    <a:pt x="9" y="154"/>
                  </a:lnTo>
                  <a:lnTo>
                    <a:pt x="9" y="154"/>
                  </a:lnTo>
                  <a:lnTo>
                    <a:pt x="9" y="313"/>
                  </a:lnTo>
                  <a:lnTo>
                    <a:pt x="9" y="313"/>
                  </a:lnTo>
                  <a:lnTo>
                    <a:pt x="10" y="319"/>
                  </a:lnTo>
                  <a:lnTo>
                    <a:pt x="13" y="323"/>
                  </a:lnTo>
                  <a:lnTo>
                    <a:pt x="18" y="326"/>
                  </a:lnTo>
                  <a:lnTo>
                    <a:pt x="24" y="327"/>
                  </a:lnTo>
                  <a:lnTo>
                    <a:pt x="24" y="327"/>
                  </a:lnTo>
                  <a:lnTo>
                    <a:pt x="29" y="326"/>
                  </a:lnTo>
                  <a:lnTo>
                    <a:pt x="33" y="323"/>
                  </a:lnTo>
                  <a:lnTo>
                    <a:pt x="36" y="319"/>
                  </a:lnTo>
                  <a:lnTo>
                    <a:pt x="37" y="313"/>
                  </a:lnTo>
                  <a:lnTo>
                    <a:pt x="37" y="154"/>
                  </a:lnTo>
                  <a:lnTo>
                    <a:pt x="49" y="154"/>
                  </a:lnTo>
                  <a:lnTo>
                    <a:pt x="49" y="313"/>
                  </a:lnTo>
                  <a:lnTo>
                    <a:pt x="49" y="313"/>
                  </a:lnTo>
                  <a:lnTo>
                    <a:pt x="50" y="319"/>
                  </a:lnTo>
                  <a:lnTo>
                    <a:pt x="53" y="323"/>
                  </a:lnTo>
                  <a:lnTo>
                    <a:pt x="58" y="326"/>
                  </a:lnTo>
                  <a:lnTo>
                    <a:pt x="63" y="327"/>
                  </a:lnTo>
                  <a:lnTo>
                    <a:pt x="63" y="327"/>
                  </a:lnTo>
                  <a:lnTo>
                    <a:pt x="69" y="326"/>
                  </a:lnTo>
                  <a:lnTo>
                    <a:pt x="73" y="323"/>
                  </a:lnTo>
                  <a:lnTo>
                    <a:pt x="77" y="319"/>
                  </a:lnTo>
                  <a:lnTo>
                    <a:pt x="78" y="313"/>
                  </a:lnTo>
                  <a:lnTo>
                    <a:pt x="78" y="154"/>
                  </a:lnTo>
                  <a:lnTo>
                    <a:pt x="78" y="154"/>
                  </a:lnTo>
                  <a:lnTo>
                    <a:pt x="86" y="0"/>
                  </a:lnTo>
                  <a:lnTo>
                    <a:pt x="65" y="0"/>
                  </a:lnTo>
                  <a:lnTo>
                    <a:pt x="4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59" name="Freeform 9">
              <a:extLst>
                <a:ext uri="{FF2B5EF4-FFF2-40B4-BE49-F238E27FC236}">
                  <a16:creationId xmlns:a16="http://schemas.microsoft.com/office/drawing/2014/main" id="{78BA0EF4-65CA-4638-9886-FF861E738630}"/>
                </a:ext>
              </a:extLst>
            </p:cNvPr>
            <p:cNvSpPr>
              <a:spLocks/>
            </p:cNvSpPr>
            <p:nvPr/>
          </p:nvSpPr>
          <p:spPr bwMode="auto">
            <a:xfrm>
              <a:off x="3771" y="2037"/>
              <a:ext cx="25" cy="163"/>
            </a:xfrm>
            <a:custGeom>
              <a:avLst/>
              <a:gdLst>
                <a:gd name="T0" fmla="*/ 0 w 25"/>
                <a:gd name="T1" fmla="*/ 0 h 163"/>
                <a:gd name="T2" fmla="*/ 7 w 25"/>
                <a:gd name="T3" fmla="*/ 154 h 163"/>
                <a:gd name="T4" fmla="*/ 7 w 25"/>
                <a:gd name="T5" fmla="*/ 154 h 163"/>
                <a:gd name="T6" fmla="*/ 8 w 25"/>
                <a:gd name="T7" fmla="*/ 157 h 163"/>
                <a:gd name="T8" fmla="*/ 10 w 25"/>
                <a:gd name="T9" fmla="*/ 160 h 163"/>
                <a:gd name="T10" fmla="*/ 12 w 25"/>
                <a:gd name="T11" fmla="*/ 161 h 163"/>
                <a:gd name="T12" fmla="*/ 16 w 25"/>
                <a:gd name="T13" fmla="*/ 163 h 163"/>
                <a:gd name="T14" fmla="*/ 16 w 25"/>
                <a:gd name="T15" fmla="*/ 163 h 163"/>
                <a:gd name="T16" fmla="*/ 19 w 25"/>
                <a:gd name="T17" fmla="*/ 161 h 163"/>
                <a:gd name="T18" fmla="*/ 22 w 25"/>
                <a:gd name="T19" fmla="*/ 160 h 163"/>
                <a:gd name="T20" fmla="*/ 25 w 25"/>
                <a:gd name="T21" fmla="*/ 157 h 163"/>
                <a:gd name="T22" fmla="*/ 25 w 25"/>
                <a:gd name="T23" fmla="*/ 154 h 163"/>
                <a:gd name="T24" fmla="*/ 16 w 25"/>
                <a:gd name="T25" fmla="*/ 0 h 163"/>
                <a:gd name="T26" fmla="*/ 0 w 25"/>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63">
                  <a:moveTo>
                    <a:pt x="0" y="0"/>
                  </a:moveTo>
                  <a:lnTo>
                    <a:pt x="7" y="154"/>
                  </a:lnTo>
                  <a:lnTo>
                    <a:pt x="7" y="154"/>
                  </a:lnTo>
                  <a:lnTo>
                    <a:pt x="8" y="157"/>
                  </a:lnTo>
                  <a:lnTo>
                    <a:pt x="10" y="160"/>
                  </a:lnTo>
                  <a:lnTo>
                    <a:pt x="12" y="161"/>
                  </a:lnTo>
                  <a:lnTo>
                    <a:pt x="16" y="163"/>
                  </a:lnTo>
                  <a:lnTo>
                    <a:pt x="16" y="163"/>
                  </a:lnTo>
                  <a:lnTo>
                    <a:pt x="19" y="161"/>
                  </a:lnTo>
                  <a:lnTo>
                    <a:pt x="22" y="160"/>
                  </a:lnTo>
                  <a:lnTo>
                    <a:pt x="25" y="157"/>
                  </a:lnTo>
                  <a:lnTo>
                    <a:pt x="25" y="154"/>
                  </a:lnTo>
                  <a:lnTo>
                    <a:pt x="1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60" name="Freeform 10">
              <a:extLst>
                <a:ext uri="{FF2B5EF4-FFF2-40B4-BE49-F238E27FC236}">
                  <a16:creationId xmlns:a16="http://schemas.microsoft.com/office/drawing/2014/main" id="{08E9FB18-87A0-EED8-396C-83E689F311DF}"/>
                </a:ext>
              </a:extLst>
            </p:cNvPr>
            <p:cNvSpPr>
              <a:spLocks/>
            </p:cNvSpPr>
            <p:nvPr/>
          </p:nvSpPr>
          <p:spPr bwMode="auto">
            <a:xfrm>
              <a:off x="3886" y="2037"/>
              <a:ext cx="24" cy="163"/>
            </a:xfrm>
            <a:custGeom>
              <a:avLst/>
              <a:gdLst>
                <a:gd name="T0" fmla="*/ 0 w 24"/>
                <a:gd name="T1" fmla="*/ 154 h 163"/>
                <a:gd name="T2" fmla="*/ 0 w 24"/>
                <a:gd name="T3" fmla="*/ 154 h 163"/>
                <a:gd name="T4" fmla="*/ 0 w 24"/>
                <a:gd name="T5" fmla="*/ 157 h 163"/>
                <a:gd name="T6" fmla="*/ 3 w 24"/>
                <a:gd name="T7" fmla="*/ 160 h 163"/>
                <a:gd name="T8" fmla="*/ 6 w 24"/>
                <a:gd name="T9" fmla="*/ 161 h 163"/>
                <a:gd name="T10" fmla="*/ 9 w 24"/>
                <a:gd name="T11" fmla="*/ 163 h 163"/>
                <a:gd name="T12" fmla="*/ 9 w 24"/>
                <a:gd name="T13" fmla="*/ 163 h 163"/>
                <a:gd name="T14" fmla="*/ 12 w 24"/>
                <a:gd name="T15" fmla="*/ 161 h 163"/>
                <a:gd name="T16" fmla="*/ 15 w 24"/>
                <a:gd name="T17" fmla="*/ 160 h 163"/>
                <a:gd name="T18" fmla="*/ 17 w 24"/>
                <a:gd name="T19" fmla="*/ 157 h 163"/>
                <a:gd name="T20" fmla="*/ 18 w 24"/>
                <a:gd name="T21" fmla="*/ 154 h 163"/>
                <a:gd name="T22" fmla="*/ 24 w 24"/>
                <a:gd name="T23" fmla="*/ 0 h 163"/>
                <a:gd name="T24" fmla="*/ 9 w 24"/>
                <a:gd name="T25" fmla="*/ 0 h 163"/>
                <a:gd name="T26" fmla="*/ 0 w 24"/>
                <a:gd name="T27" fmla="*/ 154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63">
                  <a:moveTo>
                    <a:pt x="0" y="154"/>
                  </a:moveTo>
                  <a:lnTo>
                    <a:pt x="0" y="154"/>
                  </a:lnTo>
                  <a:lnTo>
                    <a:pt x="0" y="157"/>
                  </a:lnTo>
                  <a:lnTo>
                    <a:pt x="3" y="160"/>
                  </a:lnTo>
                  <a:lnTo>
                    <a:pt x="6" y="161"/>
                  </a:lnTo>
                  <a:lnTo>
                    <a:pt x="9" y="163"/>
                  </a:lnTo>
                  <a:lnTo>
                    <a:pt x="9" y="163"/>
                  </a:lnTo>
                  <a:lnTo>
                    <a:pt x="12" y="161"/>
                  </a:lnTo>
                  <a:lnTo>
                    <a:pt x="15" y="160"/>
                  </a:lnTo>
                  <a:lnTo>
                    <a:pt x="17" y="157"/>
                  </a:lnTo>
                  <a:lnTo>
                    <a:pt x="18" y="154"/>
                  </a:lnTo>
                  <a:lnTo>
                    <a:pt x="24" y="0"/>
                  </a:lnTo>
                  <a:lnTo>
                    <a:pt x="9" y="0"/>
                  </a:lnTo>
                  <a:lnTo>
                    <a:pt x="0"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61" name="Freeform 11">
              <a:extLst>
                <a:ext uri="{FF2B5EF4-FFF2-40B4-BE49-F238E27FC236}">
                  <a16:creationId xmlns:a16="http://schemas.microsoft.com/office/drawing/2014/main" id="{8AA04EF9-1AA6-8471-36E7-90D12D138BC4}"/>
                </a:ext>
              </a:extLst>
            </p:cNvPr>
            <p:cNvSpPr>
              <a:spLocks/>
            </p:cNvSpPr>
            <p:nvPr/>
          </p:nvSpPr>
          <p:spPr bwMode="auto">
            <a:xfrm>
              <a:off x="3803" y="1957"/>
              <a:ext cx="76" cy="75"/>
            </a:xfrm>
            <a:custGeom>
              <a:avLst/>
              <a:gdLst>
                <a:gd name="T0" fmla="*/ 38 w 76"/>
                <a:gd name="T1" fmla="*/ 75 h 75"/>
                <a:gd name="T2" fmla="*/ 38 w 76"/>
                <a:gd name="T3" fmla="*/ 75 h 75"/>
                <a:gd name="T4" fmla="*/ 45 w 76"/>
                <a:gd name="T5" fmla="*/ 75 h 75"/>
                <a:gd name="T6" fmla="*/ 53 w 76"/>
                <a:gd name="T7" fmla="*/ 73 h 75"/>
                <a:gd name="T8" fmla="*/ 59 w 76"/>
                <a:gd name="T9" fmla="*/ 69 h 75"/>
                <a:gd name="T10" fmla="*/ 64 w 76"/>
                <a:gd name="T11" fmla="*/ 64 h 75"/>
                <a:gd name="T12" fmla="*/ 69 w 76"/>
                <a:gd name="T13" fmla="*/ 59 h 75"/>
                <a:gd name="T14" fmla="*/ 73 w 76"/>
                <a:gd name="T15" fmla="*/ 52 h 75"/>
                <a:gd name="T16" fmla="*/ 75 w 76"/>
                <a:gd name="T17" fmla="*/ 45 h 75"/>
                <a:gd name="T18" fmla="*/ 76 w 76"/>
                <a:gd name="T19" fmla="*/ 38 h 75"/>
                <a:gd name="T20" fmla="*/ 76 w 76"/>
                <a:gd name="T21" fmla="*/ 38 h 75"/>
                <a:gd name="T22" fmla="*/ 75 w 76"/>
                <a:gd name="T23" fmla="*/ 30 h 75"/>
                <a:gd name="T24" fmla="*/ 73 w 76"/>
                <a:gd name="T25" fmla="*/ 23 h 75"/>
                <a:gd name="T26" fmla="*/ 69 w 76"/>
                <a:gd name="T27" fmla="*/ 17 h 75"/>
                <a:gd name="T28" fmla="*/ 64 w 76"/>
                <a:gd name="T29" fmla="*/ 11 h 75"/>
                <a:gd name="T30" fmla="*/ 59 w 76"/>
                <a:gd name="T31" fmla="*/ 6 h 75"/>
                <a:gd name="T32" fmla="*/ 53 w 76"/>
                <a:gd name="T33" fmla="*/ 3 h 75"/>
                <a:gd name="T34" fmla="*/ 45 w 76"/>
                <a:gd name="T35" fmla="*/ 1 h 75"/>
                <a:gd name="T36" fmla="*/ 38 w 76"/>
                <a:gd name="T37" fmla="*/ 0 h 75"/>
                <a:gd name="T38" fmla="*/ 38 w 76"/>
                <a:gd name="T39" fmla="*/ 0 h 75"/>
                <a:gd name="T40" fmla="*/ 31 w 76"/>
                <a:gd name="T41" fmla="*/ 1 h 75"/>
                <a:gd name="T42" fmla="*/ 23 w 76"/>
                <a:gd name="T43" fmla="*/ 3 h 75"/>
                <a:gd name="T44" fmla="*/ 17 w 76"/>
                <a:gd name="T45" fmla="*/ 6 h 75"/>
                <a:gd name="T46" fmla="*/ 11 w 76"/>
                <a:gd name="T47" fmla="*/ 11 h 75"/>
                <a:gd name="T48" fmla="*/ 6 w 76"/>
                <a:gd name="T49" fmla="*/ 17 h 75"/>
                <a:gd name="T50" fmla="*/ 3 w 76"/>
                <a:gd name="T51" fmla="*/ 23 h 75"/>
                <a:gd name="T52" fmla="*/ 1 w 76"/>
                <a:gd name="T53" fmla="*/ 30 h 75"/>
                <a:gd name="T54" fmla="*/ 0 w 76"/>
                <a:gd name="T55" fmla="*/ 38 h 75"/>
                <a:gd name="T56" fmla="*/ 0 w 76"/>
                <a:gd name="T57" fmla="*/ 38 h 75"/>
                <a:gd name="T58" fmla="*/ 1 w 76"/>
                <a:gd name="T59" fmla="*/ 45 h 75"/>
                <a:gd name="T60" fmla="*/ 3 w 76"/>
                <a:gd name="T61" fmla="*/ 52 h 75"/>
                <a:gd name="T62" fmla="*/ 6 w 76"/>
                <a:gd name="T63" fmla="*/ 59 h 75"/>
                <a:gd name="T64" fmla="*/ 11 w 76"/>
                <a:gd name="T65" fmla="*/ 64 h 75"/>
                <a:gd name="T66" fmla="*/ 17 w 76"/>
                <a:gd name="T67" fmla="*/ 69 h 75"/>
                <a:gd name="T68" fmla="*/ 23 w 76"/>
                <a:gd name="T69" fmla="*/ 73 h 75"/>
                <a:gd name="T70" fmla="*/ 31 w 76"/>
                <a:gd name="T71" fmla="*/ 75 h 75"/>
                <a:gd name="T72" fmla="*/ 38 w 76"/>
                <a:gd name="T73" fmla="*/ 75 h 75"/>
                <a:gd name="T74" fmla="*/ 38 w 76"/>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 h="75">
                  <a:moveTo>
                    <a:pt x="38" y="75"/>
                  </a:moveTo>
                  <a:lnTo>
                    <a:pt x="38" y="75"/>
                  </a:lnTo>
                  <a:lnTo>
                    <a:pt x="45" y="75"/>
                  </a:lnTo>
                  <a:lnTo>
                    <a:pt x="53" y="73"/>
                  </a:lnTo>
                  <a:lnTo>
                    <a:pt x="59" y="69"/>
                  </a:lnTo>
                  <a:lnTo>
                    <a:pt x="64" y="64"/>
                  </a:lnTo>
                  <a:lnTo>
                    <a:pt x="69" y="59"/>
                  </a:lnTo>
                  <a:lnTo>
                    <a:pt x="73" y="52"/>
                  </a:lnTo>
                  <a:lnTo>
                    <a:pt x="75" y="45"/>
                  </a:lnTo>
                  <a:lnTo>
                    <a:pt x="76" y="38"/>
                  </a:lnTo>
                  <a:lnTo>
                    <a:pt x="76" y="38"/>
                  </a:lnTo>
                  <a:lnTo>
                    <a:pt x="75" y="30"/>
                  </a:lnTo>
                  <a:lnTo>
                    <a:pt x="73" y="23"/>
                  </a:lnTo>
                  <a:lnTo>
                    <a:pt x="69" y="17"/>
                  </a:lnTo>
                  <a:lnTo>
                    <a:pt x="64" y="11"/>
                  </a:lnTo>
                  <a:lnTo>
                    <a:pt x="59" y="6"/>
                  </a:lnTo>
                  <a:lnTo>
                    <a:pt x="53" y="3"/>
                  </a:lnTo>
                  <a:lnTo>
                    <a:pt x="45" y="1"/>
                  </a:lnTo>
                  <a:lnTo>
                    <a:pt x="38" y="0"/>
                  </a:lnTo>
                  <a:lnTo>
                    <a:pt x="38" y="0"/>
                  </a:lnTo>
                  <a:lnTo>
                    <a:pt x="31" y="1"/>
                  </a:lnTo>
                  <a:lnTo>
                    <a:pt x="23" y="3"/>
                  </a:lnTo>
                  <a:lnTo>
                    <a:pt x="17" y="6"/>
                  </a:lnTo>
                  <a:lnTo>
                    <a:pt x="11" y="11"/>
                  </a:lnTo>
                  <a:lnTo>
                    <a:pt x="6" y="17"/>
                  </a:lnTo>
                  <a:lnTo>
                    <a:pt x="3" y="23"/>
                  </a:lnTo>
                  <a:lnTo>
                    <a:pt x="1" y="30"/>
                  </a:lnTo>
                  <a:lnTo>
                    <a:pt x="0" y="38"/>
                  </a:lnTo>
                  <a:lnTo>
                    <a:pt x="0" y="38"/>
                  </a:lnTo>
                  <a:lnTo>
                    <a:pt x="1" y="45"/>
                  </a:lnTo>
                  <a:lnTo>
                    <a:pt x="3" y="52"/>
                  </a:lnTo>
                  <a:lnTo>
                    <a:pt x="6" y="59"/>
                  </a:lnTo>
                  <a:lnTo>
                    <a:pt x="11" y="64"/>
                  </a:lnTo>
                  <a:lnTo>
                    <a:pt x="17" y="69"/>
                  </a:lnTo>
                  <a:lnTo>
                    <a:pt x="23" y="73"/>
                  </a:lnTo>
                  <a:lnTo>
                    <a:pt x="31" y="75"/>
                  </a:lnTo>
                  <a:lnTo>
                    <a:pt x="38" y="75"/>
                  </a:lnTo>
                  <a:lnTo>
                    <a:pt x="3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62" name="Freeform 12">
              <a:extLst>
                <a:ext uri="{FF2B5EF4-FFF2-40B4-BE49-F238E27FC236}">
                  <a16:creationId xmlns:a16="http://schemas.microsoft.com/office/drawing/2014/main" id="{7C264F8C-B1C1-3935-C9A0-45B0D47AED8F}"/>
                </a:ext>
              </a:extLst>
            </p:cNvPr>
            <p:cNvSpPr>
              <a:spLocks/>
            </p:cNvSpPr>
            <p:nvPr/>
          </p:nvSpPr>
          <p:spPr bwMode="auto">
            <a:xfrm>
              <a:off x="3798" y="2037"/>
              <a:ext cx="86" cy="327"/>
            </a:xfrm>
            <a:custGeom>
              <a:avLst/>
              <a:gdLst>
                <a:gd name="T0" fmla="*/ 43 w 86"/>
                <a:gd name="T1" fmla="*/ 33 h 327"/>
                <a:gd name="T2" fmla="*/ 21 w 86"/>
                <a:gd name="T3" fmla="*/ 0 h 327"/>
                <a:gd name="T4" fmla="*/ 0 w 86"/>
                <a:gd name="T5" fmla="*/ 0 h 327"/>
                <a:gd name="T6" fmla="*/ 8 w 86"/>
                <a:gd name="T7" fmla="*/ 154 h 327"/>
                <a:gd name="T8" fmla="*/ 8 w 86"/>
                <a:gd name="T9" fmla="*/ 154 h 327"/>
                <a:gd name="T10" fmla="*/ 8 w 86"/>
                <a:gd name="T11" fmla="*/ 313 h 327"/>
                <a:gd name="T12" fmla="*/ 8 w 86"/>
                <a:gd name="T13" fmla="*/ 313 h 327"/>
                <a:gd name="T14" fmla="*/ 9 w 86"/>
                <a:gd name="T15" fmla="*/ 319 h 327"/>
                <a:gd name="T16" fmla="*/ 12 w 86"/>
                <a:gd name="T17" fmla="*/ 323 h 327"/>
                <a:gd name="T18" fmla="*/ 18 w 86"/>
                <a:gd name="T19" fmla="*/ 326 h 327"/>
                <a:gd name="T20" fmla="*/ 23 w 86"/>
                <a:gd name="T21" fmla="*/ 327 h 327"/>
                <a:gd name="T22" fmla="*/ 23 w 86"/>
                <a:gd name="T23" fmla="*/ 327 h 327"/>
                <a:gd name="T24" fmla="*/ 28 w 86"/>
                <a:gd name="T25" fmla="*/ 326 h 327"/>
                <a:gd name="T26" fmla="*/ 33 w 86"/>
                <a:gd name="T27" fmla="*/ 323 h 327"/>
                <a:gd name="T28" fmla="*/ 37 w 86"/>
                <a:gd name="T29" fmla="*/ 319 h 327"/>
                <a:gd name="T30" fmla="*/ 38 w 86"/>
                <a:gd name="T31" fmla="*/ 313 h 327"/>
                <a:gd name="T32" fmla="*/ 38 w 86"/>
                <a:gd name="T33" fmla="*/ 154 h 327"/>
                <a:gd name="T34" fmla="*/ 48 w 86"/>
                <a:gd name="T35" fmla="*/ 154 h 327"/>
                <a:gd name="T36" fmla="*/ 48 w 86"/>
                <a:gd name="T37" fmla="*/ 313 h 327"/>
                <a:gd name="T38" fmla="*/ 48 w 86"/>
                <a:gd name="T39" fmla="*/ 313 h 327"/>
                <a:gd name="T40" fmla="*/ 49 w 86"/>
                <a:gd name="T41" fmla="*/ 319 h 327"/>
                <a:gd name="T42" fmla="*/ 53 w 86"/>
                <a:gd name="T43" fmla="*/ 323 h 327"/>
                <a:gd name="T44" fmla="*/ 57 w 86"/>
                <a:gd name="T45" fmla="*/ 326 h 327"/>
                <a:gd name="T46" fmla="*/ 63 w 86"/>
                <a:gd name="T47" fmla="*/ 327 h 327"/>
                <a:gd name="T48" fmla="*/ 63 w 86"/>
                <a:gd name="T49" fmla="*/ 327 h 327"/>
                <a:gd name="T50" fmla="*/ 68 w 86"/>
                <a:gd name="T51" fmla="*/ 326 h 327"/>
                <a:gd name="T52" fmla="*/ 73 w 86"/>
                <a:gd name="T53" fmla="*/ 323 h 327"/>
                <a:gd name="T54" fmla="*/ 76 w 86"/>
                <a:gd name="T55" fmla="*/ 319 h 327"/>
                <a:gd name="T56" fmla="*/ 77 w 86"/>
                <a:gd name="T57" fmla="*/ 313 h 327"/>
                <a:gd name="T58" fmla="*/ 77 w 86"/>
                <a:gd name="T59" fmla="*/ 154 h 327"/>
                <a:gd name="T60" fmla="*/ 77 w 86"/>
                <a:gd name="T61" fmla="*/ 154 h 327"/>
                <a:gd name="T62" fmla="*/ 86 w 86"/>
                <a:gd name="T63" fmla="*/ 0 h 327"/>
                <a:gd name="T64" fmla="*/ 64 w 86"/>
                <a:gd name="T65" fmla="*/ 0 h 327"/>
                <a:gd name="T66" fmla="*/ 43 w 86"/>
                <a:gd name="T67" fmla="*/ 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 h="327">
                  <a:moveTo>
                    <a:pt x="43" y="33"/>
                  </a:moveTo>
                  <a:lnTo>
                    <a:pt x="21" y="0"/>
                  </a:lnTo>
                  <a:lnTo>
                    <a:pt x="0" y="0"/>
                  </a:lnTo>
                  <a:lnTo>
                    <a:pt x="8" y="154"/>
                  </a:lnTo>
                  <a:lnTo>
                    <a:pt x="8" y="154"/>
                  </a:lnTo>
                  <a:lnTo>
                    <a:pt x="8" y="313"/>
                  </a:lnTo>
                  <a:lnTo>
                    <a:pt x="8" y="313"/>
                  </a:lnTo>
                  <a:lnTo>
                    <a:pt x="9" y="319"/>
                  </a:lnTo>
                  <a:lnTo>
                    <a:pt x="12" y="323"/>
                  </a:lnTo>
                  <a:lnTo>
                    <a:pt x="18" y="326"/>
                  </a:lnTo>
                  <a:lnTo>
                    <a:pt x="23" y="327"/>
                  </a:lnTo>
                  <a:lnTo>
                    <a:pt x="23" y="327"/>
                  </a:lnTo>
                  <a:lnTo>
                    <a:pt x="28" y="326"/>
                  </a:lnTo>
                  <a:lnTo>
                    <a:pt x="33" y="323"/>
                  </a:lnTo>
                  <a:lnTo>
                    <a:pt x="37" y="319"/>
                  </a:lnTo>
                  <a:lnTo>
                    <a:pt x="38" y="313"/>
                  </a:lnTo>
                  <a:lnTo>
                    <a:pt x="38" y="154"/>
                  </a:lnTo>
                  <a:lnTo>
                    <a:pt x="48" y="154"/>
                  </a:lnTo>
                  <a:lnTo>
                    <a:pt x="48" y="313"/>
                  </a:lnTo>
                  <a:lnTo>
                    <a:pt x="48" y="313"/>
                  </a:lnTo>
                  <a:lnTo>
                    <a:pt x="49" y="319"/>
                  </a:lnTo>
                  <a:lnTo>
                    <a:pt x="53" y="323"/>
                  </a:lnTo>
                  <a:lnTo>
                    <a:pt x="57" y="326"/>
                  </a:lnTo>
                  <a:lnTo>
                    <a:pt x="63" y="327"/>
                  </a:lnTo>
                  <a:lnTo>
                    <a:pt x="63" y="327"/>
                  </a:lnTo>
                  <a:lnTo>
                    <a:pt x="68" y="326"/>
                  </a:lnTo>
                  <a:lnTo>
                    <a:pt x="73" y="323"/>
                  </a:lnTo>
                  <a:lnTo>
                    <a:pt x="76" y="319"/>
                  </a:lnTo>
                  <a:lnTo>
                    <a:pt x="77" y="313"/>
                  </a:lnTo>
                  <a:lnTo>
                    <a:pt x="77" y="154"/>
                  </a:lnTo>
                  <a:lnTo>
                    <a:pt x="77" y="154"/>
                  </a:lnTo>
                  <a:lnTo>
                    <a:pt x="86" y="0"/>
                  </a:lnTo>
                  <a:lnTo>
                    <a:pt x="64" y="0"/>
                  </a:lnTo>
                  <a:lnTo>
                    <a:pt x="43"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63" name="Freeform 13">
              <a:extLst>
                <a:ext uri="{FF2B5EF4-FFF2-40B4-BE49-F238E27FC236}">
                  <a16:creationId xmlns:a16="http://schemas.microsoft.com/office/drawing/2014/main" id="{BEECBA22-584C-56CA-41EC-768CFF46D234}"/>
                </a:ext>
              </a:extLst>
            </p:cNvPr>
            <p:cNvSpPr>
              <a:spLocks/>
            </p:cNvSpPr>
            <p:nvPr/>
          </p:nvSpPr>
          <p:spPr bwMode="auto">
            <a:xfrm>
              <a:off x="3941" y="2037"/>
              <a:ext cx="25" cy="163"/>
            </a:xfrm>
            <a:custGeom>
              <a:avLst/>
              <a:gdLst>
                <a:gd name="T0" fmla="*/ 0 w 25"/>
                <a:gd name="T1" fmla="*/ 0 h 163"/>
                <a:gd name="T2" fmla="*/ 7 w 25"/>
                <a:gd name="T3" fmla="*/ 154 h 163"/>
                <a:gd name="T4" fmla="*/ 7 w 25"/>
                <a:gd name="T5" fmla="*/ 154 h 163"/>
                <a:gd name="T6" fmla="*/ 8 w 25"/>
                <a:gd name="T7" fmla="*/ 157 h 163"/>
                <a:gd name="T8" fmla="*/ 10 w 25"/>
                <a:gd name="T9" fmla="*/ 160 h 163"/>
                <a:gd name="T10" fmla="*/ 13 w 25"/>
                <a:gd name="T11" fmla="*/ 161 h 163"/>
                <a:gd name="T12" fmla="*/ 16 w 25"/>
                <a:gd name="T13" fmla="*/ 163 h 163"/>
                <a:gd name="T14" fmla="*/ 16 w 25"/>
                <a:gd name="T15" fmla="*/ 163 h 163"/>
                <a:gd name="T16" fmla="*/ 19 w 25"/>
                <a:gd name="T17" fmla="*/ 161 h 163"/>
                <a:gd name="T18" fmla="*/ 23 w 25"/>
                <a:gd name="T19" fmla="*/ 160 h 163"/>
                <a:gd name="T20" fmla="*/ 25 w 25"/>
                <a:gd name="T21" fmla="*/ 157 h 163"/>
                <a:gd name="T22" fmla="*/ 25 w 25"/>
                <a:gd name="T23" fmla="*/ 154 h 163"/>
                <a:gd name="T24" fmla="*/ 16 w 25"/>
                <a:gd name="T25" fmla="*/ 0 h 163"/>
                <a:gd name="T26" fmla="*/ 0 w 25"/>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63">
                  <a:moveTo>
                    <a:pt x="0" y="0"/>
                  </a:moveTo>
                  <a:lnTo>
                    <a:pt x="7" y="154"/>
                  </a:lnTo>
                  <a:lnTo>
                    <a:pt x="7" y="154"/>
                  </a:lnTo>
                  <a:lnTo>
                    <a:pt x="8" y="157"/>
                  </a:lnTo>
                  <a:lnTo>
                    <a:pt x="10" y="160"/>
                  </a:lnTo>
                  <a:lnTo>
                    <a:pt x="13" y="161"/>
                  </a:lnTo>
                  <a:lnTo>
                    <a:pt x="16" y="163"/>
                  </a:lnTo>
                  <a:lnTo>
                    <a:pt x="16" y="163"/>
                  </a:lnTo>
                  <a:lnTo>
                    <a:pt x="19" y="161"/>
                  </a:lnTo>
                  <a:lnTo>
                    <a:pt x="23" y="160"/>
                  </a:lnTo>
                  <a:lnTo>
                    <a:pt x="25" y="157"/>
                  </a:lnTo>
                  <a:lnTo>
                    <a:pt x="25" y="154"/>
                  </a:lnTo>
                  <a:lnTo>
                    <a:pt x="1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64" name="Freeform 14">
              <a:extLst>
                <a:ext uri="{FF2B5EF4-FFF2-40B4-BE49-F238E27FC236}">
                  <a16:creationId xmlns:a16="http://schemas.microsoft.com/office/drawing/2014/main" id="{2F37FF30-91FA-AA7E-7C34-84F6E99E31D1}"/>
                </a:ext>
              </a:extLst>
            </p:cNvPr>
            <p:cNvSpPr>
              <a:spLocks/>
            </p:cNvSpPr>
            <p:nvPr/>
          </p:nvSpPr>
          <p:spPr bwMode="auto">
            <a:xfrm>
              <a:off x="4057" y="2037"/>
              <a:ext cx="24" cy="163"/>
            </a:xfrm>
            <a:custGeom>
              <a:avLst/>
              <a:gdLst>
                <a:gd name="T0" fmla="*/ 8 w 24"/>
                <a:gd name="T1" fmla="*/ 0 h 163"/>
                <a:gd name="T2" fmla="*/ 0 w 24"/>
                <a:gd name="T3" fmla="*/ 154 h 163"/>
                <a:gd name="T4" fmla="*/ 0 w 24"/>
                <a:gd name="T5" fmla="*/ 154 h 163"/>
                <a:gd name="T6" fmla="*/ 0 w 24"/>
                <a:gd name="T7" fmla="*/ 157 h 163"/>
                <a:gd name="T8" fmla="*/ 2 w 24"/>
                <a:gd name="T9" fmla="*/ 160 h 163"/>
                <a:gd name="T10" fmla="*/ 5 w 24"/>
                <a:gd name="T11" fmla="*/ 161 h 163"/>
                <a:gd name="T12" fmla="*/ 8 w 24"/>
                <a:gd name="T13" fmla="*/ 163 h 163"/>
                <a:gd name="T14" fmla="*/ 8 w 24"/>
                <a:gd name="T15" fmla="*/ 163 h 163"/>
                <a:gd name="T16" fmla="*/ 12 w 24"/>
                <a:gd name="T17" fmla="*/ 161 h 163"/>
                <a:gd name="T18" fmla="*/ 14 w 24"/>
                <a:gd name="T19" fmla="*/ 160 h 163"/>
                <a:gd name="T20" fmla="*/ 17 w 24"/>
                <a:gd name="T21" fmla="*/ 157 h 163"/>
                <a:gd name="T22" fmla="*/ 18 w 24"/>
                <a:gd name="T23" fmla="*/ 154 h 163"/>
                <a:gd name="T24" fmla="*/ 24 w 24"/>
                <a:gd name="T25" fmla="*/ 0 h 163"/>
                <a:gd name="T26" fmla="*/ 8 w 24"/>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63">
                  <a:moveTo>
                    <a:pt x="8" y="0"/>
                  </a:moveTo>
                  <a:lnTo>
                    <a:pt x="0" y="154"/>
                  </a:lnTo>
                  <a:lnTo>
                    <a:pt x="0" y="154"/>
                  </a:lnTo>
                  <a:lnTo>
                    <a:pt x="0" y="157"/>
                  </a:lnTo>
                  <a:lnTo>
                    <a:pt x="2" y="160"/>
                  </a:lnTo>
                  <a:lnTo>
                    <a:pt x="5" y="161"/>
                  </a:lnTo>
                  <a:lnTo>
                    <a:pt x="8" y="163"/>
                  </a:lnTo>
                  <a:lnTo>
                    <a:pt x="8" y="163"/>
                  </a:lnTo>
                  <a:lnTo>
                    <a:pt x="12" y="161"/>
                  </a:lnTo>
                  <a:lnTo>
                    <a:pt x="14" y="160"/>
                  </a:lnTo>
                  <a:lnTo>
                    <a:pt x="17" y="157"/>
                  </a:lnTo>
                  <a:lnTo>
                    <a:pt x="18" y="154"/>
                  </a:lnTo>
                  <a:lnTo>
                    <a:pt x="24"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65" name="Freeform 15">
              <a:extLst>
                <a:ext uri="{FF2B5EF4-FFF2-40B4-BE49-F238E27FC236}">
                  <a16:creationId xmlns:a16="http://schemas.microsoft.com/office/drawing/2014/main" id="{AEB5F87A-0FE5-7D63-138B-4C9334D9CDE0}"/>
                </a:ext>
              </a:extLst>
            </p:cNvPr>
            <p:cNvSpPr>
              <a:spLocks/>
            </p:cNvSpPr>
            <p:nvPr/>
          </p:nvSpPr>
          <p:spPr bwMode="auto">
            <a:xfrm>
              <a:off x="3973" y="1957"/>
              <a:ext cx="76" cy="75"/>
            </a:xfrm>
            <a:custGeom>
              <a:avLst/>
              <a:gdLst>
                <a:gd name="T0" fmla="*/ 38 w 76"/>
                <a:gd name="T1" fmla="*/ 75 h 75"/>
                <a:gd name="T2" fmla="*/ 38 w 76"/>
                <a:gd name="T3" fmla="*/ 75 h 75"/>
                <a:gd name="T4" fmla="*/ 46 w 76"/>
                <a:gd name="T5" fmla="*/ 75 h 75"/>
                <a:gd name="T6" fmla="*/ 53 w 76"/>
                <a:gd name="T7" fmla="*/ 73 h 75"/>
                <a:gd name="T8" fmla="*/ 59 w 76"/>
                <a:gd name="T9" fmla="*/ 69 h 75"/>
                <a:gd name="T10" fmla="*/ 65 w 76"/>
                <a:gd name="T11" fmla="*/ 64 h 75"/>
                <a:gd name="T12" fmla="*/ 70 w 76"/>
                <a:gd name="T13" fmla="*/ 59 h 75"/>
                <a:gd name="T14" fmla="*/ 73 w 76"/>
                <a:gd name="T15" fmla="*/ 52 h 75"/>
                <a:gd name="T16" fmla="*/ 75 w 76"/>
                <a:gd name="T17" fmla="*/ 45 h 75"/>
                <a:gd name="T18" fmla="*/ 76 w 76"/>
                <a:gd name="T19" fmla="*/ 38 h 75"/>
                <a:gd name="T20" fmla="*/ 76 w 76"/>
                <a:gd name="T21" fmla="*/ 38 h 75"/>
                <a:gd name="T22" fmla="*/ 75 w 76"/>
                <a:gd name="T23" fmla="*/ 30 h 75"/>
                <a:gd name="T24" fmla="*/ 73 w 76"/>
                <a:gd name="T25" fmla="*/ 23 h 75"/>
                <a:gd name="T26" fmla="*/ 70 w 76"/>
                <a:gd name="T27" fmla="*/ 17 h 75"/>
                <a:gd name="T28" fmla="*/ 65 w 76"/>
                <a:gd name="T29" fmla="*/ 11 h 75"/>
                <a:gd name="T30" fmla="*/ 59 w 76"/>
                <a:gd name="T31" fmla="*/ 6 h 75"/>
                <a:gd name="T32" fmla="*/ 53 w 76"/>
                <a:gd name="T33" fmla="*/ 3 h 75"/>
                <a:gd name="T34" fmla="*/ 46 w 76"/>
                <a:gd name="T35" fmla="*/ 1 h 75"/>
                <a:gd name="T36" fmla="*/ 38 w 76"/>
                <a:gd name="T37" fmla="*/ 0 h 75"/>
                <a:gd name="T38" fmla="*/ 38 w 76"/>
                <a:gd name="T39" fmla="*/ 0 h 75"/>
                <a:gd name="T40" fmla="*/ 31 w 76"/>
                <a:gd name="T41" fmla="*/ 1 h 75"/>
                <a:gd name="T42" fmla="*/ 23 w 76"/>
                <a:gd name="T43" fmla="*/ 3 h 75"/>
                <a:gd name="T44" fmla="*/ 17 w 76"/>
                <a:gd name="T45" fmla="*/ 6 h 75"/>
                <a:gd name="T46" fmla="*/ 12 w 76"/>
                <a:gd name="T47" fmla="*/ 11 h 75"/>
                <a:gd name="T48" fmla="*/ 7 w 76"/>
                <a:gd name="T49" fmla="*/ 17 h 75"/>
                <a:gd name="T50" fmla="*/ 3 w 76"/>
                <a:gd name="T51" fmla="*/ 23 h 75"/>
                <a:gd name="T52" fmla="*/ 1 w 76"/>
                <a:gd name="T53" fmla="*/ 30 h 75"/>
                <a:gd name="T54" fmla="*/ 0 w 76"/>
                <a:gd name="T55" fmla="*/ 38 h 75"/>
                <a:gd name="T56" fmla="*/ 0 w 76"/>
                <a:gd name="T57" fmla="*/ 38 h 75"/>
                <a:gd name="T58" fmla="*/ 1 w 76"/>
                <a:gd name="T59" fmla="*/ 45 h 75"/>
                <a:gd name="T60" fmla="*/ 3 w 76"/>
                <a:gd name="T61" fmla="*/ 52 h 75"/>
                <a:gd name="T62" fmla="*/ 7 w 76"/>
                <a:gd name="T63" fmla="*/ 59 h 75"/>
                <a:gd name="T64" fmla="*/ 12 w 76"/>
                <a:gd name="T65" fmla="*/ 64 h 75"/>
                <a:gd name="T66" fmla="*/ 17 w 76"/>
                <a:gd name="T67" fmla="*/ 69 h 75"/>
                <a:gd name="T68" fmla="*/ 23 w 76"/>
                <a:gd name="T69" fmla="*/ 73 h 75"/>
                <a:gd name="T70" fmla="*/ 31 w 76"/>
                <a:gd name="T71" fmla="*/ 75 h 75"/>
                <a:gd name="T72" fmla="*/ 38 w 76"/>
                <a:gd name="T73" fmla="*/ 75 h 75"/>
                <a:gd name="T74" fmla="*/ 38 w 76"/>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 h="75">
                  <a:moveTo>
                    <a:pt x="38" y="75"/>
                  </a:moveTo>
                  <a:lnTo>
                    <a:pt x="38" y="75"/>
                  </a:lnTo>
                  <a:lnTo>
                    <a:pt x="46" y="75"/>
                  </a:lnTo>
                  <a:lnTo>
                    <a:pt x="53" y="73"/>
                  </a:lnTo>
                  <a:lnTo>
                    <a:pt x="59" y="69"/>
                  </a:lnTo>
                  <a:lnTo>
                    <a:pt x="65" y="64"/>
                  </a:lnTo>
                  <a:lnTo>
                    <a:pt x="70" y="59"/>
                  </a:lnTo>
                  <a:lnTo>
                    <a:pt x="73" y="52"/>
                  </a:lnTo>
                  <a:lnTo>
                    <a:pt x="75" y="45"/>
                  </a:lnTo>
                  <a:lnTo>
                    <a:pt x="76" y="38"/>
                  </a:lnTo>
                  <a:lnTo>
                    <a:pt x="76" y="38"/>
                  </a:lnTo>
                  <a:lnTo>
                    <a:pt x="75" y="30"/>
                  </a:lnTo>
                  <a:lnTo>
                    <a:pt x="73" y="23"/>
                  </a:lnTo>
                  <a:lnTo>
                    <a:pt x="70" y="17"/>
                  </a:lnTo>
                  <a:lnTo>
                    <a:pt x="65" y="11"/>
                  </a:lnTo>
                  <a:lnTo>
                    <a:pt x="59" y="6"/>
                  </a:lnTo>
                  <a:lnTo>
                    <a:pt x="53" y="3"/>
                  </a:lnTo>
                  <a:lnTo>
                    <a:pt x="46" y="1"/>
                  </a:lnTo>
                  <a:lnTo>
                    <a:pt x="38" y="0"/>
                  </a:lnTo>
                  <a:lnTo>
                    <a:pt x="38" y="0"/>
                  </a:lnTo>
                  <a:lnTo>
                    <a:pt x="31" y="1"/>
                  </a:lnTo>
                  <a:lnTo>
                    <a:pt x="23" y="3"/>
                  </a:lnTo>
                  <a:lnTo>
                    <a:pt x="17" y="6"/>
                  </a:lnTo>
                  <a:lnTo>
                    <a:pt x="12" y="11"/>
                  </a:lnTo>
                  <a:lnTo>
                    <a:pt x="7" y="17"/>
                  </a:lnTo>
                  <a:lnTo>
                    <a:pt x="3" y="23"/>
                  </a:lnTo>
                  <a:lnTo>
                    <a:pt x="1" y="30"/>
                  </a:lnTo>
                  <a:lnTo>
                    <a:pt x="0" y="38"/>
                  </a:lnTo>
                  <a:lnTo>
                    <a:pt x="0" y="38"/>
                  </a:lnTo>
                  <a:lnTo>
                    <a:pt x="1" y="45"/>
                  </a:lnTo>
                  <a:lnTo>
                    <a:pt x="3" y="52"/>
                  </a:lnTo>
                  <a:lnTo>
                    <a:pt x="7" y="59"/>
                  </a:lnTo>
                  <a:lnTo>
                    <a:pt x="12" y="64"/>
                  </a:lnTo>
                  <a:lnTo>
                    <a:pt x="17" y="69"/>
                  </a:lnTo>
                  <a:lnTo>
                    <a:pt x="23" y="73"/>
                  </a:lnTo>
                  <a:lnTo>
                    <a:pt x="31" y="75"/>
                  </a:lnTo>
                  <a:lnTo>
                    <a:pt x="38" y="75"/>
                  </a:lnTo>
                  <a:lnTo>
                    <a:pt x="3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66" name="Freeform 16">
              <a:extLst>
                <a:ext uri="{FF2B5EF4-FFF2-40B4-BE49-F238E27FC236}">
                  <a16:creationId xmlns:a16="http://schemas.microsoft.com/office/drawing/2014/main" id="{1CFA6C6D-FADD-9577-8F22-5B093EC1C319}"/>
                </a:ext>
              </a:extLst>
            </p:cNvPr>
            <p:cNvSpPr>
              <a:spLocks/>
            </p:cNvSpPr>
            <p:nvPr/>
          </p:nvSpPr>
          <p:spPr bwMode="auto">
            <a:xfrm>
              <a:off x="3968" y="2037"/>
              <a:ext cx="87" cy="327"/>
            </a:xfrm>
            <a:custGeom>
              <a:avLst/>
              <a:gdLst>
                <a:gd name="T0" fmla="*/ 43 w 87"/>
                <a:gd name="T1" fmla="*/ 33 h 327"/>
                <a:gd name="T2" fmla="*/ 22 w 87"/>
                <a:gd name="T3" fmla="*/ 0 h 327"/>
                <a:gd name="T4" fmla="*/ 0 w 87"/>
                <a:gd name="T5" fmla="*/ 0 h 327"/>
                <a:gd name="T6" fmla="*/ 9 w 87"/>
                <a:gd name="T7" fmla="*/ 154 h 327"/>
                <a:gd name="T8" fmla="*/ 9 w 87"/>
                <a:gd name="T9" fmla="*/ 154 h 327"/>
                <a:gd name="T10" fmla="*/ 9 w 87"/>
                <a:gd name="T11" fmla="*/ 313 h 327"/>
                <a:gd name="T12" fmla="*/ 9 w 87"/>
                <a:gd name="T13" fmla="*/ 313 h 327"/>
                <a:gd name="T14" fmla="*/ 10 w 87"/>
                <a:gd name="T15" fmla="*/ 319 h 327"/>
                <a:gd name="T16" fmla="*/ 14 w 87"/>
                <a:gd name="T17" fmla="*/ 323 h 327"/>
                <a:gd name="T18" fmla="*/ 18 w 87"/>
                <a:gd name="T19" fmla="*/ 326 h 327"/>
                <a:gd name="T20" fmla="*/ 23 w 87"/>
                <a:gd name="T21" fmla="*/ 327 h 327"/>
                <a:gd name="T22" fmla="*/ 23 w 87"/>
                <a:gd name="T23" fmla="*/ 327 h 327"/>
                <a:gd name="T24" fmla="*/ 29 w 87"/>
                <a:gd name="T25" fmla="*/ 326 h 327"/>
                <a:gd name="T26" fmla="*/ 34 w 87"/>
                <a:gd name="T27" fmla="*/ 323 h 327"/>
                <a:gd name="T28" fmla="*/ 37 w 87"/>
                <a:gd name="T29" fmla="*/ 319 h 327"/>
                <a:gd name="T30" fmla="*/ 38 w 87"/>
                <a:gd name="T31" fmla="*/ 313 h 327"/>
                <a:gd name="T32" fmla="*/ 38 w 87"/>
                <a:gd name="T33" fmla="*/ 154 h 327"/>
                <a:gd name="T34" fmla="*/ 49 w 87"/>
                <a:gd name="T35" fmla="*/ 154 h 327"/>
                <a:gd name="T36" fmla="*/ 49 w 87"/>
                <a:gd name="T37" fmla="*/ 313 h 327"/>
                <a:gd name="T38" fmla="*/ 49 w 87"/>
                <a:gd name="T39" fmla="*/ 313 h 327"/>
                <a:gd name="T40" fmla="*/ 50 w 87"/>
                <a:gd name="T41" fmla="*/ 319 h 327"/>
                <a:gd name="T42" fmla="*/ 53 w 87"/>
                <a:gd name="T43" fmla="*/ 323 h 327"/>
                <a:gd name="T44" fmla="*/ 57 w 87"/>
                <a:gd name="T45" fmla="*/ 326 h 327"/>
                <a:gd name="T46" fmla="*/ 63 w 87"/>
                <a:gd name="T47" fmla="*/ 327 h 327"/>
                <a:gd name="T48" fmla="*/ 63 w 87"/>
                <a:gd name="T49" fmla="*/ 327 h 327"/>
                <a:gd name="T50" fmla="*/ 69 w 87"/>
                <a:gd name="T51" fmla="*/ 326 h 327"/>
                <a:gd name="T52" fmla="*/ 73 w 87"/>
                <a:gd name="T53" fmla="*/ 323 h 327"/>
                <a:gd name="T54" fmla="*/ 76 w 87"/>
                <a:gd name="T55" fmla="*/ 319 h 327"/>
                <a:gd name="T56" fmla="*/ 77 w 87"/>
                <a:gd name="T57" fmla="*/ 313 h 327"/>
                <a:gd name="T58" fmla="*/ 77 w 87"/>
                <a:gd name="T59" fmla="*/ 154 h 327"/>
                <a:gd name="T60" fmla="*/ 77 w 87"/>
                <a:gd name="T61" fmla="*/ 154 h 327"/>
                <a:gd name="T62" fmla="*/ 87 w 87"/>
                <a:gd name="T63" fmla="*/ 0 h 327"/>
                <a:gd name="T64" fmla="*/ 64 w 87"/>
                <a:gd name="T65" fmla="*/ 0 h 327"/>
                <a:gd name="T66" fmla="*/ 43 w 87"/>
                <a:gd name="T67" fmla="*/ 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 h="327">
                  <a:moveTo>
                    <a:pt x="43" y="33"/>
                  </a:moveTo>
                  <a:lnTo>
                    <a:pt x="22" y="0"/>
                  </a:lnTo>
                  <a:lnTo>
                    <a:pt x="0" y="0"/>
                  </a:lnTo>
                  <a:lnTo>
                    <a:pt x="9" y="154"/>
                  </a:lnTo>
                  <a:lnTo>
                    <a:pt x="9" y="154"/>
                  </a:lnTo>
                  <a:lnTo>
                    <a:pt x="9" y="313"/>
                  </a:lnTo>
                  <a:lnTo>
                    <a:pt x="9" y="313"/>
                  </a:lnTo>
                  <a:lnTo>
                    <a:pt x="10" y="319"/>
                  </a:lnTo>
                  <a:lnTo>
                    <a:pt x="14" y="323"/>
                  </a:lnTo>
                  <a:lnTo>
                    <a:pt x="18" y="326"/>
                  </a:lnTo>
                  <a:lnTo>
                    <a:pt x="23" y="327"/>
                  </a:lnTo>
                  <a:lnTo>
                    <a:pt x="23" y="327"/>
                  </a:lnTo>
                  <a:lnTo>
                    <a:pt x="29" y="326"/>
                  </a:lnTo>
                  <a:lnTo>
                    <a:pt x="34" y="323"/>
                  </a:lnTo>
                  <a:lnTo>
                    <a:pt x="37" y="319"/>
                  </a:lnTo>
                  <a:lnTo>
                    <a:pt x="38" y="313"/>
                  </a:lnTo>
                  <a:lnTo>
                    <a:pt x="38" y="154"/>
                  </a:lnTo>
                  <a:lnTo>
                    <a:pt x="49" y="154"/>
                  </a:lnTo>
                  <a:lnTo>
                    <a:pt x="49" y="313"/>
                  </a:lnTo>
                  <a:lnTo>
                    <a:pt x="49" y="313"/>
                  </a:lnTo>
                  <a:lnTo>
                    <a:pt x="50" y="319"/>
                  </a:lnTo>
                  <a:lnTo>
                    <a:pt x="53" y="323"/>
                  </a:lnTo>
                  <a:lnTo>
                    <a:pt x="57" y="326"/>
                  </a:lnTo>
                  <a:lnTo>
                    <a:pt x="63" y="327"/>
                  </a:lnTo>
                  <a:lnTo>
                    <a:pt x="63" y="327"/>
                  </a:lnTo>
                  <a:lnTo>
                    <a:pt x="69" y="326"/>
                  </a:lnTo>
                  <a:lnTo>
                    <a:pt x="73" y="323"/>
                  </a:lnTo>
                  <a:lnTo>
                    <a:pt x="76" y="319"/>
                  </a:lnTo>
                  <a:lnTo>
                    <a:pt x="77" y="313"/>
                  </a:lnTo>
                  <a:lnTo>
                    <a:pt x="77" y="154"/>
                  </a:lnTo>
                  <a:lnTo>
                    <a:pt x="77" y="154"/>
                  </a:lnTo>
                  <a:lnTo>
                    <a:pt x="87" y="0"/>
                  </a:lnTo>
                  <a:lnTo>
                    <a:pt x="64" y="0"/>
                  </a:lnTo>
                  <a:lnTo>
                    <a:pt x="43"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grpSp>
      <p:grpSp>
        <p:nvGrpSpPr>
          <p:cNvPr id="67" name="Group 4">
            <a:extLst>
              <a:ext uri="{FF2B5EF4-FFF2-40B4-BE49-F238E27FC236}">
                <a16:creationId xmlns:a16="http://schemas.microsoft.com/office/drawing/2014/main" id="{BE9E6E5A-3CE6-6260-AE4E-4CBD99E63213}"/>
              </a:ext>
            </a:extLst>
          </p:cNvPr>
          <p:cNvGrpSpPr>
            <a:grpSpLocks noChangeAspect="1"/>
          </p:cNvGrpSpPr>
          <p:nvPr/>
        </p:nvGrpSpPr>
        <p:grpSpPr bwMode="auto">
          <a:xfrm>
            <a:off x="1893951" y="4194518"/>
            <a:ext cx="1248519" cy="1058639"/>
            <a:chOff x="3601" y="1957"/>
            <a:chExt cx="480" cy="407"/>
          </a:xfrm>
          <a:solidFill>
            <a:schemeClr val="accent1"/>
          </a:solidFill>
        </p:grpSpPr>
        <p:sp>
          <p:nvSpPr>
            <p:cNvPr id="68" name="Freeform 5">
              <a:extLst>
                <a:ext uri="{FF2B5EF4-FFF2-40B4-BE49-F238E27FC236}">
                  <a16:creationId xmlns:a16="http://schemas.microsoft.com/office/drawing/2014/main" id="{FEE188AD-ACAB-0567-8206-72610A4A4174}"/>
                </a:ext>
              </a:extLst>
            </p:cNvPr>
            <p:cNvSpPr>
              <a:spLocks/>
            </p:cNvSpPr>
            <p:nvPr/>
          </p:nvSpPr>
          <p:spPr bwMode="auto">
            <a:xfrm>
              <a:off x="3601" y="2037"/>
              <a:ext cx="24" cy="163"/>
            </a:xfrm>
            <a:custGeom>
              <a:avLst/>
              <a:gdLst>
                <a:gd name="T0" fmla="*/ 0 w 24"/>
                <a:gd name="T1" fmla="*/ 0 h 163"/>
                <a:gd name="T2" fmla="*/ 6 w 24"/>
                <a:gd name="T3" fmla="*/ 154 h 163"/>
                <a:gd name="T4" fmla="*/ 6 w 24"/>
                <a:gd name="T5" fmla="*/ 154 h 163"/>
                <a:gd name="T6" fmla="*/ 7 w 24"/>
                <a:gd name="T7" fmla="*/ 157 h 163"/>
                <a:gd name="T8" fmla="*/ 8 w 24"/>
                <a:gd name="T9" fmla="*/ 160 h 163"/>
                <a:gd name="T10" fmla="*/ 12 w 24"/>
                <a:gd name="T11" fmla="*/ 161 h 163"/>
                <a:gd name="T12" fmla="*/ 15 w 24"/>
                <a:gd name="T13" fmla="*/ 163 h 163"/>
                <a:gd name="T14" fmla="*/ 15 w 24"/>
                <a:gd name="T15" fmla="*/ 163 h 163"/>
                <a:gd name="T16" fmla="*/ 19 w 24"/>
                <a:gd name="T17" fmla="*/ 161 h 163"/>
                <a:gd name="T18" fmla="*/ 22 w 24"/>
                <a:gd name="T19" fmla="*/ 160 h 163"/>
                <a:gd name="T20" fmla="*/ 23 w 24"/>
                <a:gd name="T21" fmla="*/ 157 h 163"/>
                <a:gd name="T22" fmla="*/ 24 w 24"/>
                <a:gd name="T23" fmla="*/ 154 h 163"/>
                <a:gd name="T24" fmla="*/ 15 w 24"/>
                <a:gd name="T25" fmla="*/ 0 h 163"/>
                <a:gd name="T26" fmla="*/ 0 w 24"/>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63">
                  <a:moveTo>
                    <a:pt x="0" y="0"/>
                  </a:moveTo>
                  <a:lnTo>
                    <a:pt x="6" y="154"/>
                  </a:lnTo>
                  <a:lnTo>
                    <a:pt x="6" y="154"/>
                  </a:lnTo>
                  <a:lnTo>
                    <a:pt x="7" y="157"/>
                  </a:lnTo>
                  <a:lnTo>
                    <a:pt x="8" y="160"/>
                  </a:lnTo>
                  <a:lnTo>
                    <a:pt x="12" y="161"/>
                  </a:lnTo>
                  <a:lnTo>
                    <a:pt x="15" y="163"/>
                  </a:lnTo>
                  <a:lnTo>
                    <a:pt x="15" y="163"/>
                  </a:lnTo>
                  <a:lnTo>
                    <a:pt x="19" y="161"/>
                  </a:lnTo>
                  <a:lnTo>
                    <a:pt x="22" y="160"/>
                  </a:lnTo>
                  <a:lnTo>
                    <a:pt x="23" y="157"/>
                  </a:lnTo>
                  <a:lnTo>
                    <a:pt x="24" y="154"/>
                  </a:lnTo>
                  <a:lnTo>
                    <a:pt x="1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69" name="Freeform 6">
              <a:extLst>
                <a:ext uri="{FF2B5EF4-FFF2-40B4-BE49-F238E27FC236}">
                  <a16:creationId xmlns:a16="http://schemas.microsoft.com/office/drawing/2014/main" id="{9398F24D-BA2D-9248-675A-A6488230928C}"/>
                </a:ext>
              </a:extLst>
            </p:cNvPr>
            <p:cNvSpPr>
              <a:spLocks/>
            </p:cNvSpPr>
            <p:nvPr/>
          </p:nvSpPr>
          <p:spPr bwMode="auto">
            <a:xfrm>
              <a:off x="3715" y="2037"/>
              <a:ext cx="25" cy="163"/>
            </a:xfrm>
            <a:custGeom>
              <a:avLst/>
              <a:gdLst>
                <a:gd name="T0" fmla="*/ 0 w 25"/>
                <a:gd name="T1" fmla="*/ 154 h 163"/>
                <a:gd name="T2" fmla="*/ 0 w 25"/>
                <a:gd name="T3" fmla="*/ 154 h 163"/>
                <a:gd name="T4" fmla="*/ 1 w 25"/>
                <a:gd name="T5" fmla="*/ 157 h 163"/>
                <a:gd name="T6" fmla="*/ 3 w 25"/>
                <a:gd name="T7" fmla="*/ 160 h 163"/>
                <a:gd name="T8" fmla="*/ 7 w 25"/>
                <a:gd name="T9" fmla="*/ 161 h 163"/>
                <a:gd name="T10" fmla="*/ 10 w 25"/>
                <a:gd name="T11" fmla="*/ 163 h 163"/>
                <a:gd name="T12" fmla="*/ 10 w 25"/>
                <a:gd name="T13" fmla="*/ 163 h 163"/>
                <a:gd name="T14" fmla="*/ 13 w 25"/>
                <a:gd name="T15" fmla="*/ 161 h 163"/>
                <a:gd name="T16" fmla="*/ 16 w 25"/>
                <a:gd name="T17" fmla="*/ 160 h 163"/>
                <a:gd name="T18" fmla="*/ 18 w 25"/>
                <a:gd name="T19" fmla="*/ 157 h 163"/>
                <a:gd name="T20" fmla="*/ 18 w 25"/>
                <a:gd name="T21" fmla="*/ 154 h 163"/>
                <a:gd name="T22" fmla="*/ 25 w 25"/>
                <a:gd name="T23" fmla="*/ 0 h 163"/>
                <a:gd name="T24" fmla="*/ 10 w 25"/>
                <a:gd name="T25" fmla="*/ 0 h 163"/>
                <a:gd name="T26" fmla="*/ 0 w 25"/>
                <a:gd name="T27" fmla="*/ 154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63">
                  <a:moveTo>
                    <a:pt x="0" y="154"/>
                  </a:moveTo>
                  <a:lnTo>
                    <a:pt x="0" y="154"/>
                  </a:lnTo>
                  <a:lnTo>
                    <a:pt x="1" y="157"/>
                  </a:lnTo>
                  <a:lnTo>
                    <a:pt x="3" y="160"/>
                  </a:lnTo>
                  <a:lnTo>
                    <a:pt x="7" y="161"/>
                  </a:lnTo>
                  <a:lnTo>
                    <a:pt x="10" y="163"/>
                  </a:lnTo>
                  <a:lnTo>
                    <a:pt x="10" y="163"/>
                  </a:lnTo>
                  <a:lnTo>
                    <a:pt x="13" y="161"/>
                  </a:lnTo>
                  <a:lnTo>
                    <a:pt x="16" y="160"/>
                  </a:lnTo>
                  <a:lnTo>
                    <a:pt x="18" y="157"/>
                  </a:lnTo>
                  <a:lnTo>
                    <a:pt x="18" y="154"/>
                  </a:lnTo>
                  <a:lnTo>
                    <a:pt x="25" y="0"/>
                  </a:lnTo>
                  <a:lnTo>
                    <a:pt x="10" y="0"/>
                  </a:lnTo>
                  <a:lnTo>
                    <a:pt x="0"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70" name="Freeform 7">
              <a:extLst>
                <a:ext uri="{FF2B5EF4-FFF2-40B4-BE49-F238E27FC236}">
                  <a16:creationId xmlns:a16="http://schemas.microsoft.com/office/drawing/2014/main" id="{CDCF258A-8E95-F05C-71BC-B34C80CFD258}"/>
                </a:ext>
              </a:extLst>
            </p:cNvPr>
            <p:cNvSpPr>
              <a:spLocks/>
            </p:cNvSpPr>
            <p:nvPr/>
          </p:nvSpPr>
          <p:spPr bwMode="auto">
            <a:xfrm>
              <a:off x="3633" y="1957"/>
              <a:ext cx="75" cy="75"/>
            </a:xfrm>
            <a:custGeom>
              <a:avLst/>
              <a:gdLst>
                <a:gd name="T0" fmla="*/ 38 w 75"/>
                <a:gd name="T1" fmla="*/ 75 h 75"/>
                <a:gd name="T2" fmla="*/ 38 w 75"/>
                <a:gd name="T3" fmla="*/ 75 h 75"/>
                <a:gd name="T4" fmla="*/ 45 w 75"/>
                <a:gd name="T5" fmla="*/ 75 h 75"/>
                <a:gd name="T6" fmla="*/ 53 w 75"/>
                <a:gd name="T7" fmla="*/ 73 h 75"/>
                <a:gd name="T8" fmla="*/ 59 w 75"/>
                <a:gd name="T9" fmla="*/ 69 h 75"/>
                <a:gd name="T10" fmla="*/ 64 w 75"/>
                <a:gd name="T11" fmla="*/ 64 h 75"/>
                <a:gd name="T12" fmla="*/ 68 w 75"/>
                <a:gd name="T13" fmla="*/ 59 h 75"/>
                <a:gd name="T14" fmla="*/ 73 w 75"/>
                <a:gd name="T15" fmla="*/ 52 h 75"/>
                <a:gd name="T16" fmla="*/ 75 w 75"/>
                <a:gd name="T17" fmla="*/ 45 h 75"/>
                <a:gd name="T18" fmla="*/ 75 w 75"/>
                <a:gd name="T19" fmla="*/ 38 h 75"/>
                <a:gd name="T20" fmla="*/ 75 w 75"/>
                <a:gd name="T21" fmla="*/ 38 h 75"/>
                <a:gd name="T22" fmla="*/ 75 w 75"/>
                <a:gd name="T23" fmla="*/ 30 h 75"/>
                <a:gd name="T24" fmla="*/ 73 w 75"/>
                <a:gd name="T25" fmla="*/ 23 h 75"/>
                <a:gd name="T26" fmla="*/ 68 w 75"/>
                <a:gd name="T27" fmla="*/ 17 h 75"/>
                <a:gd name="T28" fmla="*/ 64 w 75"/>
                <a:gd name="T29" fmla="*/ 11 h 75"/>
                <a:gd name="T30" fmla="*/ 59 w 75"/>
                <a:gd name="T31" fmla="*/ 6 h 75"/>
                <a:gd name="T32" fmla="*/ 53 w 75"/>
                <a:gd name="T33" fmla="*/ 3 h 75"/>
                <a:gd name="T34" fmla="*/ 45 w 75"/>
                <a:gd name="T35" fmla="*/ 1 h 75"/>
                <a:gd name="T36" fmla="*/ 38 w 75"/>
                <a:gd name="T37" fmla="*/ 0 h 75"/>
                <a:gd name="T38" fmla="*/ 38 w 75"/>
                <a:gd name="T39" fmla="*/ 0 h 75"/>
                <a:gd name="T40" fmla="*/ 29 w 75"/>
                <a:gd name="T41" fmla="*/ 1 h 75"/>
                <a:gd name="T42" fmla="*/ 23 w 75"/>
                <a:gd name="T43" fmla="*/ 3 h 75"/>
                <a:gd name="T44" fmla="*/ 17 w 75"/>
                <a:gd name="T45" fmla="*/ 6 h 75"/>
                <a:gd name="T46" fmla="*/ 10 w 75"/>
                <a:gd name="T47" fmla="*/ 11 h 75"/>
                <a:gd name="T48" fmla="*/ 6 w 75"/>
                <a:gd name="T49" fmla="*/ 17 h 75"/>
                <a:gd name="T50" fmla="*/ 3 w 75"/>
                <a:gd name="T51" fmla="*/ 23 h 75"/>
                <a:gd name="T52" fmla="*/ 1 w 75"/>
                <a:gd name="T53" fmla="*/ 30 h 75"/>
                <a:gd name="T54" fmla="*/ 0 w 75"/>
                <a:gd name="T55" fmla="*/ 38 h 75"/>
                <a:gd name="T56" fmla="*/ 0 w 75"/>
                <a:gd name="T57" fmla="*/ 38 h 75"/>
                <a:gd name="T58" fmla="*/ 1 w 75"/>
                <a:gd name="T59" fmla="*/ 45 h 75"/>
                <a:gd name="T60" fmla="*/ 3 w 75"/>
                <a:gd name="T61" fmla="*/ 52 h 75"/>
                <a:gd name="T62" fmla="*/ 6 w 75"/>
                <a:gd name="T63" fmla="*/ 59 h 75"/>
                <a:gd name="T64" fmla="*/ 10 w 75"/>
                <a:gd name="T65" fmla="*/ 64 h 75"/>
                <a:gd name="T66" fmla="*/ 17 w 75"/>
                <a:gd name="T67" fmla="*/ 69 h 75"/>
                <a:gd name="T68" fmla="*/ 23 w 75"/>
                <a:gd name="T69" fmla="*/ 73 h 75"/>
                <a:gd name="T70" fmla="*/ 29 w 75"/>
                <a:gd name="T71" fmla="*/ 75 h 75"/>
                <a:gd name="T72" fmla="*/ 38 w 75"/>
                <a:gd name="T73" fmla="*/ 75 h 75"/>
                <a:gd name="T74" fmla="*/ 38 w 75"/>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5">
                  <a:moveTo>
                    <a:pt x="38" y="75"/>
                  </a:moveTo>
                  <a:lnTo>
                    <a:pt x="38" y="75"/>
                  </a:lnTo>
                  <a:lnTo>
                    <a:pt x="45" y="75"/>
                  </a:lnTo>
                  <a:lnTo>
                    <a:pt x="53" y="73"/>
                  </a:lnTo>
                  <a:lnTo>
                    <a:pt x="59" y="69"/>
                  </a:lnTo>
                  <a:lnTo>
                    <a:pt x="64" y="64"/>
                  </a:lnTo>
                  <a:lnTo>
                    <a:pt x="68" y="59"/>
                  </a:lnTo>
                  <a:lnTo>
                    <a:pt x="73" y="52"/>
                  </a:lnTo>
                  <a:lnTo>
                    <a:pt x="75" y="45"/>
                  </a:lnTo>
                  <a:lnTo>
                    <a:pt x="75" y="38"/>
                  </a:lnTo>
                  <a:lnTo>
                    <a:pt x="75" y="38"/>
                  </a:lnTo>
                  <a:lnTo>
                    <a:pt x="75" y="30"/>
                  </a:lnTo>
                  <a:lnTo>
                    <a:pt x="73" y="23"/>
                  </a:lnTo>
                  <a:lnTo>
                    <a:pt x="68" y="17"/>
                  </a:lnTo>
                  <a:lnTo>
                    <a:pt x="64" y="11"/>
                  </a:lnTo>
                  <a:lnTo>
                    <a:pt x="59" y="6"/>
                  </a:lnTo>
                  <a:lnTo>
                    <a:pt x="53" y="3"/>
                  </a:lnTo>
                  <a:lnTo>
                    <a:pt x="45" y="1"/>
                  </a:lnTo>
                  <a:lnTo>
                    <a:pt x="38" y="0"/>
                  </a:lnTo>
                  <a:lnTo>
                    <a:pt x="38" y="0"/>
                  </a:lnTo>
                  <a:lnTo>
                    <a:pt x="29" y="1"/>
                  </a:lnTo>
                  <a:lnTo>
                    <a:pt x="23" y="3"/>
                  </a:lnTo>
                  <a:lnTo>
                    <a:pt x="17" y="6"/>
                  </a:lnTo>
                  <a:lnTo>
                    <a:pt x="10" y="11"/>
                  </a:lnTo>
                  <a:lnTo>
                    <a:pt x="6" y="17"/>
                  </a:lnTo>
                  <a:lnTo>
                    <a:pt x="3" y="23"/>
                  </a:lnTo>
                  <a:lnTo>
                    <a:pt x="1" y="30"/>
                  </a:lnTo>
                  <a:lnTo>
                    <a:pt x="0" y="38"/>
                  </a:lnTo>
                  <a:lnTo>
                    <a:pt x="0" y="38"/>
                  </a:lnTo>
                  <a:lnTo>
                    <a:pt x="1" y="45"/>
                  </a:lnTo>
                  <a:lnTo>
                    <a:pt x="3" y="52"/>
                  </a:lnTo>
                  <a:lnTo>
                    <a:pt x="6" y="59"/>
                  </a:lnTo>
                  <a:lnTo>
                    <a:pt x="10" y="64"/>
                  </a:lnTo>
                  <a:lnTo>
                    <a:pt x="17" y="69"/>
                  </a:lnTo>
                  <a:lnTo>
                    <a:pt x="23" y="73"/>
                  </a:lnTo>
                  <a:lnTo>
                    <a:pt x="29" y="75"/>
                  </a:lnTo>
                  <a:lnTo>
                    <a:pt x="38" y="75"/>
                  </a:lnTo>
                  <a:lnTo>
                    <a:pt x="3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71" name="Freeform 8">
              <a:extLst>
                <a:ext uri="{FF2B5EF4-FFF2-40B4-BE49-F238E27FC236}">
                  <a16:creationId xmlns:a16="http://schemas.microsoft.com/office/drawing/2014/main" id="{8CBEEB02-A20F-3568-CB9F-6E202FDE8D66}"/>
                </a:ext>
              </a:extLst>
            </p:cNvPr>
            <p:cNvSpPr>
              <a:spLocks/>
            </p:cNvSpPr>
            <p:nvPr/>
          </p:nvSpPr>
          <p:spPr bwMode="auto">
            <a:xfrm>
              <a:off x="3627" y="2037"/>
              <a:ext cx="86" cy="327"/>
            </a:xfrm>
            <a:custGeom>
              <a:avLst/>
              <a:gdLst>
                <a:gd name="T0" fmla="*/ 44 w 86"/>
                <a:gd name="T1" fmla="*/ 33 h 327"/>
                <a:gd name="T2" fmla="*/ 22 w 86"/>
                <a:gd name="T3" fmla="*/ 0 h 327"/>
                <a:gd name="T4" fmla="*/ 0 w 86"/>
                <a:gd name="T5" fmla="*/ 0 h 327"/>
                <a:gd name="T6" fmla="*/ 9 w 86"/>
                <a:gd name="T7" fmla="*/ 154 h 327"/>
                <a:gd name="T8" fmla="*/ 9 w 86"/>
                <a:gd name="T9" fmla="*/ 154 h 327"/>
                <a:gd name="T10" fmla="*/ 9 w 86"/>
                <a:gd name="T11" fmla="*/ 313 h 327"/>
                <a:gd name="T12" fmla="*/ 9 w 86"/>
                <a:gd name="T13" fmla="*/ 313 h 327"/>
                <a:gd name="T14" fmla="*/ 10 w 86"/>
                <a:gd name="T15" fmla="*/ 319 h 327"/>
                <a:gd name="T16" fmla="*/ 13 w 86"/>
                <a:gd name="T17" fmla="*/ 323 h 327"/>
                <a:gd name="T18" fmla="*/ 18 w 86"/>
                <a:gd name="T19" fmla="*/ 326 h 327"/>
                <a:gd name="T20" fmla="*/ 24 w 86"/>
                <a:gd name="T21" fmla="*/ 327 h 327"/>
                <a:gd name="T22" fmla="*/ 24 w 86"/>
                <a:gd name="T23" fmla="*/ 327 h 327"/>
                <a:gd name="T24" fmla="*/ 29 w 86"/>
                <a:gd name="T25" fmla="*/ 326 h 327"/>
                <a:gd name="T26" fmla="*/ 33 w 86"/>
                <a:gd name="T27" fmla="*/ 323 h 327"/>
                <a:gd name="T28" fmla="*/ 36 w 86"/>
                <a:gd name="T29" fmla="*/ 319 h 327"/>
                <a:gd name="T30" fmla="*/ 37 w 86"/>
                <a:gd name="T31" fmla="*/ 313 h 327"/>
                <a:gd name="T32" fmla="*/ 37 w 86"/>
                <a:gd name="T33" fmla="*/ 154 h 327"/>
                <a:gd name="T34" fmla="*/ 49 w 86"/>
                <a:gd name="T35" fmla="*/ 154 h 327"/>
                <a:gd name="T36" fmla="*/ 49 w 86"/>
                <a:gd name="T37" fmla="*/ 313 h 327"/>
                <a:gd name="T38" fmla="*/ 49 w 86"/>
                <a:gd name="T39" fmla="*/ 313 h 327"/>
                <a:gd name="T40" fmla="*/ 50 w 86"/>
                <a:gd name="T41" fmla="*/ 319 h 327"/>
                <a:gd name="T42" fmla="*/ 53 w 86"/>
                <a:gd name="T43" fmla="*/ 323 h 327"/>
                <a:gd name="T44" fmla="*/ 58 w 86"/>
                <a:gd name="T45" fmla="*/ 326 h 327"/>
                <a:gd name="T46" fmla="*/ 63 w 86"/>
                <a:gd name="T47" fmla="*/ 327 h 327"/>
                <a:gd name="T48" fmla="*/ 63 w 86"/>
                <a:gd name="T49" fmla="*/ 327 h 327"/>
                <a:gd name="T50" fmla="*/ 69 w 86"/>
                <a:gd name="T51" fmla="*/ 326 h 327"/>
                <a:gd name="T52" fmla="*/ 73 w 86"/>
                <a:gd name="T53" fmla="*/ 323 h 327"/>
                <a:gd name="T54" fmla="*/ 77 w 86"/>
                <a:gd name="T55" fmla="*/ 319 h 327"/>
                <a:gd name="T56" fmla="*/ 78 w 86"/>
                <a:gd name="T57" fmla="*/ 313 h 327"/>
                <a:gd name="T58" fmla="*/ 78 w 86"/>
                <a:gd name="T59" fmla="*/ 154 h 327"/>
                <a:gd name="T60" fmla="*/ 78 w 86"/>
                <a:gd name="T61" fmla="*/ 154 h 327"/>
                <a:gd name="T62" fmla="*/ 86 w 86"/>
                <a:gd name="T63" fmla="*/ 0 h 327"/>
                <a:gd name="T64" fmla="*/ 65 w 86"/>
                <a:gd name="T65" fmla="*/ 0 h 327"/>
                <a:gd name="T66" fmla="*/ 44 w 86"/>
                <a:gd name="T67" fmla="*/ 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 h="327">
                  <a:moveTo>
                    <a:pt x="44" y="33"/>
                  </a:moveTo>
                  <a:lnTo>
                    <a:pt x="22" y="0"/>
                  </a:lnTo>
                  <a:lnTo>
                    <a:pt x="0" y="0"/>
                  </a:lnTo>
                  <a:lnTo>
                    <a:pt x="9" y="154"/>
                  </a:lnTo>
                  <a:lnTo>
                    <a:pt x="9" y="154"/>
                  </a:lnTo>
                  <a:lnTo>
                    <a:pt x="9" y="313"/>
                  </a:lnTo>
                  <a:lnTo>
                    <a:pt x="9" y="313"/>
                  </a:lnTo>
                  <a:lnTo>
                    <a:pt x="10" y="319"/>
                  </a:lnTo>
                  <a:lnTo>
                    <a:pt x="13" y="323"/>
                  </a:lnTo>
                  <a:lnTo>
                    <a:pt x="18" y="326"/>
                  </a:lnTo>
                  <a:lnTo>
                    <a:pt x="24" y="327"/>
                  </a:lnTo>
                  <a:lnTo>
                    <a:pt x="24" y="327"/>
                  </a:lnTo>
                  <a:lnTo>
                    <a:pt x="29" y="326"/>
                  </a:lnTo>
                  <a:lnTo>
                    <a:pt x="33" y="323"/>
                  </a:lnTo>
                  <a:lnTo>
                    <a:pt x="36" y="319"/>
                  </a:lnTo>
                  <a:lnTo>
                    <a:pt x="37" y="313"/>
                  </a:lnTo>
                  <a:lnTo>
                    <a:pt x="37" y="154"/>
                  </a:lnTo>
                  <a:lnTo>
                    <a:pt x="49" y="154"/>
                  </a:lnTo>
                  <a:lnTo>
                    <a:pt x="49" y="313"/>
                  </a:lnTo>
                  <a:lnTo>
                    <a:pt x="49" y="313"/>
                  </a:lnTo>
                  <a:lnTo>
                    <a:pt x="50" y="319"/>
                  </a:lnTo>
                  <a:lnTo>
                    <a:pt x="53" y="323"/>
                  </a:lnTo>
                  <a:lnTo>
                    <a:pt x="58" y="326"/>
                  </a:lnTo>
                  <a:lnTo>
                    <a:pt x="63" y="327"/>
                  </a:lnTo>
                  <a:lnTo>
                    <a:pt x="63" y="327"/>
                  </a:lnTo>
                  <a:lnTo>
                    <a:pt x="69" y="326"/>
                  </a:lnTo>
                  <a:lnTo>
                    <a:pt x="73" y="323"/>
                  </a:lnTo>
                  <a:lnTo>
                    <a:pt x="77" y="319"/>
                  </a:lnTo>
                  <a:lnTo>
                    <a:pt x="78" y="313"/>
                  </a:lnTo>
                  <a:lnTo>
                    <a:pt x="78" y="154"/>
                  </a:lnTo>
                  <a:lnTo>
                    <a:pt x="78" y="154"/>
                  </a:lnTo>
                  <a:lnTo>
                    <a:pt x="86" y="0"/>
                  </a:lnTo>
                  <a:lnTo>
                    <a:pt x="65" y="0"/>
                  </a:lnTo>
                  <a:lnTo>
                    <a:pt x="4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72" name="Freeform 9">
              <a:extLst>
                <a:ext uri="{FF2B5EF4-FFF2-40B4-BE49-F238E27FC236}">
                  <a16:creationId xmlns:a16="http://schemas.microsoft.com/office/drawing/2014/main" id="{4D963D5E-788F-F118-7770-147ADAC0704E}"/>
                </a:ext>
              </a:extLst>
            </p:cNvPr>
            <p:cNvSpPr>
              <a:spLocks/>
            </p:cNvSpPr>
            <p:nvPr/>
          </p:nvSpPr>
          <p:spPr bwMode="auto">
            <a:xfrm>
              <a:off x="3771" y="2037"/>
              <a:ext cx="25" cy="163"/>
            </a:xfrm>
            <a:custGeom>
              <a:avLst/>
              <a:gdLst>
                <a:gd name="T0" fmla="*/ 0 w 25"/>
                <a:gd name="T1" fmla="*/ 0 h 163"/>
                <a:gd name="T2" fmla="*/ 7 w 25"/>
                <a:gd name="T3" fmla="*/ 154 h 163"/>
                <a:gd name="T4" fmla="*/ 7 w 25"/>
                <a:gd name="T5" fmla="*/ 154 h 163"/>
                <a:gd name="T6" fmla="*/ 8 w 25"/>
                <a:gd name="T7" fmla="*/ 157 h 163"/>
                <a:gd name="T8" fmla="*/ 10 w 25"/>
                <a:gd name="T9" fmla="*/ 160 h 163"/>
                <a:gd name="T10" fmla="*/ 12 w 25"/>
                <a:gd name="T11" fmla="*/ 161 h 163"/>
                <a:gd name="T12" fmla="*/ 16 w 25"/>
                <a:gd name="T13" fmla="*/ 163 h 163"/>
                <a:gd name="T14" fmla="*/ 16 w 25"/>
                <a:gd name="T15" fmla="*/ 163 h 163"/>
                <a:gd name="T16" fmla="*/ 19 w 25"/>
                <a:gd name="T17" fmla="*/ 161 h 163"/>
                <a:gd name="T18" fmla="*/ 22 w 25"/>
                <a:gd name="T19" fmla="*/ 160 h 163"/>
                <a:gd name="T20" fmla="*/ 25 w 25"/>
                <a:gd name="T21" fmla="*/ 157 h 163"/>
                <a:gd name="T22" fmla="*/ 25 w 25"/>
                <a:gd name="T23" fmla="*/ 154 h 163"/>
                <a:gd name="T24" fmla="*/ 16 w 25"/>
                <a:gd name="T25" fmla="*/ 0 h 163"/>
                <a:gd name="T26" fmla="*/ 0 w 25"/>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63">
                  <a:moveTo>
                    <a:pt x="0" y="0"/>
                  </a:moveTo>
                  <a:lnTo>
                    <a:pt x="7" y="154"/>
                  </a:lnTo>
                  <a:lnTo>
                    <a:pt x="7" y="154"/>
                  </a:lnTo>
                  <a:lnTo>
                    <a:pt x="8" y="157"/>
                  </a:lnTo>
                  <a:lnTo>
                    <a:pt x="10" y="160"/>
                  </a:lnTo>
                  <a:lnTo>
                    <a:pt x="12" y="161"/>
                  </a:lnTo>
                  <a:lnTo>
                    <a:pt x="16" y="163"/>
                  </a:lnTo>
                  <a:lnTo>
                    <a:pt x="16" y="163"/>
                  </a:lnTo>
                  <a:lnTo>
                    <a:pt x="19" y="161"/>
                  </a:lnTo>
                  <a:lnTo>
                    <a:pt x="22" y="160"/>
                  </a:lnTo>
                  <a:lnTo>
                    <a:pt x="25" y="157"/>
                  </a:lnTo>
                  <a:lnTo>
                    <a:pt x="25" y="154"/>
                  </a:lnTo>
                  <a:lnTo>
                    <a:pt x="1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73" name="Freeform 10">
              <a:extLst>
                <a:ext uri="{FF2B5EF4-FFF2-40B4-BE49-F238E27FC236}">
                  <a16:creationId xmlns:a16="http://schemas.microsoft.com/office/drawing/2014/main" id="{175BD9D0-06C8-3062-31AA-6EDF5FF09C12}"/>
                </a:ext>
              </a:extLst>
            </p:cNvPr>
            <p:cNvSpPr>
              <a:spLocks/>
            </p:cNvSpPr>
            <p:nvPr/>
          </p:nvSpPr>
          <p:spPr bwMode="auto">
            <a:xfrm>
              <a:off x="3886" y="2037"/>
              <a:ext cx="24" cy="163"/>
            </a:xfrm>
            <a:custGeom>
              <a:avLst/>
              <a:gdLst>
                <a:gd name="T0" fmla="*/ 0 w 24"/>
                <a:gd name="T1" fmla="*/ 154 h 163"/>
                <a:gd name="T2" fmla="*/ 0 w 24"/>
                <a:gd name="T3" fmla="*/ 154 h 163"/>
                <a:gd name="T4" fmla="*/ 0 w 24"/>
                <a:gd name="T5" fmla="*/ 157 h 163"/>
                <a:gd name="T6" fmla="*/ 3 w 24"/>
                <a:gd name="T7" fmla="*/ 160 h 163"/>
                <a:gd name="T8" fmla="*/ 6 w 24"/>
                <a:gd name="T9" fmla="*/ 161 h 163"/>
                <a:gd name="T10" fmla="*/ 9 w 24"/>
                <a:gd name="T11" fmla="*/ 163 h 163"/>
                <a:gd name="T12" fmla="*/ 9 w 24"/>
                <a:gd name="T13" fmla="*/ 163 h 163"/>
                <a:gd name="T14" fmla="*/ 12 w 24"/>
                <a:gd name="T15" fmla="*/ 161 h 163"/>
                <a:gd name="T16" fmla="*/ 15 w 24"/>
                <a:gd name="T17" fmla="*/ 160 h 163"/>
                <a:gd name="T18" fmla="*/ 17 w 24"/>
                <a:gd name="T19" fmla="*/ 157 h 163"/>
                <a:gd name="T20" fmla="*/ 18 w 24"/>
                <a:gd name="T21" fmla="*/ 154 h 163"/>
                <a:gd name="T22" fmla="*/ 24 w 24"/>
                <a:gd name="T23" fmla="*/ 0 h 163"/>
                <a:gd name="T24" fmla="*/ 9 w 24"/>
                <a:gd name="T25" fmla="*/ 0 h 163"/>
                <a:gd name="T26" fmla="*/ 0 w 24"/>
                <a:gd name="T27" fmla="*/ 154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63">
                  <a:moveTo>
                    <a:pt x="0" y="154"/>
                  </a:moveTo>
                  <a:lnTo>
                    <a:pt x="0" y="154"/>
                  </a:lnTo>
                  <a:lnTo>
                    <a:pt x="0" y="157"/>
                  </a:lnTo>
                  <a:lnTo>
                    <a:pt x="3" y="160"/>
                  </a:lnTo>
                  <a:lnTo>
                    <a:pt x="6" y="161"/>
                  </a:lnTo>
                  <a:lnTo>
                    <a:pt x="9" y="163"/>
                  </a:lnTo>
                  <a:lnTo>
                    <a:pt x="9" y="163"/>
                  </a:lnTo>
                  <a:lnTo>
                    <a:pt x="12" y="161"/>
                  </a:lnTo>
                  <a:lnTo>
                    <a:pt x="15" y="160"/>
                  </a:lnTo>
                  <a:lnTo>
                    <a:pt x="17" y="157"/>
                  </a:lnTo>
                  <a:lnTo>
                    <a:pt x="18" y="154"/>
                  </a:lnTo>
                  <a:lnTo>
                    <a:pt x="24" y="0"/>
                  </a:lnTo>
                  <a:lnTo>
                    <a:pt x="9" y="0"/>
                  </a:lnTo>
                  <a:lnTo>
                    <a:pt x="0"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74" name="Freeform 11">
              <a:extLst>
                <a:ext uri="{FF2B5EF4-FFF2-40B4-BE49-F238E27FC236}">
                  <a16:creationId xmlns:a16="http://schemas.microsoft.com/office/drawing/2014/main" id="{7458CDD2-AFBD-826E-9508-0830F47B71EA}"/>
                </a:ext>
              </a:extLst>
            </p:cNvPr>
            <p:cNvSpPr>
              <a:spLocks/>
            </p:cNvSpPr>
            <p:nvPr/>
          </p:nvSpPr>
          <p:spPr bwMode="auto">
            <a:xfrm>
              <a:off x="3803" y="1957"/>
              <a:ext cx="76" cy="75"/>
            </a:xfrm>
            <a:custGeom>
              <a:avLst/>
              <a:gdLst>
                <a:gd name="T0" fmla="*/ 38 w 76"/>
                <a:gd name="T1" fmla="*/ 75 h 75"/>
                <a:gd name="T2" fmla="*/ 38 w 76"/>
                <a:gd name="T3" fmla="*/ 75 h 75"/>
                <a:gd name="T4" fmla="*/ 45 w 76"/>
                <a:gd name="T5" fmla="*/ 75 h 75"/>
                <a:gd name="T6" fmla="*/ 53 w 76"/>
                <a:gd name="T7" fmla="*/ 73 h 75"/>
                <a:gd name="T8" fmla="*/ 59 w 76"/>
                <a:gd name="T9" fmla="*/ 69 h 75"/>
                <a:gd name="T10" fmla="*/ 64 w 76"/>
                <a:gd name="T11" fmla="*/ 64 h 75"/>
                <a:gd name="T12" fmla="*/ 69 w 76"/>
                <a:gd name="T13" fmla="*/ 59 h 75"/>
                <a:gd name="T14" fmla="*/ 73 w 76"/>
                <a:gd name="T15" fmla="*/ 52 h 75"/>
                <a:gd name="T16" fmla="*/ 75 w 76"/>
                <a:gd name="T17" fmla="*/ 45 h 75"/>
                <a:gd name="T18" fmla="*/ 76 w 76"/>
                <a:gd name="T19" fmla="*/ 38 h 75"/>
                <a:gd name="T20" fmla="*/ 76 w 76"/>
                <a:gd name="T21" fmla="*/ 38 h 75"/>
                <a:gd name="T22" fmla="*/ 75 w 76"/>
                <a:gd name="T23" fmla="*/ 30 h 75"/>
                <a:gd name="T24" fmla="*/ 73 w 76"/>
                <a:gd name="T25" fmla="*/ 23 h 75"/>
                <a:gd name="T26" fmla="*/ 69 w 76"/>
                <a:gd name="T27" fmla="*/ 17 h 75"/>
                <a:gd name="T28" fmla="*/ 64 w 76"/>
                <a:gd name="T29" fmla="*/ 11 h 75"/>
                <a:gd name="T30" fmla="*/ 59 w 76"/>
                <a:gd name="T31" fmla="*/ 6 h 75"/>
                <a:gd name="T32" fmla="*/ 53 w 76"/>
                <a:gd name="T33" fmla="*/ 3 h 75"/>
                <a:gd name="T34" fmla="*/ 45 w 76"/>
                <a:gd name="T35" fmla="*/ 1 h 75"/>
                <a:gd name="T36" fmla="*/ 38 w 76"/>
                <a:gd name="T37" fmla="*/ 0 h 75"/>
                <a:gd name="T38" fmla="*/ 38 w 76"/>
                <a:gd name="T39" fmla="*/ 0 h 75"/>
                <a:gd name="T40" fmla="*/ 31 w 76"/>
                <a:gd name="T41" fmla="*/ 1 h 75"/>
                <a:gd name="T42" fmla="*/ 23 w 76"/>
                <a:gd name="T43" fmla="*/ 3 h 75"/>
                <a:gd name="T44" fmla="*/ 17 w 76"/>
                <a:gd name="T45" fmla="*/ 6 h 75"/>
                <a:gd name="T46" fmla="*/ 11 w 76"/>
                <a:gd name="T47" fmla="*/ 11 h 75"/>
                <a:gd name="T48" fmla="*/ 6 w 76"/>
                <a:gd name="T49" fmla="*/ 17 h 75"/>
                <a:gd name="T50" fmla="*/ 3 w 76"/>
                <a:gd name="T51" fmla="*/ 23 h 75"/>
                <a:gd name="T52" fmla="*/ 1 w 76"/>
                <a:gd name="T53" fmla="*/ 30 h 75"/>
                <a:gd name="T54" fmla="*/ 0 w 76"/>
                <a:gd name="T55" fmla="*/ 38 h 75"/>
                <a:gd name="T56" fmla="*/ 0 w 76"/>
                <a:gd name="T57" fmla="*/ 38 h 75"/>
                <a:gd name="T58" fmla="*/ 1 w 76"/>
                <a:gd name="T59" fmla="*/ 45 h 75"/>
                <a:gd name="T60" fmla="*/ 3 w 76"/>
                <a:gd name="T61" fmla="*/ 52 h 75"/>
                <a:gd name="T62" fmla="*/ 6 w 76"/>
                <a:gd name="T63" fmla="*/ 59 h 75"/>
                <a:gd name="T64" fmla="*/ 11 w 76"/>
                <a:gd name="T65" fmla="*/ 64 h 75"/>
                <a:gd name="T66" fmla="*/ 17 w 76"/>
                <a:gd name="T67" fmla="*/ 69 h 75"/>
                <a:gd name="T68" fmla="*/ 23 w 76"/>
                <a:gd name="T69" fmla="*/ 73 h 75"/>
                <a:gd name="T70" fmla="*/ 31 w 76"/>
                <a:gd name="T71" fmla="*/ 75 h 75"/>
                <a:gd name="T72" fmla="*/ 38 w 76"/>
                <a:gd name="T73" fmla="*/ 75 h 75"/>
                <a:gd name="T74" fmla="*/ 38 w 76"/>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 h="75">
                  <a:moveTo>
                    <a:pt x="38" y="75"/>
                  </a:moveTo>
                  <a:lnTo>
                    <a:pt x="38" y="75"/>
                  </a:lnTo>
                  <a:lnTo>
                    <a:pt x="45" y="75"/>
                  </a:lnTo>
                  <a:lnTo>
                    <a:pt x="53" y="73"/>
                  </a:lnTo>
                  <a:lnTo>
                    <a:pt x="59" y="69"/>
                  </a:lnTo>
                  <a:lnTo>
                    <a:pt x="64" y="64"/>
                  </a:lnTo>
                  <a:lnTo>
                    <a:pt x="69" y="59"/>
                  </a:lnTo>
                  <a:lnTo>
                    <a:pt x="73" y="52"/>
                  </a:lnTo>
                  <a:lnTo>
                    <a:pt x="75" y="45"/>
                  </a:lnTo>
                  <a:lnTo>
                    <a:pt x="76" y="38"/>
                  </a:lnTo>
                  <a:lnTo>
                    <a:pt x="76" y="38"/>
                  </a:lnTo>
                  <a:lnTo>
                    <a:pt x="75" y="30"/>
                  </a:lnTo>
                  <a:lnTo>
                    <a:pt x="73" y="23"/>
                  </a:lnTo>
                  <a:lnTo>
                    <a:pt x="69" y="17"/>
                  </a:lnTo>
                  <a:lnTo>
                    <a:pt x="64" y="11"/>
                  </a:lnTo>
                  <a:lnTo>
                    <a:pt x="59" y="6"/>
                  </a:lnTo>
                  <a:lnTo>
                    <a:pt x="53" y="3"/>
                  </a:lnTo>
                  <a:lnTo>
                    <a:pt x="45" y="1"/>
                  </a:lnTo>
                  <a:lnTo>
                    <a:pt x="38" y="0"/>
                  </a:lnTo>
                  <a:lnTo>
                    <a:pt x="38" y="0"/>
                  </a:lnTo>
                  <a:lnTo>
                    <a:pt x="31" y="1"/>
                  </a:lnTo>
                  <a:lnTo>
                    <a:pt x="23" y="3"/>
                  </a:lnTo>
                  <a:lnTo>
                    <a:pt x="17" y="6"/>
                  </a:lnTo>
                  <a:lnTo>
                    <a:pt x="11" y="11"/>
                  </a:lnTo>
                  <a:lnTo>
                    <a:pt x="6" y="17"/>
                  </a:lnTo>
                  <a:lnTo>
                    <a:pt x="3" y="23"/>
                  </a:lnTo>
                  <a:lnTo>
                    <a:pt x="1" y="30"/>
                  </a:lnTo>
                  <a:lnTo>
                    <a:pt x="0" y="38"/>
                  </a:lnTo>
                  <a:lnTo>
                    <a:pt x="0" y="38"/>
                  </a:lnTo>
                  <a:lnTo>
                    <a:pt x="1" y="45"/>
                  </a:lnTo>
                  <a:lnTo>
                    <a:pt x="3" y="52"/>
                  </a:lnTo>
                  <a:lnTo>
                    <a:pt x="6" y="59"/>
                  </a:lnTo>
                  <a:lnTo>
                    <a:pt x="11" y="64"/>
                  </a:lnTo>
                  <a:lnTo>
                    <a:pt x="17" y="69"/>
                  </a:lnTo>
                  <a:lnTo>
                    <a:pt x="23" y="73"/>
                  </a:lnTo>
                  <a:lnTo>
                    <a:pt x="31" y="75"/>
                  </a:lnTo>
                  <a:lnTo>
                    <a:pt x="38" y="75"/>
                  </a:lnTo>
                  <a:lnTo>
                    <a:pt x="3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75" name="Freeform 12">
              <a:extLst>
                <a:ext uri="{FF2B5EF4-FFF2-40B4-BE49-F238E27FC236}">
                  <a16:creationId xmlns:a16="http://schemas.microsoft.com/office/drawing/2014/main" id="{EA54F7F5-2B4C-B43F-470B-9CE8A2746F75}"/>
                </a:ext>
              </a:extLst>
            </p:cNvPr>
            <p:cNvSpPr>
              <a:spLocks/>
            </p:cNvSpPr>
            <p:nvPr/>
          </p:nvSpPr>
          <p:spPr bwMode="auto">
            <a:xfrm>
              <a:off x="3798" y="2037"/>
              <a:ext cx="86" cy="327"/>
            </a:xfrm>
            <a:custGeom>
              <a:avLst/>
              <a:gdLst>
                <a:gd name="T0" fmla="*/ 43 w 86"/>
                <a:gd name="T1" fmla="*/ 33 h 327"/>
                <a:gd name="T2" fmla="*/ 21 w 86"/>
                <a:gd name="T3" fmla="*/ 0 h 327"/>
                <a:gd name="T4" fmla="*/ 0 w 86"/>
                <a:gd name="T5" fmla="*/ 0 h 327"/>
                <a:gd name="T6" fmla="*/ 8 w 86"/>
                <a:gd name="T7" fmla="*/ 154 h 327"/>
                <a:gd name="T8" fmla="*/ 8 w 86"/>
                <a:gd name="T9" fmla="*/ 154 h 327"/>
                <a:gd name="T10" fmla="*/ 8 w 86"/>
                <a:gd name="T11" fmla="*/ 313 h 327"/>
                <a:gd name="T12" fmla="*/ 8 w 86"/>
                <a:gd name="T13" fmla="*/ 313 h 327"/>
                <a:gd name="T14" fmla="*/ 9 w 86"/>
                <a:gd name="T15" fmla="*/ 319 h 327"/>
                <a:gd name="T16" fmla="*/ 12 w 86"/>
                <a:gd name="T17" fmla="*/ 323 h 327"/>
                <a:gd name="T18" fmla="*/ 18 w 86"/>
                <a:gd name="T19" fmla="*/ 326 h 327"/>
                <a:gd name="T20" fmla="*/ 23 w 86"/>
                <a:gd name="T21" fmla="*/ 327 h 327"/>
                <a:gd name="T22" fmla="*/ 23 w 86"/>
                <a:gd name="T23" fmla="*/ 327 h 327"/>
                <a:gd name="T24" fmla="*/ 28 w 86"/>
                <a:gd name="T25" fmla="*/ 326 h 327"/>
                <a:gd name="T26" fmla="*/ 33 w 86"/>
                <a:gd name="T27" fmla="*/ 323 h 327"/>
                <a:gd name="T28" fmla="*/ 37 w 86"/>
                <a:gd name="T29" fmla="*/ 319 h 327"/>
                <a:gd name="T30" fmla="*/ 38 w 86"/>
                <a:gd name="T31" fmla="*/ 313 h 327"/>
                <a:gd name="T32" fmla="*/ 38 w 86"/>
                <a:gd name="T33" fmla="*/ 154 h 327"/>
                <a:gd name="T34" fmla="*/ 48 w 86"/>
                <a:gd name="T35" fmla="*/ 154 h 327"/>
                <a:gd name="T36" fmla="*/ 48 w 86"/>
                <a:gd name="T37" fmla="*/ 313 h 327"/>
                <a:gd name="T38" fmla="*/ 48 w 86"/>
                <a:gd name="T39" fmla="*/ 313 h 327"/>
                <a:gd name="T40" fmla="*/ 49 w 86"/>
                <a:gd name="T41" fmla="*/ 319 h 327"/>
                <a:gd name="T42" fmla="*/ 53 w 86"/>
                <a:gd name="T43" fmla="*/ 323 h 327"/>
                <a:gd name="T44" fmla="*/ 57 w 86"/>
                <a:gd name="T45" fmla="*/ 326 h 327"/>
                <a:gd name="T46" fmla="*/ 63 w 86"/>
                <a:gd name="T47" fmla="*/ 327 h 327"/>
                <a:gd name="T48" fmla="*/ 63 w 86"/>
                <a:gd name="T49" fmla="*/ 327 h 327"/>
                <a:gd name="T50" fmla="*/ 68 w 86"/>
                <a:gd name="T51" fmla="*/ 326 h 327"/>
                <a:gd name="T52" fmla="*/ 73 w 86"/>
                <a:gd name="T53" fmla="*/ 323 h 327"/>
                <a:gd name="T54" fmla="*/ 76 w 86"/>
                <a:gd name="T55" fmla="*/ 319 h 327"/>
                <a:gd name="T56" fmla="*/ 77 w 86"/>
                <a:gd name="T57" fmla="*/ 313 h 327"/>
                <a:gd name="T58" fmla="*/ 77 w 86"/>
                <a:gd name="T59" fmla="*/ 154 h 327"/>
                <a:gd name="T60" fmla="*/ 77 w 86"/>
                <a:gd name="T61" fmla="*/ 154 h 327"/>
                <a:gd name="T62" fmla="*/ 86 w 86"/>
                <a:gd name="T63" fmla="*/ 0 h 327"/>
                <a:gd name="T64" fmla="*/ 64 w 86"/>
                <a:gd name="T65" fmla="*/ 0 h 327"/>
                <a:gd name="T66" fmla="*/ 43 w 86"/>
                <a:gd name="T67" fmla="*/ 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 h="327">
                  <a:moveTo>
                    <a:pt x="43" y="33"/>
                  </a:moveTo>
                  <a:lnTo>
                    <a:pt x="21" y="0"/>
                  </a:lnTo>
                  <a:lnTo>
                    <a:pt x="0" y="0"/>
                  </a:lnTo>
                  <a:lnTo>
                    <a:pt x="8" y="154"/>
                  </a:lnTo>
                  <a:lnTo>
                    <a:pt x="8" y="154"/>
                  </a:lnTo>
                  <a:lnTo>
                    <a:pt x="8" y="313"/>
                  </a:lnTo>
                  <a:lnTo>
                    <a:pt x="8" y="313"/>
                  </a:lnTo>
                  <a:lnTo>
                    <a:pt x="9" y="319"/>
                  </a:lnTo>
                  <a:lnTo>
                    <a:pt x="12" y="323"/>
                  </a:lnTo>
                  <a:lnTo>
                    <a:pt x="18" y="326"/>
                  </a:lnTo>
                  <a:lnTo>
                    <a:pt x="23" y="327"/>
                  </a:lnTo>
                  <a:lnTo>
                    <a:pt x="23" y="327"/>
                  </a:lnTo>
                  <a:lnTo>
                    <a:pt x="28" y="326"/>
                  </a:lnTo>
                  <a:lnTo>
                    <a:pt x="33" y="323"/>
                  </a:lnTo>
                  <a:lnTo>
                    <a:pt x="37" y="319"/>
                  </a:lnTo>
                  <a:lnTo>
                    <a:pt x="38" y="313"/>
                  </a:lnTo>
                  <a:lnTo>
                    <a:pt x="38" y="154"/>
                  </a:lnTo>
                  <a:lnTo>
                    <a:pt x="48" y="154"/>
                  </a:lnTo>
                  <a:lnTo>
                    <a:pt x="48" y="313"/>
                  </a:lnTo>
                  <a:lnTo>
                    <a:pt x="48" y="313"/>
                  </a:lnTo>
                  <a:lnTo>
                    <a:pt x="49" y="319"/>
                  </a:lnTo>
                  <a:lnTo>
                    <a:pt x="53" y="323"/>
                  </a:lnTo>
                  <a:lnTo>
                    <a:pt x="57" y="326"/>
                  </a:lnTo>
                  <a:lnTo>
                    <a:pt x="63" y="327"/>
                  </a:lnTo>
                  <a:lnTo>
                    <a:pt x="63" y="327"/>
                  </a:lnTo>
                  <a:lnTo>
                    <a:pt x="68" y="326"/>
                  </a:lnTo>
                  <a:lnTo>
                    <a:pt x="73" y="323"/>
                  </a:lnTo>
                  <a:lnTo>
                    <a:pt x="76" y="319"/>
                  </a:lnTo>
                  <a:lnTo>
                    <a:pt x="77" y="313"/>
                  </a:lnTo>
                  <a:lnTo>
                    <a:pt x="77" y="154"/>
                  </a:lnTo>
                  <a:lnTo>
                    <a:pt x="77" y="154"/>
                  </a:lnTo>
                  <a:lnTo>
                    <a:pt x="86" y="0"/>
                  </a:lnTo>
                  <a:lnTo>
                    <a:pt x="64" y="0"/>
                  </a:lnTo>
                  <a:lnTo>
                    <a:pt x="43"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76" name="Freeform 13">
              <a:extLst>
                <a:ext uri="{FF2B5EF4-FFF2-40B4-BE49-F238E27FC236}">
                  <a16:creationId xmlns:a16="http://schemas.microsoft.com/office/drawing/2014/main" id="{C8D8F262-8EE4-03C2-DDCF-296B1B453F64}"/>
                </a:ext>
              </a:extLst>
            </p:cNvPr>
            <p:cNvSpPr>
              <a:spLocks/>
            </p:cNvSpPr>
            <p:nvPr/>
          </p:nvSpPr>
          <p:spPr bwMode="auto">
            <a:xfrm>
              <a:off x="3941" y="2037"/>
              <a:ext cx="25" cy="163"/>
            </a:xfrm>
            <a:custGeom>
              <a:avLst/>
              <a:gdLst>
                <a:gd name="T0" fmla="*/ 0 w 25"/>
                <a:gd name="T1" fmla="*/ 0 h 163"/>
                <a:gd name="T2" fmla="*/ 7 w 25"/>
                <a:gd name="T3" fmla="*/ 154 h 163"/>
                <a:gd name="T4" fmla="*/ 7 w 25"/>
                <a:gd name="T5" fmla="*/ 154 h 163"/>
                <a:gd name="T6" fmla="*/ 8 w 25"/>
                <a:gd name="T7" fmla="*/ 157 h 163"/>
                <a:gd name="T8" fmla="*/ 10 w 25"/>
                <a:gd name="T9" fmla="*/ 160 h 163"/>
                <a:gd name="T10" fmla="*/ 13 w 25"/>
                <a:gd name="T11" fmla="*/ 161 h 163"/>
                <a:gd name="T12" fmla="*/ 16 w 25"/>
                <a:gd name="T13" fmla="*/ 163 h 163"/>
                <a:gd name="T14" fmla="*/ 16 w 25"/>
                <a:gd name="T15" fmla="*/ 163 h 163"/>
                <a:gd name="T16" fmla="*/ 19 w 25"/>
                <a:gd name="T17" fmla="*/ 161 h 163"/>
                <a:gd name="T18" fmla="*/ 23 w 25"/>
                <a:gd name="T19" fmla="*/ 160 h 163"/>
                <a:gd name="T20" fmla="*/ 25 w 25"/>
                <a:gd name="T21" fmla="*/ 157 h 163"/>
                <a:gd name="T22" fmla="*/ 25 w 25"/>
                <a:gd name="T23" fmla="*/ 154 h 163"/>
                <a:gd name="T24" fmla="*/ 16 w 25"/>
                <a:gd name="T25" fmla="*/ 0 h 163"/>
                <a:gd name="T26" fmla="*/ 0 w 25"/>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63">
                  <a:moveTo>
                    <a:pt x="0" y="0"/>
                  </a:moveTo>
                  <a:lnTo>
                    <a:pt x="7" y="154"/>
                  </a:lnTo>
                  <a:lnTo>
                    <a:pt x="7" y="154"/>
                  </a:lnTo>
                  <a:lnTo>
                    <a:pt x="8" y="157"/>
                  </a:lnTo>
                  <a:lnTo>
                    <a:pt x="10" y="160"/>
                  </a:lnTo>
                  <a:lnTo>
                    <a:pt x="13" y="161"/>
                  </a:lnTo>
                  <a:lnTo>
                    <a:pt x="16" y="163"/>
                  </a:lnTo>
                  <a:lnTo>
                    <a:pt x="16" y="163"/>
                  </a:lnTo>
                  <a:lnTo>
                    <a:pt x="19" y="161"/>
                  </a:lnTo>
                  <a:lnTo>
                    <a:pt x="23" y="160"/>
                  </a:lnTo>
                  <a:lnTo>
                    <a:pt x="25" y="157"/>
                  </a:lnTo>
                  <a:lnTo>
                    <a:pt x="25" y="154"/>
                  </a:lnTo>
                  <a:lnTo>
                    <a:pt x="1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77" name="Freeform 14">
              <a:extLst>
                <a:ext uri="{FF2B5EF4-FFF2-40B4-BE49-F238E27FC236}">
                  <a16:creationId xmlns:a16="http://schemas.microsoft.com/office/drawing/2014/main" id="{719469B6-3A32-18C3-3C2D-3E7CED79BB19}"/>
                </a:ext>
              </a:extLst>
            </p:cNvPr>
            <p:cNvSpPr>
              <a:spLocks/>
            </p:cNvSpPr>
            <p:nvPr/>
          </p:nvSpPr>
          <p:spPr bwMode="auto">
            <a:xfrm>
              <a:off x="4057" y="2037"/>
              <a:ext cx="24" cy="163"/>
            </a:xfrm>
            <a:custGeom>
              <a:avLst/>
              <a:gdLst>
                <a:gd name="T0" fmla="*/ 8 w 24"/>
                <a:gd name="T1" fmla="*/ 0 h 163"/>
                <a:gd name="T2" fmla="*/ 0 w 24"/>
                <a:gd name="T3" fmla="*/ 154 h 163"/>
                <a:gd name="T4" fmla="*/ 0 w 24"/>
                <a:gd name="T5" fmla="*/ 154 h 163"/>
                <a:gd name="T6" fmla="*/ 0 w 24"/>
                <a:gd name="T7" fmla="*/ 157 h 163"/>
                <a:gd name="T8" fmla="*/ 2 w 24"/>
                <a:gd name="T9" fmla="*/ 160 h 163"/>
                <a:gd name="T10" fmla="*/ 5 w 24"/>
                <a:gd name="T11" fmla="*/ 161 h 163"/>
                <a:gd name="T12" fmla="*/ 8 w 24"/>
                <a:gd name="T13" fmla="*/ 163 h 163"/>
                <a:gd name="T14" fmla="*/ 8 w 24"/>
                <a:gd name="T15" fmla="*/ 163 h 163"/>
                <a:gd name="T16" fmla="*/ 12 w 24"/>
                <a:gd name="T17" fmla="*/ 161 h 163"/>
                <a:gd name="T18" fmla="*/ 14 w 24"/>
                <a:gd name="T19" fmla="*/ 160 h 163"/>
                <a:gd name="T20" fmla="*/ 17 w 24"/>
                <a:gd name="T21" fmla="*/ 157 h 163"/>
                <a:gd name="T22" fmla="*/ 18 w 24"/>
                <a:gd name="T23" fmla="*/ 154 h 163"/>
                <a:gd name="T24" fmla="*/ 24 w 24"/>
                <a:gd name="T25" fmla="*/ 0 h 163"/>
                <a:gd name="T26" fmla="*/ 8 w 24"/>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63">
                  <a:moveTo>
                    <a:pt x="8" y="0"/>
                  </a:moveTo>
                  <a:lnTo>
                    <a:pt x="0" y="154"/>
                  </a:lnTo>
                  <a:lnTo>
                    <a:pt x="0" y="154"/>
                  </a:lnTo>
                  <a:lnTo>
                    <a:pt x="0" y="157"/>
                  </a:lnTo>
                  <a:lnTo>
                    <a:pt x="2" y="160"/>
                  </a:lnTo>
                  <a:lnTo>
                    <a:pt x="5" y="161"/>
                  </a:lnTo>
                  <a:lnTo>
                    <a:pt x="8" y="163"/>
                  </a:lnTo>
                  <a:lnTo>
                    <a:pt x="8" y="163"/>
                  </a:lnTo>
                  <a:lnTo>
                    <a:pt x="12" y="161"/>
                  </a:lnTo>
                  <a:lnTo>
                    <a:pt x="14" y="160"/>
                  </a:lnTo>
                  <a:lnTo>
                    <a:pt x="17" y="157"/>
                  </a:lnTo>
                  <a:lnTo>
                    <a:pt x="18" y="154"/>
                  </a:lnTo>
                  <a:lnTo>
                    <a:pt x="24"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78" name="Freeform 15">
              <a:extLst>
                <a:ext uri="{FF2B5EF4-FFF2-40B4-BE49-F238E27FC236}">
                  <a16:creationId xmlns:a16="http://schemas.microsoft.com/office/drawing/2014/main" id="{C2C1DC38-854C-FABF-B87F-1BBA1DC936F7}"/>
                </a:ext>
              </a:extLst>
            </p:cNvPr>
            <p:cNvSpPr>
              <a:spLocks/>
            </p:cNvSpPr>
            <p:nvPr/>
          </p:nvSpPr>
          <p:spPr bwMode="auto">
            <a:xfrm>
              <a:off x="3973" y="1957"/>
              <a:ext cx="76" cy="75"/>
            </a:xfrm>
            <a:custGeom>
              <a:avLst/>
              <a:gdLst>
                <a:gd name="T0" fmla="*/ 38 w 76"/>
                <a:gd name="T1" fmla="*/ 75 h 75"/>
                <a:gd name="T2" fmla="*/ 38 w 76"/>
                <a:gd name="T3" fmla="*/ 75 h 75"/>
                <a:gd name="T4" fmla="*/ 46 w 76"/>
                <a:gd name="T5" fmla="*/ 75 h 75"/>
                <a:gd name="T6" fmla="*/ 53 w 76"/>
                <a:gd name="T7" fmla="*/ 73 h 75"/>
                <a:gd name="T8" fmla="*/ 59 w 76"/>
                <a:gd name="T9" fmla="*/ 69 h 75"/>
                <a:gd name="T10" fmla="*/ 65 w 76"/>
                <a:gd name="T11" fmla="*/ 64 h 75"/>
                <a:gd name="T12" fmla="*/ 70 w 76"/>
                <a:gd name="T13" fmla="*/ 59 h 75"/>
                <a:gd name="T14" fmla="*/ 73 w 76"/>
                <a:gd name="T15" fmla="*/ 52 h 75"/>
                <a:gd name="T16" fmla="*/ 75 w 76"/>
                <a:gd name="T17" fmla="*/ 45 h 75"/>
                <a:gd name="T18" fmla="*/ 76 w 76"/>
                <a:gd name="T19" fmla="*/ 38 h 75"/>
                <a:gd name="T20" fmla="*/ 76 w 76"/>
                <a:gd name="T21" fmla="*/ 38 h 75"/>
                <a:gd name="T22" fmla="*/ 75 w 76"/>
                <a:gd name="T23" fmla="*/ 30 h 75"/>
                <a:gd name="T24" fmla="*/ 73 w 76"/>
                <a:gd name="T25" fmla="*/ 23 h 75"/>
                <a:gd name="T26" fmla="*/ 70 w 76"/>
                <a:gd name="T27" fmla="*/ 17 h 75"/>
                <a:gd name="T28" fmla="*/ 65 w 76"/>
                <a:gd name="T29" fmla="*/ 11 h 75"/>
                <a:gd name="T30" fmla="*/ 59 w 76"/>
                <a:gd name="T31" fmla="*/ 6 h 75"/>
                <a:gd name="T32" fmla="*/ 53 w 76"/>
                <a:gd name="T33" fmla="*/ 3 h 75"/>
                <a:gd name="T34" fmla="*/ 46 w 76"/>
                <a:gd name="T35" fmla="*/ 1 h 75"/>
                <a:gd name="T36" fmla="*/ 38 w 76"/>
                <a:gd name="T37" fmla="*/ 0 h 75"/>
                <a:gd name="T38" fmla="*/ 38 w 76"/>
                <a:gd name="T39" fmla="*/ 0 h 75"/>
                <a:gd name="T40" fmla="*/ 31 w 76"/>
                <a:gd name="T41" fmla="*/ 1 h 75"/>
                <a:gd name="T42" fmla="*/ 23 w 76"/>
                <a:gd name="T43" fmla="*/ 3 h 75"/>
                <a:gd name="T44" fmla="*/ 17 w 76"/>
                <a:gd name="T45" fmla="*/ 6 h 75"/>
                <a:gd name="T46" fmla="*/ 12 w 76"/>
                <a:gd name="T47" fmla="*/ 11 h 75"/>
                <a:gd name="T48" fmla="*/ 7 w 76"/>
                <a:gd name="T49" fmla="*/ 17 h 75"/>
                <a:gd name="T50" fmla="*/ 3 w 76"/>
                <a:gd name="T51" fmla="*/ 23 h 75"/>
                <a:gd name="T52" fmla="*/ 1 w 76"/>
                <a:gd name="T53" fmla="*/ 30 h 75"/>
                <a:gd name="T54" fmla="*/ 0 w 76"/>
                <a:gd name="T55" fmla="*/ 38 h 75"/>
                <a:gd name="T56" fmla="*/ 0 w 76"/>
                <a:gd name="T57" fmla="*/ 38 h 75"/>
                <a:gd name="T58" fmla="*/ 1 w 76"/>
                <a:gd name="T59" fmla="*/ 45 h 75"/>
                <a:gd name="T60" fmla="*/ 3 w 76"/>
                <a:gd name="T61" fmla="*/ 52 h 75"/>
                <a:gd name="T62" fmla="*/ 7 w 76"/>
                <a:gd name="T63" fmla="*/ 59 h 75"/>
                <a:gd name="T64" fmla="*/ 12 w 76"/>
                <a:gd name="T65" fmla="*/ 64 h 75"/>
                <a:gd name="T66" fmla="*/ 17 w 76"/>
                <a:gd name="T67" fmla="*/ 69 h 75"/>
                <a:gd name="T68" fmla="*/ 23 w 76"/>
                <a:gd name="T69" fmla="*/ 73 h 75"/>
                <a:gd name="T70" fmla="*/ 31 w 76"/>
                <a:gd name="T71" fmla="*/ 75 h 75"/>
                <a:gd name="T72" fmla="*/ 38 w 76"/>
                <a:gd name="T73" fmla="*/ 75 h 75"/>
                <a:gd name="T74" fmla="*/ 38 w 76"/>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 h="75">
                  <a:moveTo>
                    <a:pt x="38" y="75"/>
                  </a:moveTo>
                  <a:lnTo>
                    <a:pt x="38" y="75"/>
                  </a:lnTo>
                  <a:lnTo>
                    <a:pt x="46" y="75"/>
                  </a:lnTo>
                  <a:lnTo>
                    <a:pt x="53" y="73"/>
                  </a:lnTo>
                  <a:lnTo>
                    <a:pt x="59" y="69"/>
                  </a:lnTo>
                  <a:lnTo>
                    <a:pt x="65" y="64"/>
                  </a:lnTo>
                  <a:lnTo>
                    <a:pt x="70" y="59"/>
                  </a:lnTo>
                  <a:lnTo>
                    <a:pt x="73" y="52"/>
                  </a:lnTo>
                  <a:lnTo>
                    <a:pt x="75" y="45"/>
                  </a:lnTo>
                  <a:lnTo>
                    <a:pt x="76" y="38"/>
                  </a:lnTo>
                  <a:lnTo>
                    <a:pt x="76" y="38"/>
                  </a:lnTo>
                  <a:lnTo>
                    <a:pt x="75" y="30"/>
                  </a:lnTo>
                  <a:lnTo>
                    <a:pt x="73" y="23"/>
                  </a:lnTo>
                  <a:lnTo>
                    <a:pt x="70" y="17"/>
                  </a:lnTo>
                  <a:lnTo>
                    <a:pt x="65" y="11"/>
                  </a:lnTo>
                  <a:lnTo>
                    <a:pt x="59" y="6"/>
                  </a:lnTo>
                  <a:lnTo>
                    <a:pt x="53" y="3"/>
                  </a:lnTo>
                  <a:lnTo>
                    <a:pt x="46" y="1"/>
                  </a:lnTo>
                  <a:lnTo>
                    <a:pt x="38" y="0"/>
                  </a:lnTo>
                  <a:lnTo>
                    <a:pt x="38" y="0"/>
                  </a:lnTo>
                  <a:lnTo>
                    <a:pt x="31" y="1"/>
                  </a:lnTo>
                  <a:lnTo>
                    <a:pt x="23" y="3"/>
                  </a:lnTo>
                  <a:lnTo>
                    <a:pt x="17" y="6"/>
                  </a:lnTo>
                  <a:lnTo>
                    <a:pt x="12" y="11"/>
                  </a:lnTo>
                  <a:lnTo>
                    <a:pt x="7" y="17"/>
                  </a:lnTo>
                  <a:lnTo>
                    <a:pt x="3" y="23"/>
                  </a:lnTo>
                  <a:lnTo>
                    <a:pt x="1" y="30"/>
                  </a:lnTo>
                  <a:lnTo>
                    <a:pt x="0" y="38"/>
                  </a:lnTo>
                  <a:lnTo>
                    <a:pt x="0" y="38"/>
                  </a:lnTo>
                  <a:lnTo>
                    <a:pt x="1" y="45"/>
                  </a:lnTo>
                  <a:lnTo>
                    <a:pt x="3" y="52"/>
                  </a:lnTo>
                  <a:lnTo>
                    <a:pt x="7" y="59"/>
                  </a:lnTo>
                  <a:lnTo>
                    <a:pt x="12" y="64"/>
                  </a:lnTo>
                  <a:lnTo>
                    <a:pt x="17" y="69"/>
                  </a:lnTo>
                  <a:lnTo>
                    <a:pt x="23" y="73"/>
                  </a:lnTo>
                  <a:lnTo>
                    <a:pt x="31" y="75"/>
                  </a:lnTo>
                  <a:lnTo>
                    <a:pt x="38" y="75"/>
                  </a:lnTo>
                  <a:lnTo>
                    <a:pt x="3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79" name="Freeform 16">
              <a:extLst>
                <a:ext uri="{FF2B5EF4-FFF2-40B4-BE49-F238E27FC236}">
                  <a16:creationId xmlns:a16="http://schemas.microsoft.com/office/drawing/2014/main" id="{9CCB9979-22C1-3762-E819-4432A76BE3B1}"/>
                </a:ext>
              </a:extLst>
            </p:cNvPr>
            <p:cNvSpPr>
              <a:spLocks/>
            </p:cNvSpPr>
            <p:nvPr/>
          </p:nvSpPr>
          <p:spPr bwMode="auto">
            <a:xfrm>
              <a:off x="3968" y="2037"/>
              <a:ext cx="87" cy="327"/>
            </a:xfrm>
            <a:custGeom>
              <a:avLst/>
              <a:gdLst>
                <a:gd name="T0" fmla="*/ 43 w 87"/>
                <a:gd name="T1" fmla="*/ 33 h 327"/>
                <a:gd name="T2" fmla="*/ 22 w 87"/>
                <a:gd name="T3" fmla="*/ 0 h 327"/>
                <a:gd name="T4" fmla="*/ 0 w 87"/>
                <a:gd name="T5" fmla="*/ 0 h 327"/>
                <a:gd name="T6" fmla="*/ 9 w 87"/>
                <a:gd name="T7" fmla="*/ 154 h 327"/>
                <a:gd name="T8" fmla="*/ 9 w 87"/>
                <a:gd name="T9" fmla="*/ 154 h 327"/>
                <a:gd name="T10" fmla="*/ 9 w 87"/>
                <a:gd name="T11" fmla="*/ 313 h 327"/>
                <a:gd name="T12" fmla="*/ 9 w 87"/>
                <a:gd name="T13" fmla="*/ 313 h 327"/>
                <a:gd name="T14" fmla="*/ 10 w 87"/>
                <a:gd name="T15" fmla="*/ 319 h 327"/>
                <a:gd name="T16" fmla="*/ 14 w 87"/>
                <a:gd name="T17" fmla="*/ 323 h 327"/>
                <a:gd name="T18" fmla="*/ 18 w 87"/>
                <a:gd name="T19" fmla="*/ 326 h 327"/>
                <a:gd name="T20" fmla="*/ 23 w 87"/>
                <a:gd name="T21" fmla="*/ 327 h 327"/>
                <a:gd name="T22" fmla="*/ 23 w 87"/>
                <a:gd name="T23" fmla="*/ 327 h 327"/>
                <a:gd name="T24" fmla="*/ 29 w 87"/>
                <a:gd name="T25" fmla="*/ 326 h 327"/>
                <a:gd name="T26" fmla="*/ 34 w 87"/>
                <a:gd name="T27" fmla="*/ 323 h 327"/>
                <a:gd name="T28" fmla="*/ 37 w 87"/>
                <a:gd name="T29" fmla="*/ 319 h 327"/>
                <a:gd name="T30" fmla="*/ 38 w 87"/>
                <a:gd name="T31" fmla="*/ 313 h 327"/>
                <a:gd name="T32" fmla="*/ 38 w 87"/>
                <a:gd name="T33" fmla="*/ 154 h 327"/>
                <a:gd name="T34" fmla="*/ 49 w 87"/>
                <a:gd name="T35" fmla="*/ 154 h 327"/>
                <a:gd name="T36" fmla="*/ 49 w 87"/>
                <a:gd name="T37" fmla="*/ 313 h 327"/>
                <a:gd name="T38" fmla="*/ 49 w 87"/>
                <a:gd name="T39" fmla="*/ 313 h 327"/>
                <a:gd name="T40" fmla="*/ 50 w 87"/>
                <a:gd name="T41" fmla="*/ 319 h 327"/>
                <a:gd name="T42" fmla="*/ 53 w 87"/>
                <a:gd name="T43" fmla="*/ 323 h 327"/>
                <a:gd name="T44" fmla="*/ 57 w 87"/>
                <a:gd name="T45" fmla="*/ 326 h 327"/>
                <a:gd name="T46" fmla="*/ 63 w 87"/>
                <a:gd name="T47" fmla="*/ 327 h 327"/>
                <a:gd name="T48" fmla="*/ 63 w 87"/>
                <a:gd name="T49" fmla="*/ 327 h 327"/>
                <a:gd name="T50" fmla="*/ 69 w 87"/>
                <a:gd name="T51" fmla="*/ 326 h 327"/>
                <a:gd name="T52" fmla="*/ 73 w 87"/>
                <a:gd name="T53" fmla="*/ 323 h 327"/>
                <a:gd name="T54" fmla="*/ 76 w 87"/>
                <a:gd name="T55" fmla="*/ 319 h 327"/>
                <a:gd name="T56" fmla="*/ 77 w 87"/>
                <a:gd name="T57" fmla="*/ 313 h 327"/>
                <a:gd name="T58" fmla="*/ 77 w 87"/>
                <a:gd name="T59" fmla="*/ 154 h 327"/>
                <a:gd name="T60" fmla="*/ 77 w 87"/>
                <a:gd name="T61" fmla="*/ 154 h 327"/>
                <a:gd name="T62" fmla="*/ 87 w 87"/>
                <a:gd name="T63" fmla="*/ 0 h 327"/>
                <a:gd name="T64" fmla="*/ 64 w 87"/>
                <a:gd name="T65" fmla="*/ 0 h 327"/>
                <a:gd name="T66" fmla="*/ 43 w 87"/>
                <a:gd name="T67" fmla="*/ 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 h="327">
                  <a:moveTo>
                    <a:pt x="43" y="33"/>
                  </a:moveTo>
                  <a:lnTo>
                    <a:pt x="22" y="0"/>
                  </a:lnTo>
                  <a:lnTo>
                    <a:pt x="0" y="0"/>
                  </a:lnTo>
                  <a:lnTo>
                    <a:pt x="9" y="154"/>
                  </a:lnTo>
                  <a:lnTo>
                    <a:pt x="9" y="154"/>
                  </a:lnTo>
                  <a:lnTo>
                    <a:pt x="9" y="313"/>
                  </a:lnTo>
                  <a:lnTo>
                    <a:pt x="9" y="313"/>
                  </a:lnTo>
                  <a:lnTo>
                    <a:pt x="10" y="319"/>
                  </a:lnTo>
                  <a:lnTo>
                    <a:pt x="14" y="323"/>
                  </a:lnTo>
                  <a:lnTo>
                    <a:pt x="18" y="326"/>
                  </a:lnTo>
                  <a:lnTo>
                    <a:pt x="23" y="327"/>
                  </a:lnTo>
                  <a:lnTo>
                    <a:pt x="23" y="327"/>
                  </a:lnTo>
                  <a:lnTo>
                    <a:pt x="29" y="326"/>
                  </a:lnTo>
                  <a:lnTo>
                    <a:pt x="34" y="323"/>
                  </a:lnTo>
                  <a:lnTo>
                    <a:pt x="37" y="319"/>
                  </a:lnTo>
                  <a:lnTo>
                    <a:pt x="38" y="313"/>
                  </a:lnTo>
                  <a:lnTo>
                    <a:pt x="38" y="154"/>
                  </a:lnTo>
                  <a:lnTo>
                    <a:pt x="49" y="154"/>
                  </a:lnTo>
                  <a:lnTo>
                    <a:pt x="49" y="313"/>
                  </a:lnTo>
                  <a:lnTo>
                    <a:pt x="49" y="313"/>
                  </a:lnTo>
                  <a:lnTo>
                    <a:pt x="50" y="319"/>
                  </a:lnTo>
                  <a:lnTo>
                    <a:pt x="53" y="323"/>
                  </a:lnTo>
                  <a:lnTo>
                    <a:pt x="57" y="326"/>
                  </a:lnTo>
                  <a:lnTo>
                    <a:pt x="63" y="327"/>
                  </a:lnTo>
                  <a:lnTo>
                    <a:pt x="63" y="327"/>
                  </a:lnTo>
                  <a:lnTo>
                    <a:pt x="69" y="326"/>
                  </a:lnTo>
                  <a:lnTo>
                    <a:pt x="73" y="323"/>
                  </a:lnTo>
                  <a:lnTo>
                    <a:pt x="76" y="319"/>
                  </a:lnTo>
                  <a:lnTo>
                    <a:pt x="77" y="313"/>
                  </a:lnTo>
                  <a:lnTo>
                    <a:pt x="77" y="154"/>
                  </a:lnTo>
                  <a:lnTo>
                    <a:pt x="77" y="154"/>
                  </a:lnTo>
                  <a:lnTo>
                    <a:pt x="87" y="0"/>
                  </a:lnTo>
                  <a:lnTo>
                    <a:pt x="64" y="0"/>
                  </a:lnTo>
                  <a:lnTo>
                    <a:pt x="43"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latin typeface="Arial (body)"/>
              </a:endParaRPr>
            </a:p>
          </p:txBody>
        </p:sp>
      </p:grpSp>
      <p:sp>
        <p:nvSpPr>
          <p:cNvPr id="80" name="Freeform 5">
            <a:extLst>
              <a:ext uri="{FF2B5EF4-FFF2-40B4-BE49-F238E27FC236}">
                <a16:creationId xmlns:a16="http://schemas.microsoft.com/office/drawing/2014/main" id="{BCDFDF54-CC3A-52E9-1DF9-FB63898B671E}"/>
              </a:ext>
            </a:extLst>
          </p:cNvPr>
          <p:cNvSpPr>
            <a:spLocks noEditPoints="1"/>
          </p:cNvSpPr>
          <p:nvPr/>
        </p:nvSpPr>
        <p:spPr bwMode="auto">
          <a:xfrm>
            <a:off x="4925720" y="3287747"/>
            <a:ext cx="1351478" cy="1372266"/>
          </a:xfrm>
          <a:custGeom>
            <a:avLst/>
            <a:gdLst>
              <a:gd name="T0" fmla="*/ 379 w 480"/>
              <a:gd name="T1" fmla="*/ 121 h 481"/>
              <a:gd name="T2" fmla="*/ 376 w 480"/>
              <a:gd name="T3" fmla="*/ 103 h 481"/>
              <a:gd name="T4" fmla="*/ 370 w 480"/>
              <a:gd name="T5" fmla="*/ 82 h 481"/>
              <a:gd name="T6" fmla="*/ 361 w 480"/>
              <a:gd name="T7" fmla="*/ 62 h 481"/>
              <a:gd name="T8" fmla="*/ 347 w 480"/>
              <a:gd name="T9" fmla="*/ 43 h 481"/>
              <a:gd name="T10" fmla="*/ 329 w 480"/>
              <a:gd name="T11" fmla="*/ 26 h 481"/>
              <a:gd name="T12" fmla="*/ 306 w 480"/>
              <a:gd name="T13" fmla="*/ 13 h 481"/>
              <a:gd name="T14" fmla="*/ 276 w 480"/>
              <a:gd name="T15" fmla="*/ 3 h 481"/>
              <a:gd name="T16" fmla="*/ 240 w 480"/>
              <a:gd name="T17" fmla="*/ 0 h 481"/>
              <a:gd name="T18" fmla="*/ 221 w 480"/>
              <a:gd name="T19" fmla="*/ 1 h 481"/>
              <a:gd name="T20" fmla="*/ 188 w 480"/>
              <a:gd name="T21" fmla="*/ 7 h 481"/>
              <a:gd name="T22" fmla="*/ 162 w 480"/>
              <a:gd name="T23" fmla="*/ 19 h 481"/>
              <a:gd name="T24" fmla="*/ 141 w 480"/>
              <a:gd name="T25" fmla="*/ 35 h 481"/>
              <a:gd name="T26" fmla="*/ 125 w 480"/>
              <a:gd name="T27" fmla="*/ 53 h 481"/>
              <a:gd name="T28" fmla="*/ 113 w 480"/>
              <a:gd name="T29" fmla="*/ 73 h 481"/>
              <a:gd name="T30" fmla="*/ 106 w 480"/>
              <a:gd name="T31" fmla="*/ 93 h 481"/>
              <a:gd name="T32" fmla="*/ 101 w 480"/>
              <a:gd name="T33" fmla="*/ 112 h 481"/>
              <a:gd name="T34" fmla="*/ 0 w 480"/>
              <a:gd name="T35" fmla="*/ 121 h 481"/>
              <a:gd name="T36" fmla="*/ 480 w 480"/>
              <a:gd name="T37" fmla="*/ 481 h 481"/>
              <a:gd name="T38" fmla="*/ 379 w 480"/>
              <a:gd name="T39" fmla="*/ 121 h 481"/>
              <a:gd name="T40" fmla="*/ 148 w 480"/>
              <a:gd name="T41" fmla="*/ 79 h 481"/>
              <a:gd name="T42" fmla="*/ 164 w 480"/>
              <a:gd name="T43" fmla="*/ 59 h 481"/>
              <a:gd name="T44" fmla="*/ 184 w 480"/>
              <a:gd name="T45" fmla="*/ 45 h 481"/>
              <a:gd name="T46" fmla="*/ 209 w 480"/>
              <a:gd name="T47" fmla="*/ 37 h 481"/>
              <a:gd name="T48" fmla="*/ 240 w 480"/>
              <a:gd name="T49" fmla="*/ 34 h 481"/>
              <a:gd name="T50" fmla="*/ 256 w 480"/>
              <a:gd name="T51" fmla="*/ 35 h 481"/>
              <a:gd name="T52" fmla="*/ 283 w 480"/>
              <a:gd name="T53" fmla="*/ 40 h 481"/>
              <a:gd name="T54" fmla="*/ 307 w 480"/>
              <a:gd name="T55" fmla="*/ 52 h 481"/>
              <a:gd name="T56" fmla="*/ 325 w 480"/>
              <a:gd name="T57" fmla="*/ 69 h 481"/>
              <a:gd name="T58" fmla="*/ 331 w 480"/>
              <a:gd name="T59" fmla="*/ 79 h 481"/>
              <a:gd name="T60" fmla="*/ 340 w 480"/>
              <a:gd name="T61" fmla="*/ 103 h 481"/>
              <a:gd name="T62" fmla="*/ 345 w 480"/>
              <a:gd name="T63" fmla="*/ 121 h 481"/>
              <a:gd name="T64" fmla="*/ 135 w 480"/>
              <a:gd name="T65" fmla="*/ 121 h 481"/>
              <a:gd name="T66" fmla="*/ 139 w 480"/>
              <a:gd name="T67" fmla="*/ 103 h 481"/>
              <a:gd name="T68" fmla="*/ 148 w 480"/>
              <a:gd name="T69" fmla="*/ 79 h 481"/>
              <a:gd name="T70" fmla="*/ 357 w 480"/>
              <a:gd name="T71" fmla="*/ 326 h 481"/>
              <a:gd name="T72" fmla="*/ 265 w 480"/>
              <a:gd name="T73" fmla="*/ 419 h 481"/>
              <a:gd name="T74" fmla="*/ 214 w 480"/>
              <a:gd name="T75" fmla="*/ 326 h 481"/>
              <a:gd name="T76" fmla="*/ 122 w 480"/>
              <a:gd name="T77" fmla="*/ 275 h 481"/>
              <a:gd name="T78" fmla="*/ 214 w 480"/>
              <a:gd name="T79" fmla="*/ 183 h 481"/>
              <a:gd name="T80" fmla="*/ 265 w 480"/>
              <a:gd name="T81" fmla="*/ 275 h 481"/>
              <a:gd name="T82" fmla="*/ 357 w 480"/>
              <a:gd name="T83"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0" h="481">
                <a:moveTo>
                  <a:pt x="379" y="121"/>
                </a:moveTo>
                <a:lnTo>
                  <a:pt x="379" y="121"/>
                </a:lnTo>
                <a:lnTo>
                  <a:pt x="377" y="112"/>
                </a:lnTo>
                <a:lnTo>
                  <a:pt x="376" y="103"/>
                </a:lnTo>
                <a:lnTo>
                  <a:pt x="373" y="93"/>
                </a:lnTo>
                <a:lnTo>
                  <a:pt x="370" y="82"/>
                </a:lnTo>
                <a:lnTo>
                  <a:pt x="366" y="73"/>
                </a:lnTo>
                <a:lnTo>
                  <a:pt x="361" y="62"/>
                </a:lnTo>
                <a:lnTo>
                  <a:pt x="354" y="53"/>
                </a:lnTo>
                <a:lnTo>
                  <a:pt x="347" y="43"/>
                </a:lnTo>
                <a:lnTo>
                  <a:pt x="338" y="35"/>
                </a:lnTo>
                <a:lnTo>
                  <a:pt x="329" y="26"/>
                </a:lnTo>
                <a:lnTo>
                  <a:pt x="317" y="19"/>
                </a:lnTo>
                <a:lnTo>
                  <a:pt x="306" y="13"/>
                </a:lnTo>
                <a:lnTo>
                  <a:pt x="291" y="7"/>
                </a:lnTo>
                <a:lnTo>
                  <a:pt x="276" y="3"/>
                </a:lnTo>
                <a:lnTo>
                  <a:pt x="258" y="1"/>
                </a:lnTo>
                <a:lnTo>
                  <a:pt x="240" y="0"/>
                </a:lnTo>
                <a:lnTo>
                  <a:pt x="240" y="0"/>
                </a:lnTo>
                <a:lnTo>
                  <a:pt x="221" y="1"/>
                </a:lnTo>
                <a:lnTo>
                  <a:pt x="204" y="3"/>
                </a:lnTo>
                <a:lnTo>
                  <a:pt x="188" y="7"/>
                </a:lnTo>
                <a:lnTo>
                  <a:pt x="174" y="13"/>
                </a:lnTo>
                <a:lnTo>
                  <a:pt x="162" y="19"/>
                </a:lnTo>
                <a:lnTo>
                  <a:pt x="151" y="26"/>
                </a:lnTo>
                <a:lnTo>
                  <a:pt x="141" y="35"/>
                </a:lnTo>
                <a:lnTo>
                  <a:pt x="132" y="43"/>
                </a:lnTo>
                <a:lnTo>
                  <a:pt x="125" y="53"/>
                </a:lnTo>
                <a:lnTo>
                  <a:pt x="118" y="62"/>
                </a:lnTo>
                <a:lnTo>
                  <a:pt x="113" y="73"/>
                </a:lnTo>
                <a:lnTo>
                  <a:pt x="109" y="82"/>
                </a:lnTo>
                <a:lnTo>
                  <a:pt x="106" y="93"/>
                </a:lnTo>
                <a:lnTo>
                  <a:pt x="104" y="103"/>
                </a:lnTo>
                <a:lnTo>
                  <a:pt x="101" y="112"/>
                </a:lnTo>
                <a:lnTo>
                  <a:pt x="101" y="121"/>
                </a:lnTo>
                <a:lnTo>
                  <a:pt x="0" y="121"/>
                </a:lnTo>
                <a:lnTo>
                  <a:pt x="0" y="481"/>
                </a:lnTo>
                <a:lnTo>
                  <a:pt x="480" y="481"/>
                </a:lnTo>
                <a:lnTo>
                  <a:pt x="480" y="121"/>
                </a:lnTo>
                <a:lnTo>
                  <a:pt x="379" y="121"/>
                </a:lnTo>
                <a:close/>
                <a:moveTo>
                  <a:pt x="148" y="79"/>
                </a:moveTo>
                <a:lnTo>
                  <a:pt x="148" y="79"/>
                </a:lnTo>
                <a:lnTo>
                  <a:pt x="155" y="69"/>
                </a:lnTo>
                <a:lnTo>
                  <a:pt x="164" y="59"/>
                </a:lnTo>
                <a:lnTo>
                  <a:pt x="173" y="52"/>
                </a:lnTo>
                <a:lnTo>
                  <a:pt x="184" y="45"/>
                </a:lnTo>
                <a:lnTo>
                  <a:pt x="197" y="40"/>
                </a:lnTo>
                <a:lnTo>
                  <a:pt x="209" y="37"/>
                </a:lnTo>
                <a:lnTo>
                  <a:pt x="224" y="35"/>
                </a:lnTo>
                <a:lnTo>
                  <a:pt x="240" y="34"/>
                </a:lnTo>
                <a:lnTo>
                  <a:pt x="240" y="34"/>
                </a:lnTo>
                <a:lnTo>
                  <a:pt x="256" y="35"/>
                </a:lnTo>
                <a:lnTo>
                  <a:pt x="270" y="37"/>
                </a:lnTo>
                <a:lnTo>
                  <a:pt x="283" y="40"/>
                </a:lnTo>
                <a:lnTo>
                  <a:pt x="295" y="45"/>
                </a:lnTo>
                <a:lnTo>
                  <a:pt x="307" y="52"/>
                </a:lnTo>
                <a:lnTo>
                  <a:pt x="316" y="59"/>
                </a:lnTo>
                <a:lnTo>
                  <a:pt x="325" y="69"/>
                </a:lnTo>
                <a:lnTo>
                  <a:pt x="331" y="79"/>
                </a:lnTo>
                <a:lnTo>
                  <a:pt x="331" y="79"/>
                </a:lnTo>
                <a:lnTo>
                  <a:pt x="337" y="91"/>
                </a:lnTo>
                <a:lnTo>
                  <a:pt x="340" y="103"/>
                </a:lnTo>
                <a:lnTo>
                  <a:pt x="344" y="113"/>
                </a:lnTo>
                <a:lnTo>
                  <a:pt x="345" y="121"/>
                </a:lnTo>
                <a:lnTo>
                  <a:pt x="135" y="121"/>
                </a:lnTo>
                <a:lnTo>
                  <a:pt x="135" y="121"/>
                </a:lnTo>
                <a:lnTo>
                  <a:pt x="136" y="113"/>
                </a:lnTo>
                <a:lnTo>
                  <a:pt x="139" y="103"/>
                </a:lnTo>
                <a:lnTo>
                  <a:pt x="143" y="91"/>
                </a:lnTo>
                <a:lnTo>
                  <a:pt x="148" y="79"/>
                </a:lnTo>
                <a:lnTo>
                  <a:pt x="148" y="79"/>
                </a:lnTo>
                <a:close/>
                <a:moveTo>
                  <a:pt x="357" y="326"/>
                </a:moveTo>
                <a:lnTo>
                  <a:pt x="265" y="326"/>
                </a:lnTo>
                <a:lnTo>
                  <a:pt x="265" y="419"/>
                </a:lnTo>
                <a:lnTo>
                  <a:pt x="214" y="419"/>
                </a:lnTo>
                <a:lnTo>
                  <a:pt x="214" y="326"/>
                </a:lnTo>
                <a:lnTo>
                  <a:pt x="122" y="326"/>
                </a:lnTo>
                <a:lnTo>
                  <a:pt x="122" y="275"/>
                </a:lnTo>
                <a:lnTo>
                  <a:pt x="214" y="275"/>
                </a:lnTo>
                <a:lnTo>
                  <a:pt x="214" y="183"/>
                </a:lnTo>
                <a:lnTo>
                  <a:pt x="265" y="183"/>
                </a:lnTo>
                <a:lnTo>
                  <a:pt x="265" y="275"/>
                </a:lnTo>
                <a:lnTo>
                  <a:pt x="357" y="275"/>
                </a:lnTo>
                <a:lnTo>
                  <a:pt x="357" y="326"/>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GB" dirty="0">
              <a:latin typeface="Arial (body)"/>
            </a:endParaRPr>
          </a:p>
        </p:txBody>
      </p:sp>
      <p:sp>
        <p:nvSpPr>
          <p:cNvPr id="81" name="Arrow: Right 80">
            <a:extLst>
              <a:ext uri="{FF2B5EF4-FFF2-40B4-BE49-F238E27FC236}">
                <a16:creationId xmlns:a16="http://schemas.microsoft.com/office/drawing/2014/main" id="{DC8B34D5-2B95-EA87-24B7-5A290FEDD1E4}"/>
              </a:ext>
            </a:extLst>
          </p:cNvPr>
          <p:cNvSpPr/>
          <p:nvPr/>
        </p:nvSpPr>
        <p:spPr bwMode="gray">
          <a:xfrm>
            <a:off x="3748838" y="3933593"/>
            <a:ext cx="529937" cy="272226"/>
          </a:xfrm>
          <a:prstGeom prst="rightArrow">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9977" tIns="46788" rIns="89977" bIns="46788" numCol="1" rtlCol="0" anchor="ctr" anchorCtr="0" compatLnSpc="1">
            <a:prstTxWarp prst="textNoShape">
              <a:avLst/>
            </a:prstTxWarp>
          </a:bodyPr>
          <a:lstStyle/>
          <a:p>
            <a:pPr algn="ctr" defTabSz="914126" fontAlgn="base">
              <a:spcAft>
                <a:spcPct val="0"/>
              </a:spcAft>
              <a:buClr>
                <a:schemeClr val="accent2"/>
              </a:buClr>
            </a:pPr>
            <a:endParaRPr lang="en-GB" sz="1600" b="0" dirty="0" err="1">
              <a:latin typeface="Arial (body)"/>
            </a:endParaRPr>
          </a:p>
        </p:txBody>
      </p:sp>
      <p:sp>
        <p:nvSpPr>
          <p:cNvPr id="82" name="Arrow: Right 81">
            <a:extLst>
              <a:ext uri="{FF2B5EF4-FFF2-40B4-BE49-F238E27FC236}">
                <a16:creationId xmlns:a16="http://schemas.microsoft.com/office/drawing/2014/main" id="{9BAFFB08-09CD-0DD1-1AC5-79E79B7D5D2B}"/>
              </a:ext>
            </a:extLst>
          </p:cNvPr>
          <p:cNvSpPr/>
          <p:nvPr/>
        </p:nvSpPr>
        <p:spPr bwMode="gray">
          <a:xfrm>
            <a:off x="6913297" y="3922292"/>
            <a:ext cx="529937" cy="272226"/>
          </a:xfrm>
          <a:prstGeom prst="rightArrow">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9977" tIns="46788" rIns="89977" bIns="46788" numCol="1" rtlCol="0" anchor="ctr" anchorCtr="0" compatLnSpc="1">
            <a:prstTxWarp prst="textNoShape">
              <a:avLst/>
            </a:prstTxWarp>
          </a:bodyPr>
          <a:lstStyle/>
          <a:p>
            <a:pPr algn="ctr" defTabSz="914126" fontAlgn="base">
              <a:spcAft>
                <a:spcPct val="0"/>
              </a:spcAft>
              <a:buClr>
                <a:schemeClr val="accent2"/>
              </a:buClr>
            </a:pPr>
            <a:endParaRPr lang="en-GB" sz="1600" b="0" dirty="0" err="1">
              <a:latin typeface="Arial (body)"/>
            </a:endParaRPr>
          </a:p>
        </p:txBody>
      </p:sp>
      <p:sp>
        <p:nvSpPr>
          <p:cNvPr id="83" name="Freeform: Shape 82">
            <a:extLst>
              <a:ext uri="{FF2B5EF4-FFF2-40B4-BE49-F238E27FC236}">
                <a16:creationId xmlns:a16="http://schemas.microsoft.com/office/drawing/2014/main" id="{63D08459-D8CE-4620-41EE-38E77036F855}"/>
              </a:ext>
            </a:extLst>
          </p:cNvPr>
          <p:cNvSpPr>
            <a:spLocks noChangeArrowheads="1"/>
          </p:cNvSpPr>
          <p:nvPr/>
        </p:nvSpPr>
        <p:spPr bwMode="auto">
          <a:xfrm>
            <a:off x="8826864" y="3839237"/>
            <a:ext cx="707842" cy="709015"/>
          </a:xfrm>
          <a:custGeom>
            <a:avLst/>
            <a:gdLst>
              <a:gd name="connsiteX0" fmla="*/ 409576 w 708026"/>
              <a:gd name="connsiteY0" fmla="*/ 196850 h 711202"/>
              <a:gd name="connsiteX1" fmla="*/ 376238 w 708026"/>
              <a:gd name="connsiteY1" fmla="*/ 230188 h 711202"/>
              <a:gd name="connsiteX2" fmla="*/ 479426 w 708026"/>
              <a:gd name="connsiteY2" fmla="*/ 331788 h 711202"/>
              <a:gd name="connsiteX3" fmla="*/ 141288 w 708026"/>
              <a:gd name="connsiteY3" fmla="*/ 331788 h 711202"/>
              <a:gd name="connsiteX4" fmla="*/ 141288 w 708026"/>
              <a:gd name="connsiteY4" fmla="*/ 377825 h 711202"/>
              <a:gd name="connsiteX5" fmla="*/ 479426 w 708026"/>
              <a:gd name="connsiteY5" fmla="*/ 377825 h 711202"/>
              <a:gd name="connsiteX6" fmla="*/ 376238 w 708026"/>
              <a:gd name="connsiteY6" fmla="*/ 481013 h 711202"/>
              <a:gd name="connsiteX7" fmla="*/ 409576 w 708026"/>
              <a:gd name="connsiteY7" fmla="*/ 512763 h 711202"/>
              <a:gd name="connsiteX8" fmla="*/ 565151 w 708026"/>
              <a:gd name="connsiteY8" fmla="*/ 355600 h 711202"/>
              <a:gd name="connsiteX9" fmla="*/ 354013 w 708026"/>
              <a:gd name="connsiteY9" fmla="*/ 0 h 711202"/>
              <a:gd name="connsiteX10" fmla="*/ 708026 w 708026"/>
              <a:gd name="connsiteY10" fmla="*/ 355601 h 711202"/>
              <a:gd name="connsiteX11" fmla="*/ 354013 w 708026"/>
              <a:gd name="connsiteY11" fmla="*/ 711202 h 711202"/>
              <a:gd name="connsiteX12" fmla="*/ 0 w 708026"/>
              <a:gd name="connsiteY12" fmla="*/ 355601 h 711202"/>
              <a:gd name="connsiteX13" fmla="*/ 354013 w 708026"/>
              <a:gd name="connsiteY13" fmla="*/ 0 h 71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8026" h="711202">
                <a:moveTo>
                  <a:pt x="409576" y="196850"/>
                </a:moveTo>
                <a:lnTo>
                  <a:pt x="376238" y="230188"/>
                </a:lnTo>
                <a:lnTo>
                  <a:pt x="479426" y="331788"/>
                </a:lnTo>
                <a:lnTo>
                  <a:pt x="141288" y="331788"/>
                </a:lnTo>
                <a:lnTo>
                  <a:pt x="141288" y="377825"/>
                </a:lnTo>
                <a:lnTo>
                  <a:pt x="479426" y="377825"/>
                </a:lnTo>
                <a:lnTo>
                  <a:pt x="376238" y="481013"/>
                </a:lnTo>
                <a:lnTo>
                  <a:pt x="409576" y="512763"/>
                </a:lnTo>
                <a:lnTo>
                  <a:pt x="565151" y="355600"/>
                </a:lnTo>
                <a:close/>
                <a:moveTo>
                  <a:pt x="354013" y="0"/>
                </a:moveTo>
                <a:cubicBezTo>
                  <a:pt x="549529" y="0"/>
                  <a:pt x="708026" y="159208"/>
                  <a:pt x="708026" y="355601"/>
                </a:cubicBezTo>
                <a:cubicBezTo>
                  <a:pt x="708026" y="551994"/>
                  <a:pt x="549529" y="711202"/>
                  <a:pt x="354013" y="711202"/>
                </a:cubicBezTo>
                <a:cubicBezTo>
                  <a:pt x="158497" y="711202"/>
                  <a:pt x="0" y="551994"/>
                  <a:pt x="0" y="355601"/>
                </a:cubicBezTo>
                <a:cubicBezTo>
                  <a:pt x="0" y="159208"/>
                  <a:pt x="158497" y="0"/>
                  <a:pt x="354013" y="0"/>
                </a:cubicBezTo>
                <a:close/>
              </a:path>
            </a:pathLst>
          </a:custGeom>
          <a:solidFill>
            <a:schemeClr val="accent6"/>
          </a:solidFill>
          <a:ln>
            <a:noFill/>
          </a:ln>
        </p:spPr>
        <p:txBody>
          <a:bodyPr vert="horz" wrap="square" lIns="91416" tIns="45708" rIns="91416" bIns="45708" numCol="1" anchor="t" anchorCtr="0" compatLnSpc="1">
            <a:prstTxWarp prst="textNoShape">
              <a:avLst/>
            </a:prstTxWarp>
            <a:noAutofit/>
          </a:bodyPr>
          <a:lstStyle/>
          <a:p>
            <a:endParaRPr lang="en-GB" dirty="0">
              <a:latin typeface="Arial (body)"/>
            </a:endParaRPr>
          </a:p>
        </p:txBody>
      </p:sp>
      <p:sp>
        <p:nvSpPr>
          <p:cNvPr id="84" name="Freeform: Shape 83">
            <a:extLst>
              <a:ext uri="{FF2B5EF4-FFF2-40B4-BE49-F238E27FC236}">
                <a16:creationId xmlns:a16="http://schemas.microsoft.com/office/drawing/2014/main" id="{1B77E0D7-5C66-DBD8-B279-7165F8FF51E5}"/>
              </a:ext>
            </a:extLst>
          </p:cNvPr>
          <p:cNvSpPr>
            <a:spLocks noChangeArrowheads="1"/>
          </p:cNvSpPr>
          <p:nvPr/>
        </p:nvSpPr>
        <p:spPr bwMode="auto">
          <a:xfrm>
            <a:off x="8799213" y="4885961"/>
            <a:ext cx="709015" cy="709015"/>
          </a:xfrm>
          <a:custGeom>
            <a:avLst/>
            <a:gdLst>
              <a:gd name="connsiteX0" fmla="*/ 219076 w 704852"/>
              <a:gd name="connsiteY0" fmla="*/ 185737 h 704850"/>
              <a:gd name="connsiteX1" fmla="*/ 187326 w 704852"/>
              <a:gd name="connsiteY1" fmla="*/ 219075 h 704850"/>
              <a:gd name="connsiteX2" fmla="*/ 320676 w 704852"/>
              <a:gd name="connsiteY2" fmla="*/ 352425 h 704850"/>
              <a:gd name="connsiteX3" fmla="*/ 187326 w 704852"/>
              <a:gd name="connsiteY3" fmla="*/ 485775 h 704850"/>
              <a:gd name="connsiteX4" fmla="*/ 219076 w 704852"/>
              <a:gd name="connsiteY4" fmla="*/ 517525 h 704850"/>
              <a:gd name="connsiteX5" fmla="*/ 352426 w 704852"/>
              <a:gd name="connsiteY5" fmla="*/ 384175 h 704850"/>
              <a:gd name="connsiteX6" fmla="*/ 485777 w 704852"/>
              <a:gd name="connsiteY6" fmla="*/ 517525 h 704850"/>
              <a:gd name="connsiteX7" fmla="*/ 519114 w 704852"/>
              <a:gd name="connsiteY7" fmla="*/ 485775 h 704850"/>
              <a:gd name="connsiteX8" fmla="*/ 384176 w 704852"/>
              <a:gd name="connsiteY8" fmla="*/ 352425 h 704850"/>
              <a:gd name="connsiteX9" fmla="*/ 519114 w 704852"/>
              <a:gd name="connsiteY9" fmla="*/ 219075 h 704850"/>
              <a:gd name="connsiteX10" fmla="*/ 485777 w 704852"/>
              <a:gd name="connsiteY10" fmla="*/ 185737 h 704850"/>
              <a:gd name="connsiteX11" fmla="*/ 352426 w 704852"/>
              <a:gd name="connsiteY11" fmla="*/ 319087 h 704850"/>
              <a:gd name="connsiteX12" fmla="*/ 352426 w 704852"/>
              <a:gd name="connsiteY12" fmla="*/ 0 h 704850"/>
              <a:gd name="connsiteX13" fmla="*/ 704852 w 704852"/>
              <a:gd name="connsiteY13" fmla="*/ 352425 h 704850"/>
              <a:gd name="connsiteX14" fmla="*/ 352426 w 704852"/>
              <a:gd name="connsiteY14" fmla="*/ 704850 h 704850"/>
              <a:gd name="connsiteX15" fmla="*/ 0 w 704852"/>
              <a:gd name="connsiteY15" fmla="*/ 352425 h 704850"/>
              <a:gd name="connsiteX16" fmla="*/ 352426 w 704852"/>
              <a:gd name="connsiteY16" fmla="*/ 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4852" h="704850">
                <a:moveTo>
                  <a:pt x="219076" y="185737"/>
                </a:moveTo>
                <a:lnTo>
                  <a:pt x="187326" y="219075"/>
                </a:lnTo>
                <a:lnTo>
                  <a:pt x="320676" y="352425"/>
                </a:lnTo>
                <a:lnTo>
                  <a:pt x="187326" y="485775"/>
                </a:lnTo>
                <a:lnTo>
                  <a:pt x="219076" y="517525"/>
                </a:lnTo>
                <a:lnTo>
                  <a:pt x="352426" y="384175"/>
                </a:lnTo>
                <a:lnTo>
                  <a:pt x="485777" y="517525"/>
                </a:lnTo>
                <a:lnTo>
                  <a:pt x="519114" y="485775"/>
                </a:lnTo>
                <a:lnTo>
                  <a:pt x="384176" y="352425"/>
                </a:lnTo>
                <a:lnTo>
                  <a:pt x="519114" y="219075"/>
                </a:lnTo>
                <a:lnTo>
                  <a:pt x="485777" y="185737"/>
                </a:lnTo>
                <a:lnTo>
                  <a:pt x="352426" y="319087"/>
                </a:lnTo>
                <a:close/>
                <a:moveTo>
                  <a:pt x="352426" y="0"/>
                </a:moveTo>
                <a:cubicBezTo>
                  <a:pt x="547066" y="0"/>
                  <a:pt x="704852" y="157786"/>
                  <a:pt x="704852" y="352425"/>
                </a:cubicBezTo>
                <a:cubicBezTo>
                  <a:pt x="704852" y="547064"/>
                  <a:pt x="547066" y="704850"/>
                  <a:pt x="352426" y="704850"/>
                </a:cubicBezTo>
                <a:cubicBezTo>
                  <a:pt x="157786" y="704850"/>
                  <a:pt x="0" y="547064"/>
                  <a:pt x="0" y="352425"/>
                </a:cubicBezTo>
                <a:cubicBezTo>
                  <a:pt x="0" y="157786"/>
                  <a:pt x="157786" y="0"/>
                  <a:pt x="352426" y="0"/>
                </a:cubicBezTo>
                <a:close/>
              </a:path>
            </a:pathLst>
          </a:custGeom>
          <a:solidFill>
            <a:schemeClr val="accent3"/>
          </a:solidFill>
          <a:ln>
            <a:noFill/>
          </a:ln>
        </p:spPr>
        <p:txBody>
          <a:bodyPr vert="horz" wrap="square" lIns="91416" tIns="45708" rIns="91416" bIns="45708" numCol="1" anchor="t" anchorCtr="0" compatLnSpc="1">
            <a:prstTxWarp prst="textNoShape">
              <a:avLst/>
            </a:prstTxWarp>
            <a:noAutofit/>
          </a:bodyPr>
          <a:lstStyle/>
          <a:p>
            <a:endParaRPr lang="en-GB" dirty="0">
              <a:latin typeface="Arial (body)"/>
            </a:endParaRPr>
          </a:p>
        </p:txBody>
      </p:sp>
      <p:sp>
        <p:nvSpPr>
          <p:cNvPr id="85" name="Freeform: Shape 84">
            <a:extLst>
              <a:ext uri="{FF2B5EF4-FFF2-40B4-BE49-F238E27FC236}">
                <a16:creationId xmlns:a16="http://schemas.microsoft.com/office/drawing/2014/main" id="{473845AB-1C6C-FD3D-4248-5D15659C0566}"/>
              </a:ext>
            </a:extLst>
          </p:cNvPr>
          <p:cNvSpPr>
            <a:spLocks noChangeArrowheads="1"/>
          </p:cNvSpPr>
          <p:nvPr/>
        </p:nvSpPr>
        <p:spPr bwMode="auto">
          <a:xfrm>
            <a:off x="8764261" y="2851741"/>
            <a:ext cx="709429" cy="709429"/>
          </a:xfrm>
          <a:custGeom>
            <a:avLst/>
            <a:gdLst>
              <a:gd name="connsiteX0" fmla="*/ 534988 w 709614"/>
              <a:gd name="connsiteY0" fmla="*/ 203200 h 709614"/>
              <a:gd name="connsiteX1" fmla="*/ 296863 w 709614"/>
              <a:gd name="connsiteY1" fmla="*/ 442913 h 709614"/>
              <a:gd name="connsiteX2" fmla="*/ 174626 w 709614"/>
              <a:gd name="connsiteY2" fmla="*/ 320675 h 709614"/>
              <a:gd name="connsiteX3" fmla="*/ 141288 w 709614"/>
              <a:gd name="connsiteY3" fmla="*/ 350838 h 709614"/>
              <a:gd name="connsiteX4" fmla="*/ 265113 w 709614"/>
              <a:gd name="connsiteY4" fmla="*/ 474663 h 709614"/>
              <a:gd name="connsiteX5" fmla="*/ 296863 w 709614"/>
              <a:gd name="connsiteY5" fmla="*/ 506413 h 709614"/>
              <a:gd name="connsiteX6" fmla="*/ 566738 w 709614"/>
              <a:gd name="connsiteY6" fmla="*/ 234950 h 709614"/>
              <a:gd name="connsiteX7" fmla="*/ 354807 w 709614"/>
              <a:gd name="connsiteY7" fmla="*/ 0 h 709614"/>
              <a:gd name="connsiteX8" fmla="*/ 709614 w 709614"/>
              <a:gd name="connsiteY8" fmla="*/ 354807 h 709614"/>
              <a:gd name="connsiteX9" fmla="*/ 354807 w 709614"/>
              <a:gd name="connsiteY9" fmla="*/ 709614 h 709614"/>
              <a:gd name="connsiteX10" fmla="*/ 0 w 709614"/>
              <a:gd name="connsiteY10" fmla="*/ 354807 h 709614"/>
              <a:gd name="connsiteX11" fmla="*/ 354807 w 709614"/>
              <a:gd name="connsiteY11" fmla="*/ 0 h 70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9614" h="709614">
                <a:moveTo>
                  <a:pt x="534988" y="203200"/>
                </a:moveTo>
                <a:lnTo>
                  <a:pt x="296863" y="442913"/>
                </a:lnTo>
                <a:lnTo>
                  <a:pt x="174626" y="320675"/>
                </a:lnTo>
                <a:lnTo>
                  <a:pt x="141288" y="350838"/>
                </a:lnTo>
                <a:lnTo>
                  <a:pt x="265113" y="474663"/>
                </a:lnTo>
                <a:lnTo>
                  <a:pt x="296863" y="506413"/>
                </a:lnTo>
                <a:lnTo>
                  <a:pt x="566738" y="234950"/>
                </a:lnTo>
                <a:close/>
                <a:moveTo>
                  <a:pt x="354807" y="0"/>
                </a:moveTo>
                <a:cubicBezTo>
                  <a:pt x="550761" y="0"/>
                  <a:pt x="709614" y="158853"/>
                  <a:pt x="709614" y="354807"/>
                </a:cubicBezTo>
                <a:cubicBezTo>
                  <a:pt x="709614" y="550761"/>
                  <a:pt x="550761" y="709614"/>
                  <a:pt x="354807" y="709614"/>
                </a:cubicBezTo>
                <a:cubicBezTo>
                  <a:pt x="158853" y="709614"/>
                  <a:pt x="0" y="550761"/>
                  <a:pt x="0" y="354807"/>
                </a:cubicBezTo>
                <a:cubicBezTo>
                  <a:pt x="0" y="158853"/>
                  <a:pt x="158853" y="0"/>
                  <a:pt x="354807" y="0"/>
                </a:cubicBezTo>
                <a:close/>
              </a:path>
            </a:pathLst>
          </a:custGeom>
          <a:solidFill>
            <a:schemeClr val="accent5"/>
          </a:solidFill>
          <a:ln>
            <a:noFill/>
          </a:ln>
        </p:spPr>
        <p:txBody>
          <a:bodyPr vert="horz" wrap="square" lIns="91416" tIns="45708" rIns="91416" bIns="45708" numCol="1" anchor="t" anchorCtr="0" compatLnSpc="1">
            <a:prstTxWarp prst="textNoShape">
              <a:avLst/>
            </a:prstTxWarp>
            <a:noAutofit/>
          </a:bodyPr>
          <a:lstStyle/>
          <a:p>
            <a:endParaRPr lang="en-GB" dirty="0">
              <a:latin typeface="Arial (body)"/>
            </a:endParaRPr>
          </a:p>
        </p:txBody>
      </p:sp>
    </p:spTree>
    <p:extLst>
      <p:ext uri="{BB962C8B-B14F-4D97-AF65-F5344CB8AC3E}">
        <p14:creationId xmlns:p14="http://schemas.microsoft.com/office/powerpoint/2010/main" val="39016069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 name="Picture Placeholder 111">
            <a:extLst>
              <a:ext uri="{FF2B5EF4-FFF2-40B4-BE49-F238E27FC236}">
                <a16:creationId xmlns:a16="http://schemas.microsoft.com/office/drawing/2014/main" id="{EC518138-3AE6-C11C-B00E-E6B75A35F95A}"/>
              </a:ext>
            </a:extLst>
          </p:cNvPr>
          <p:cNvPicPr>
            <a:picLocks noGrp="1" noChangeAspect="1"/>
          </p:cNvPicPr>
          <p:nvPr>
            <p:ph type="pic" sz="quarter" idx="21"/>
          </p:nvPr>
        </p:nvPicPr>
        <p:blipFill>
          <a:blip r:embed="rId3">
            <a:extLst>
              <a:ext uri="{28A0092B-C50C-407E-A947-70E740481C1C}">
                <a14:useLocalDpi xmlns:a14="http://schemas.microsoft.com/office/drawing/2010/main" val="0"/>
              </a:ext>
            </a:extLst>
          </a:blip>
          <a:srcRect l="34595" r="34595"/>
          <a:stretch/>
        </p:blipFill>
        <p:spPr/>
      </p:pic>
      <p:sp>
        <p:nvSpPr>
          <p:cNvPr id="2" name="Title 1">
            <a:extLst>
              <a:ext uri="{FF2B5EF4-FFF2-40B4-BE49-F238E27FC236}">
                <a16:creationId xmlns:a16="http://schemas.microsoft.com/office/drawing/2014/main" id="{9DF2954F-5340-1CCD-D797-32360996E57D}"/>
              </a:ext>
            </a:extLst>
          </p:cNvPr>
          <p:cNvSpPr>
            <a:spLocks noGrp="1"/>
          </p:cNvSpPr>
          <p:nvPr>
            <p:ph type="title"/>
          </p:nvPr>
        </p:nvSpPr>
        <p:spPr/>
        <p:txBody>
          <a:bodyPr/>
          <a:lstStyle/>
          <a:p>
            <a:r>
              <a:rPr lang="es-ES" sz="2000" b="1" dirty="0">
                <a:solidFill>
                  <a:srgbClr val="003C70"/>
                </a:solidFill>
                <a:latin typeface="Archivo"/>
              </a:rPr>
              <a:t>Utilizando la medicina de precisión para tratar el cáncer</a:t>
            </a:r>
            <a:br>
              <a:rPr lang="es-ES" sz="2000" dirty="0">
                <a:solidFill>
                  <a:srgbClr val="003C70"/>
                </a:solidFill>
                <a:latin typeface="Archivo"/>
              </a:rPr>
            </a:br>
            <a:r>
              <a:rPr lang="es-ES" sz="2000" dirty="0">
                <a:solidFill>
                  <a:srgbClr val="003C70"/>
                </a:solidFill>
                <a:latin typeface="Archivo"/>
              </a:rPr>
              <a:t>La medicina de precisión es un tratamiento personalizado utilizando los genes</a:t>
            </a:r>
            <a:br>
              <a:rPr lang="es-ES" sz="2000" b="1" dirty="0">
                <a:solidFill>
                  <a:srgbClr val="003C70"/>
                </a:solidFill>
                <a:latin typeface="Archivo"/>
              </a:rPr>
            </a:br>
            <a:endParaRPr lang="es-ES" b="1" dirty="0"/>
          </a:p>
        </p:txBody>
      </p:sp>
      <p:sp>
        <p:nvSpPr>
          <p:cNvPr id="5" name="Slide Number Placeholder 4">
            <a:extLst>
              <a:ext uri="{FF2B5EF4-FFF2-40B4-BE49-F238E27FC236}">
                <a16:creationId xmlns:a16="http://schemas.microsoft.com/office/drawing/2014/main" id="{2E1DC9F3-8A47-8CFB-BC2F-EFD6BFC538B0}"/>
              </a:ext>
            </a:extLst>
          </p:cNvPr>
          <p:cNvSpPr>
            <a:spLocks noGrp="1"/>
          </p:cNvSpPr>
          <p:nvPr>
            <p:ph type="sldNum" sz="quarter" idx="19"/>
          </p:nvPr>
        </p:nvSpPr>
        <p:spPr/>
        <p:txBody>
          <a:bodyPr/>
          <a:lstStyle/>
          <a:p>
            <a:fld id="{9A0F3412-00EB-454F-952B-1EB5D3D69307}" type="slidenum">
              <a:rPr lang="en-US" noProof="0" smtClean="0"/>
              <a:pPr/>
              <a:t>19</a:t>
            </a:fld>
            <a:endParaRPr lang="en-US" noProof="0" dirty="0"/>
          </a:p>
        </p:txBody>
      </p:sp>
      <p:sp>
        <p:nvSpPr>
          <p:cNvPr id="109" name="Text Placeholder 108">
            <a:extLst>
              <a:ext uri="{FF2B5EF4-FFF2-40B4-BE49-F238E27FC236}">
                <a16:creationId xmlns:a16="http://schemas.microsoft.com/office/drawing/2014/main" id="{A03491EE-A839-2A2E-EE43-ABE1FC5FE689}"/>
              </a:ext>
            </a:extLst>
          </p:cNvPr>
          <p:cNvSpPr>
            <a:spLocks noGrp="1"/>
          </p:cNvSpPr>
          <p:nvPr>
            <p:ph type="body" sz="quarter" idx="20"/>
          </p:nvPr>
        </p:nvSpPr>
        <p:spPr/>
        <p:txBody>
          <a:bodyPr/>
          <a:lstStyle/>
          <a:p>
            <a:pPr algn="ctr"/>
            <a:r>
              <a:rPr lang="es-ES" sz="1600" dirty="0"/>
              <a:t>La medicina de precisión analiza la composición genómica</a:t>
            </a:r>
            <a:br>
              <a:rPr lang="es-ES" sz="1600" dirty="0"/>
            </a:br>
            <a:r>
              <a:rPr lang="es-ES" sz="1600" dirty="0"/>
              <a:t>del cáncer para personalizar los tratamientos para cada paciente</a:t>
            </a:r>
            <a:endParaRPr lang="en-GB" sz="1600" dirty="0"/>
          </a:p>
        </p:txBody>
      </p:sp>
      <p:sp>
        <p:nvSpPr>
          <p:cNvPr id="3" name="Rectángulo 47">
            <a:extLst>
              <a:ext uri="{FF2B5EF4-FFF2-40B4-BE49-F238E27FC236}">
                <a16:creationId xmlns:a16="http://schemas.microsoft.com/office/drawing/2014/main" id="{750BB3E7-40DD-6AE4-D916-8EA99CD1D7B6}"/>
              </a:ext>
            </a:extLst>
          </p:cNvPr>
          <p:cNvSpPr/>
          <p:nvPr/>
        </p:nvSpPr>
        <p:spPr>
          <a:xfrm>
            <a:off x="4793810" y="2610121"/>
            <a:ext cx="2320577" cy="941587"/>
          </a:xfrm>
          <a:prstGeom prst="rect">
            <a:avLst/>
          </a:prstGeom>
          <a:solidFill>
            <a:schemeClr val="bg1">
              <a:alpha val="4018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187966" rIns="143996" rtlCol="0" anchor="ctr"/>
          <a:lstStyle/>
          <a:p>
            <a:pPr marL="142225" marR="5079" indent="-130162" algn="ctr" defTabSz="914309">
              <a:lnSpc>
                <a:spcPct val="100699"/>
              </a:lnSpc>
              <a:spcBef>
                <a:spcPts val="100"/>
              </a:spcBef>
              <a:defRPr/>
            </a:pPr>
            <a:r>
              <a:rPr lang="es-ES" b="0" kern="0" dirty="0">
                <a:solidFill>
                  <a:prstClr val="black">
                    <a:lumMod val="85000"/>
                    <a:lumOff val="15000"/>
                  </a:prstClr>
                </a:solidFill>
                <a:latin typeface="+mj-lt"/>
                <a:cs typeface="Arial" panose="020B0604020202020204" pitchFamily="34" charset="0"/>
              </a:rPr>
              <a:t>Un diagnóstico </a:t>
            </a:r>
            <a:br>
              <a:rPr lang="es-ES" b="0" kern="0" dirty="0">
                <a:solidFill>
                  <a:prstClr val="black">
                    <a:lumMod val="85000"/>
                    <a:lumOff val="15000"/>
                  </a:prstClr>
                </a:solidFill>
                <a:latin typeface="+mj-lt"/>
                <a:cs typeface="Arial" panose="020B0604020202020204" pitchFamily="34" charset="0"/>
              </a:rPr>
            </a:br>
            <a:r>
              <a:rPr lang="es-ES" b="0" kern="0" dirty="0">
                <a:solidFill>
                  <a:prstClr val="black">
                    <a:lumMod val="85000"/>
                    <a:lumOff val="15000"/>
                  </a:prstClr>
                </a:solidFill>
                <a:latin typeface="+mj-lt"/>
                <a:cs typeface="Arial" panose="020B0604020202020204" pitchFamily="34" charset="0"/>
              </a:rPr>
              <a:t>más preciso</a:t>
            </a:r>
          </a:p>
        </p:txBody>
      </p:sp>
      <p:sp>
        <p:nvSpPr>
          <p:cNvPr id="4" name="Rectángulo 49">
            <a:extLst>
              <a:ext uri="{FF2B5EF4-FFF2-40B4-BE49-F238E27FC236}">
                <a16:creationId xmlns:a16="http://schemas.microsoft.com/office/drawing/2014/main" id="{5E269BDA-AE42-8EE0-C3B1-F7897C194D18}"/>
              </a:ext>
            </a:extLst>
          </p:cNvPr>
          <p:cNvSpPr/>
          <p:nvPr/>
        </p:nvSpPr>
        <p:spPr>
          <a:xfrm>
            <a:off x="7519900" y="2631171"/>
            <a:ext cx="3006682" cy="941587"/>
          </a:xfrm>
          <a:prstGeom prst="rect">
            <a:avLst/>
          </a:prstGeom>
          <a:solidFill>
            <a:schemeClr val="bg1">
              <a:alpha val="4018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187966" rIns="143996" rtlCol="0" anchor="ctr"/>
          <a:lstStyle/>
          <a:p>
            <a:pPr marL="142225" marR="5079" indent="-130162" algn="ctr" defTabSz="914309">
              <a:lnSpc>
                <a:spcPct val="100699"/>
              </a:lnSpc>
              <a:spcBef>
                <a:spcPts val="100"/>
              </a:spcBef>
              <a:defRPr/>
            </a:pPr>
            <a:r>
              <a:rPr lang="es-ES" b="0" kern="0" dirty="0">
                <a:solidFill>
                  <a:prstClr val="black">
                    <a:lumMod val="85000"/>
                    <a:lumOff val="15000"/>
                  </a:prstClr>
                </a:solidFill>
                <a:latin typeface="+mj-lt"/>
                <a:cs typeface="Arial" panose="020B0604020202020204" pitchFamily="34" charset="0"/>
              </a:rPr>
              <a:t>Tratamientos personalizados a mutaciones genéticas</a:t>
            </a:r>
          </a:p>
        </p:txBody>
      </p:sp>
      <p:sp>
        <p:nvSpPr>
          <p:cNvPr id="86" name="Rectángulo 50">
            <a:extLst>
              <a:ext uri="{FF2B5EF4-FFF2-40B4-BE49-F238E27FC236}">
                <a16:creationId xmlns:a16="http://schemas.microsoft.com/office/drawing/2014/main" id="{AD982488-348B-CCA0-ABBB-30035019F93E}"/>
              </a:ext>
            </a:extLst>
          </p:cNvPr>
          <p:cNvSpPr/>
          <p:nvPr/>
        </p:nvSpPr>
        <p:spPr>
          <a:xfrm>
            <a:off x="4764123" y="4203658"/>
            <a:ext cx="2710795" cy="2390762"/>
          </a:xfrm>
          <a:prstGeom prst="rect">
            <a:avLst/>
          </a:prstGeom>
          <a:solidFill>
            <a:schemeClr val="bg1">
              <a:alpha val="4018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187966" rIns="71998" rtlCol="0" anchor="ctr"/>
          <a:lstStyle/>
          <a:p>
            <a:pPr marL="142225" marR="5079" indent="-130162" algn="ctr" defTabSz="914309">
              <a:lnSpc>
                <a:spcPct val="100699"/>
              </a:lnSpc>
              <a:spcBef>
                <a:spcPts val="100"/>
              </a:spcBef>
              <a:defRPr/>
            </a:pPr>
            <a:r>
              <a:rPr lang="es-ES" b="0" kern="0" dirty="0">
                <a:solidFill>
                  <a:prstClr val="black">
                    <a:lumMod val="85000"/>
                    <a:lumOff val="15000"/>
                  </a:prstClr>
                </a:solidFill>
                <a:latin typeface="+mj-lt"/>
                <a:cs typeface="Arial" panose="020B0604020202020204" pitchFamily="34" charset="0"/>
              </a:rPr>
              <a:t>Optimización de </a:t>
            </a:r>
            <a:br>
              <a:rPr lang="es-ES" b="0" kern="0" dirty="0">
                <a:solidFill>
                  <a:prstClr val="black">
                    <a:lumMod val="85000"/>
                    <a:lumOff val="15000"/>
                  </a:prstClr>
                </a:solidFill>
                <a:latin typeface="+mj-lt"/>
                <a:cs typeface="Arial" panose="020B0604020202020204" pitchFamily="34" charset="0"/>
              </a:rPr>
            </a:br>
            <a:r>
              <a:rPr lang="es-ES" b="0" kern="0" dirty="0">
                <a:solidFill>
                  <a:prstClr val="black">
                    <a:lumMod val="85000"/>
                    <a:lumOff val="15000"/>
                  </a:prstClr>
                </a:solidFill>
                <a:latin typeface="+mj-lt"/>
                <a:cs typeface="Arial" panose="020B0604020202020204" pitchFamily="34" charset="0"/>
              </a:rPr>
              <a:t>recursos</a:t>
            </a:r>
          </a:p>
        </p:txBody>
      </p:sp>
      <p:sp>
        <p:nvSpPr>
          <p:cNvPr id="87" name="Rectángulo 51">
            <a:extLst>
              <a:ext uri="{FF2B5EF4-FFF2-40B4-BE49-F238E27FC236}">
                <a16:creationId xmlns:a16="http://schemas.microsoft.com/office/drawing/2014/main" id="{367A1E50-BA8D-46FA-0B2D-3E04C9A3F041}"/>
              </a:ext>
            </a:extLst>
          </p:cNvPr>
          <p:cNvSpPr/>
          <p:nvPr/>
        </p:nvSpPr>
        <p:spPr>
          <a:xfrm>
            <a:off x="7792655" y="4207522"/>
            <a:ext cx="2710795" cy="2390762"/>
          </a:xfrm>
          <a:prstGeom prst="rect">
            <a:avLst/>
          </a:prstGeom>
          <a:solidFill>
            <a:schemeClr val="bg1">
              <a:alpha val="4018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187966" rIns="143996" rtlCol="0" anchor="ctr"/>
          <a:lstStyle/>
          <a:p>
            <a:pPr marL="142225" marR="5079" indent="-130162" algn="ctr" defTabSz="914309">
              <a:lnSpc>
                <a:spcPct val="100699"/>
              </a:lnSpc>
              <a:spcBef>
                <a:spcPts val="100"/>
              </a:spcBef>
              <a:defRPr/>
            </a:pPr>
            <a:r>
              <a:rPr lang="es-ES" b="0" kern="0" dirty="0">
                <a:solidFill>
                  <a:prstClr val="black">
                    <a:lumMod val="85000"/>
                    <a:lumOff val="15000"/>
                  </a:prstClr>
                </a:solidFill>
                <a:latin typeface="+mj-lt"/>
                <a:cs typeface="Arial" panose="020B0604020202020204" pitchFamily="34" charset="0"/>
              </a:rPr>
              <a:t>Recuperación más rápida y mejor calidad de vida</a:t>
            </a:r>
          </a:p>
        </p:txBody>
      </p:sp>
      <p:grpSp>
        <p:nvGrpSpPr>
          <p:cNvPr id="88" name="Group 4">
            <a:extLst>
              <a:ext uri="{FF2B5EF4-FFF2-40B4-BE49-F238E27FC236}">
                <a16:creationId xmlns:a16="http://schemas.microsoft.com/office/drawing/2014/main" id="{C5E64F2D-A7A1-0DED-5ED2-46E22CB51693}"/>
              </a:ext>
            </a:extLst>
          </p:cNvPr>
          <p:cNvGrpSpPr>
            <a:grpSpLocks noChangeAspect="1"/>
          </p:cNvGrpSpPr>
          <p:nvPr/>
        </p:nvGrpSpPr>
        <p:grpSpPr bwMode="auto">
          <a:xfrm>
            <a:off x="5424459" y="4195735"/>
            <a:ext cx="1196958" cy="1199453"/>
            <a:chOff x="3601" y="1920"/>
            <a:chExt cx="480" cy="481"/>
          </a:xfrm>
          <a:solidFill>
            <a:schemeClr val="tx2"/>
          </a:solidFill>
        </p:grpSpPr>
        <p:sp>
          <p:nvSpPr>
            <p:cNvPr id="89" name="Freeform 5">
              <a:extLst>
                <a:ext uri="{FF2B5EF4-FFF2-40B4-BE49-F238E27FC236}">
                  <a16:creationId xmlns:a16="http://schemas.microsoft.com/office/drawing/2014/main" id="{6495A1FB-B03D-42FB-2B6B-168C66BE4420}"/>
                </a:ext>
              </a:extLst>
            </p:cNvPr>
            <p:cNvSpPr>
              <a:spLocks/>
            </p:cNvSpPr>
            <p:nvPr/>
          </p:nvSpPr>
          <p:spPr bwMode="auto">
            <a:xfrm>
              <a:off x="3801" y="2042"/>
              <a:ext cx="101" cy="85"/>
            </a:xfrm>
            <a:custGeom>
              <a:avLst/>
              <a:gdLst>
                <a:gd name="T0" fmla="*/ 25 w 101"/>
                <a:gd name="T1" fmla="*/ 85 h 85"/>
                <a:gd name="T2" fmla="*/ 25 w 101"/>
                <a:gd name="T3" fmla="*/ 85 h 85"/>
                <a:gd name="T4" fmla="*/ 27 w 101"/>
                <a:gd name="T5" fmla="*/ 73 h 85"/>
                <a:gd name="T6" fmla="*/ 30 w 101"/>
                <a:gd name="T7" fmla="*/ 66 h 85"/>
                <a:gd name="T8" fmla="*/ 33 w 101"/>
                <a:gd name="T9" fmla="*/ 59 h 85"/>
                <a:gd name="T10" fmla="*/ 33 w 101"/>
                <a:gd name="T11" fmla="*/ 59 h 85"/>
                <a:gd name="T12" fmla="*/ 38 w 101"/>
                <a:gd name="T13" fmla="*/ 52 h 85"/>
                <a:gd name="T14" fmla="*/ 44 w 101"/>
                <a:gd name="T15" fmla="*/ 45 h 85"/>
                <a:gd name="T16" fmla="*/ 50 w 101"/>
                <a:gd name="T17" fmla="*/ 40 h 85"/>
                <a:gd name="T18" fmla="*/ 56 w 101"/>
                <a:gd name="T19" fmla="*/ 36 h 85"/>
                <a:gd name="T20" fmla="*/ 64 w 101"/>
                <a:gd name="T21" fmla="*/ 32 h 85"/>
                <a:gd name="T22" fmla="*/ 72 w 101"/>
                <a:gd name="T23" fmla="*/ 28 h 85"/>
                <a:gd name="T24" fmla="*/ 82 w 101"/>
                <a:gd name="T25" fmla="*/ 26 h 85"/>
                <a:gd name="T26" fmla="*/ 93 w 101"/>
                <a:gd name="T27" fmla="*/ 25 h 85"/>
                <a:gd name="T28" fmla="*/ 101 w 101"/>
                <a:gd name="T29" fmla="*/ 0 h 85"/>
                <a:gd name="T30" fmla="*/ 101 w 101"/>
                <a:gd name="T31" fmla="*/ 0 h 85"/>
                <a:gd name="T32" fmla="*/ 101 w 101"/>
                <a:gd name="T33" fmla="*/ 0 h 85"/>
                <a:gd name="T34" fmla="*/ 101 w 101"/>
                <a:gd name="T35" fmla="*/ 0 h 85"/>
                <a:gd name="T36" fmla="*/ 88 w 101"/>
                <a:gd name="T37" fmla="*/ 1 h 85"/>
                <a:gd name="T38" fmla="*/ 77 w 101"/>
                <a:gd name="T39" fmla="*/ 2 h 85"/>
                <a:gd name="T40" fmla="*/ 65 w 101"/>
                <a:gd name="T41" fmla="*/ 5 h 85"/>
                <a:gd name="T42" fmla="*/ 55 w 101"/>
                <a:gd name="T43" fmla="*/ 8 h 85"/>
                <a:gd name="T44" fmla="*/ 46 w 101"/>
                <a:gd name="T45" fmla="*/ 12 h 85"/>
                <a:gd name="T46" fmla="*/ 38 w 101"/>
                <a:gd name="T47" fmla="*/ 17 h 85"/>
                <a:gd name="T48" fmla="*/ 31 w 101"/>
                <a:gd name="T49" fmla="*/ 23 h 85"/>
                <a:gd name="T50" fmla="*/ 25 w 101"/>
                <a:gd name="T51" fmla="*/ 28 h 85"/>
                <a:gd name="T52" fmla="*/ 25 w 101"/>
                <a:gd name="T53" fmla="*/ 28 h 85"/>
                <a:gd name="T54" fmla="*/ 21 w 101"/>
                <a:gd name="T55" fmla="*/ 33 h 85"/>
                <a:gd name="T56" fmla="*/ 21 w 101"/>
                <a:gd name="T57" fmla="*/ 33 h 85"/>
                <a:gd name="T58" fmla="*/ 13 w 101"/>
                <a:gd name="T59" fmla="*/ 43 h 85"/>
                <a:gd name="T60" fmla="*/ 8 w 101"/>
                <a:gd name="T61" fmla="*/ 54 h 85"/>
                <a:gd name="T62" fmla="*/ 3 w 101"/>
                <a:gd name="T63" fmla="*/ 66 h 85"/>
                <a:gd name="T64" fmla="*/ 0 w 101"/>
                <a:gd name="T65" fmla="*/ 76 h 85"/>
                <a:gd name="T66" fmla="*/ 25 w 101"/>
                <a:gd name="T6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 h="85">
                  <a:moveTo>
                    <a:pt x="25" y="85"/>
                  </a:moveTo>
                  <a:lnTo>
                    <a:pt x="25" y="85"/>
                  </a:lnTo>
                  <a:lnTo>
                    <a:pt x="27" y="73"/>
                  </a:lnTo>
                  <a:lnTo>
                    <a:pt x="30" y="66"/>
                  </a:lnTo>
                  <a:lnTo>
                    <a:pt x="33" y="59"/>
                  </a:lnTo>
                  <a:lnTo>
                    <a:pt x="33" y="59"/>
                  </a:lnTo>
                  <a:lnTo>
                    <a:pt x="38" y="52"/>
                  </a:lnTo>
                  <a:lnTo>
                    <a:pt x="44" y="45"/>
                  </a:lnTo>
                  <a:lnTo>
                    <a:pt x="50" y="40"/>
                  </a:lnTo>
                  <a:lnTo>
                    <a:pt x="56" y="36"/>
                  </a:lnTo>
                  <a:lnTo>
                    <a:pt x="64" y="32"/>
                  </a:lnTo>
                  <a:lnTo>
                    <a:pt x="72" y="28"/>
                  </a:lnTo>
                  <a:lnTo>
                    <a:pt x="82" y="26"/>
                  </a:lnTo>
                  <a:lnTo>
                    <a:pt x="93" y="25"/>
                  </a:lnTo>
                  <a:lnTo>
                    <a:pt x="101" y="0"/>
                  </a:lnTo>
                  <a:lnTo>
                    <a:pt x="101" y="0"/>
                  </a:lnTo>
                  <a:lnTo>
                    <a:pt x="101" y="0"/>
                  </a:lnTo>
                  <a:lnTo>
                    <a:pt x="101" y="0"/>
                  </a:lnTo>
                  <a:lnTo>
                    <a:pt x="88" y="1"/>
                  </a:lnTo>
                  <a:lnTo>
                    <a:pt x="77" y="2"/>
                  </a:lnTo>
                  <a:lnTo>
                    <a:pt x="65" y="5"/>
                  </a:lnTo>
                  <a:lnTo>
                    <a:pt x="55" y="8"/>
                  </a:lnTo>
                  <a:lnTo>
                    <a:pt x="46" y="12"/>
                  </a:lnTo>
                  <a:lnTo>
                    <a:pt x="38" y="17"/>
                  </a:lnTo>
                  <a:lnTo>
                    <a:pt x="31" y="23"/>
                  </a:lnTo>
                  <a:lnTo>
                    <a:pt x="25" y="28"/>
                  </a:lnTo>
                  <a:lnTo>
                    <a:pt x="25" y="28"/>
                  </a:lnTo>
                  <a:lnTo>
                    <a:pt x="21" y="33"/>
                  </a:lnTo>
                  <a:lnTo>
                    <a:pt x="21" y="33"/>
                  </a:lnTo>
                  <a:lnTo>
                    <a:pt x="13" y="43"/>
                  </a:lnTo>
                  <a:lnTo>
                    <a:pt x="8" y="54"/>
                  </a:lnTo>
                  <a:lnTo>
                    <a:pt x="3" y="66"/>
                  </a:lnTo>
                  <a:lnTo>
                    <a:pt x="0" y="76"/>
                  </a:lnTo>
                  <a:lnTo>
                    <a:pt x="25"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sp>
          <p:nvSpPr>
            <p:cNvPr id="90" name="Freeform 6">
              <a:extLst>
                <a:ext uri="{FF2B5EF4-FFF2-40B4-BE49-F238E27FC236}">
                  <a16:creationId xmlns:a16="http://schemas.microsoft.com/office/drawing/2014/main" id="{A429F6E8-681C-59D8-1E9E-AF798518DFC6}"/>
                </a:ext>
              </a:extLst>
            </p:cNvPr>
            <p:cNvSpPr>
              <a:spLocks/>
            </p:cNvSpPr>
            <p:nvPr/>
          </p:nvSpPr>
          <p:spPr bwMode="auto">
            <a:xfrm>
              <a:off x="3840" y="2081"/>
              <a:ext cx="48" cy="38"/>
            </a:xfrm>
            <a:custGeom>
              <a:avLst/>
              <a:gdLst>
                <a:gd name="T0" fmla="*/ 6 w 48"/>
                <a:gd name="T1" fmla="*/ 27 h 38"/>
                <a:gd name="T2" fmla="*/ 6 w 48"/>
                <a:gd name="T3" fmla="*/ 27 h 38"/>
                <a:gd name="T4" fmla="*/ 3 w 48"/>
                <a:gd name="T5" fmla="*/ 32 h 38"/>
                <a:gd name="T6" fmla="*/ 0 w 48"/>
                <a:gd name="T7" fmla="*/ 38 h 38"/>
                <a:gd name="T8" fmla="*/ 35 w 48"/>
                <a:gd name="T9" fmla="*/ 38 h 38"/>
                <a:gd name="T10" fmla="*/ 48 w 48"/>
                <a:gd name="T11" fmla="*/ 0 h 38"/>
                <a:gd name="T12" fmla="*/ 48 w 48"/>
                <a:gd name="T13" fmla="*/ 0 h 38"/>
                <a:gd name="T14" fmla="*/ 41 w 48"/>
                <a:gd name="T15" fmla="*/ 1 h 38"/>
                <a:gd name="T16" fmla="*/ 35 w 48"/>
                <a:gd name="T17" fmla="*/ 3 h 38"/>
                <a:gd name="T18" fmla="*/ 28 w 48"/>
                <a:gd name="T19" fmla="*/ 5 h 38"/>
                <a:gd name="T20" fmla="*/ 23 w 48"/>
                <a:gd name="T21" fmla="*/ 9 h 38"/>
                <a:gd name="T22" fmla="*/ 17 w 48"/>
                <a:gd name="T23" fmla="*/ 12 h 38"/>
                <a:gd name="T24" fmla="*/ 13 w 48"/>
                <a:gd name="T25" fmla="*/ 16 h 38"/>
                <a:gd name="T26" fmla="*/ 9 w 48"/>
                <a:gd name="T27" fmla="*/ 21 h 38"/>
                <a:gd name="T28" fmla="*/ 6 w 48"/>
                <a:gd name="T29" fmla="*/ 27 h 38"/>
                <a:gd name="T30" fmla="*/ 6 w 48"/>
                <a:gd name="T31"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38">
                  <a:moveTo>
                    <a:pt x="6" y="27"/>
                  </a:moveTo>
                  <a:lnTo>
                    <a:pt x="6" y="27"/>
                  </a:lnTo>
                  <a:lnTo>
                    <a:pt x="3" y="32"/>
                  </a:lnTo>
                  <a:lnTo>
                    <a:pt x="0" y="38"/>
                  </a:lnTo>
                  <a:lnTo>
                    <a:pt x="35" y="38"/>
                  </a:lnTo>
                  <a:lnTo>
                    <a:pt x="48" y="0"/>
                  </a:lnTo>
                  <a:lnTo>
                    <a:pt x="48" y="0"/>
                  </a:lnTo>
                  <a:lnTo>
                    <a:pt x="41" y="1"/>
                  </a:lnTo>
                  <a:lnTo>
                    <a:pt x="35" y="3"/>
                  </a:lnTo>
                  <a:lnTo>
                    <a:pt x="28" y="5"/>
                  </a:lnTo>
                  <a:lnTo>
                    <a:pt x="23" y="9"/>
                  </a:lnTo>
                  <a:lnTo>
                    <a:pt x="17" y="12"/>
                  </a:lnTo>
                  <a:lnTo>
                    <a:pt x="13" y="16"/>
                  </a:lnTo>
                  <a:lnTo>
                    <a:pt x="9" y="21"/>
                  </a:lnTo>
                  <a:lnTo>
                    <a:pt x="6" y="27"/>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sp>
          <p:nvSpPr>
            <p:cNvPr id="91" name="Freeform 7">
              <a:extLst>
                <a:ext uri="{FF2B5EF4-FFF2-40B4-BE49-F238E27FC236}">
                  <a16:creationId xmlns:a16="http://schemas.microsoft.com/office/drawing/2014/main" id="{98685D85-D179-10AF-7049-142EFBC7BDED}"/>
                </a:ext>
              </a:extLst>
            </p:cNvPr>
            <p:cNvSpPr>
              <a:spLocks/>
            </p:cNvSpPr>
            <p:nvPr/>
          </p:nvSpPr>
          <p:spPr bwMode="auto">
            <a:xfrm>
              <a:off x="3641" y="1920"/>
              <a:ext cx="276" cy="194"/>
            </a:xfrm>
            <a:custGeom>
              <a:avLst/>
              <a:gdLst>
                <a:gd name="T0" fmla="*/ 156 w 276"/>
                <a:gd name="T1" fmla="*/ 170 h 194"/>
                <a:gd name="T2" fmla="*/ 156 w 276"/>
                <a:gd name="T3" fmla="*/ 170 h 194"/>
                <a:gd name="T4" fmla="*/ 146 w 276"/>
                <a:gd name="T5" fmla="*/ 172 h 194"/>
                <a:gd name="T6" fmla="*/ 137 w 276"/>
                <a:gd name="T7" fmla="*/ 173 h 194"/>
                <a:gd name="T8" fmla="*/ 127 w 276"/>
                <a:gd name="T9" fmla="*/ 172 h 194"/>
                <a:gd name="T10" fmla="*/ 116 w 276"/>
                <a:gd name="T11" fmla="*/ 170 h 194"/>
                <a:gd name="T12" fmla="*/ 116 w 276"/>
                <a:gd name="T13" fmla="*/ 170 h 194"/>
                <a:gd name="T14" fmla="*/ 111 w 276"/>
                <a:gd name="T15" fmla="*/ 167 h 194"/>
                <a:gd name="T16" fmla="*/ 106 w 276"/>
                <a:gd name="T17" fmla="*/ 164 h 194"/>
                <a:gd name="T18" fmla="*/ 96 w 276"/>
                <a:gd name="T19" fmla="*/ 157 h 194"/>
                <a:gd name="T20" fmla="*/ 89 w 276"/>
                <a:gd name="T21" fmla="*/ 147 h 194"/>
                <a:gd name="T22" fmla="*/ 82 w 276"/>
                <a:gd name="T23" fmla="*/ 138 h 194"/>
                <a:gd name="T24" fmla="*/ 78 w 276"/>
                <a:gd name="T25" fmla="*/ 126 h 194"/>
                <a:gd name="T26" fmla="*/ 77 w 276"/>
                <a:gd name="T27" fmla="*/ 114 h 194"/>
                <a:gd name="T28" fmla="*/ 77 w 276"/>
                <a:gd name="T29" fmla="*/ 102 h 194"/>
                <a:gd name="T30" fmla="*/ 80 w 276"/>
                <a:gd name="T31" fmla="*/ 90 h 194"/>
                <a:gd name="T32" fmla="*/ 80 w 276"/>
                <a:gd name="T33" fmla="*/ 90 h 194"/>
                <a:gd name="T34" fmla="*/ 86 w 276"/>
                <a:gd name="T35" fmla="*/ 79 h 194"/>
                <a:gd name="T36" fmla="*/ 93 w 276"/>
                <a:gd name="T37" fmla="*/ 69 h 194"/>
                <a:gd name="T38" fmla="*/ 103 w 276"/>
                <a:gd name="T39" fmla="*/ 61 h 194"/>
                <a:gd name="T40" fmla="*/ 112 w 276"/>
                <a:gd name="T41" fmla="*/ 54 h 194"/>
                <a:gd name="T42" fmla="*/ 124 w 276"/>
                <a:gd name="T43" fmla="*/ 51 h 194"/>
                <a:gd name="T44" fmla="*/ 136 w 276"/>
                <a:gd name="T45" fmla="*/ 49 h 194"/>
                <a:gd name="T46" fmla="*/ 147 w 276"/>
                <a:gd name="T47" fmla="*/ 49 h 194"/>
                <a:gd name="T48" fmla="*/ 154 w 276"/>
                <a:gd name="T49" fmla="*/ 50 h 194"/>
                <a:gd name="T50" fmla="*/ 159 w 276"/>
                <a:gd name="T51" fmla="*/ 52 h 194"/>
                <a:gd name="T52" fmla="*/ 159 w 276"/>
                <a:gd name="T53" fmla="*/ 52 h 194"/>
                <a:gd name="T54" fmla="*/ 170 w 276"/>
                <a:gd name="T55" fmla="*/ 58 h 194"/>
                <a:gd name="T56" fmla="*/ 178 w 276"/>
                <a:gd name="T57" fmla="*/ 64 h 194"/>
                <a:gd name="T58" fmla="*/ 186 w 276"/>
                <a:gd name="T59" fmla="*/ 73 h 194"/>
                <a:gd name="T60" fmla="*/ 192 w 276"/>
                <a:gd name="T61" fmla="*/ 81 h 194"/>
                <a:gd name="T62" fmla="*/ 196 w 276"/>
                <a:gd name="T63" fmla="*/ 92 h 194"/>
                <a:gd name="T64" fmla="*/ 198 w 276"/>
                <a:gd name="T65" fmla="*/ 102 h 194"/>
                <a:gd name="T66" fmla="*/ 199 w 276"/>
                <a:gd name="T67" fmla="*/ 113 h 194"/>
                <a:gd name="T68" fmla="*/ 197 w 276"/>
                <a:gd name="T69" fmla="*/ 125 h 194"/>
                <a:gd name="T70" fmla="*/ 197 w 276"/>
                <a:gd name="T71" fmla="*/ 125 h 194"/>
                <a:gd name="T72" fmla="*/ 206 w 276"/>
                <a:gd name="T73" fmla="*/ 121 h 194"/>
                <a:gd name="T74" fmla="*/ 214 w 276"/>
                <a:gd name="T75" fmla="*/ 117 h 194"/>
                <a:gd name="T76" fmla="*/ 223 w 276"/>
                <a:gd name="T77" fmla="*/ 114 h 194"/>
                <a:gd name="T78" fmla="*/ 230 w 276"/>
                <a:gd name="T79" fmla="*/ 112 h 194"/>
                <a:gd name="T80" fmla="*/ 246 w 276"/>
                <a:gd name="T81" fmla="*/ 110 h 194"/>
                <a:gd name="T82" fmla="*/ 261 w 276"/>
                <a:gd name="T83" fmla="*/ 109 h 194"/>
                <a:gd name="T84" fmla="*/ 261 w 276"/>
                <a:gd name="T85" fmla="*/ 109 h 194"/>
                <a:gd name="T86" fmla="*/ 267 w 276"/>
                <a:gd name="T87" fmla="*/ 109 h 194"/>
                <a:gd name="T88" fmla="*/ 276 w 276"/>
                <a:gd name="T89" fmla="*/ 82 h 194"/>
                <a:gd name="T90" fmla="*/ 50 w 276"/>
                <a:gd name="T91" fmla="*/ 0 h 194"/>
                <a:gd name="T92" fmla="*/ 0 w 276"/>
                <a:gd name="T93" fmla="*/ 140 h 194"/>
                <a:gd name="T94" fmla="*/ 147 w 276"/>
                <a:gd name="T95" fmla="*/ 194 h 194"/>
                <a:gd name="T96" fmla="*/ 147 w 276"/>
                <a:gd name="T97" fmla="*/ 194 h 194"/>
                <a:gd name="T98" fmla="*/ 151 w 276"/>
                <a:gd name="T99" fmla="*/ 182 h 194"/>
                <a:gd name="T100" fmla="*/ 156 w 276"/>
                <a:gd name="T101" fmla="*/ 170 h 194"/>
                <a:gd name="T102" fmla="*/ 156 w 276"/>
                <a:gd name="T103" fmla="*/ 17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6" h="194">
                  <a:moveTo>
                    <a:pt x="156" y="170"/>
                  </a:moveTo>
                  <a:lnTo>
                    <a:pt x="156" y="170"/>
                  </a:lnTo>
                  <a:lnTo>
                    <a:pt x="146" y="172"/>
                  </a:lnTo>
                  <a:lnTo>
                    <a:pt x="137" y="173"/>
                  </a:lnTo>
                  <a:lnTo>
                    <a:pt x="127" y="172"/>
                  </a:lnTo>
                  <a:lnTo>
                    <a:pt x="116" y="170"/>
                  </a:lnTo>
                  <a:lnTo>
                    <a:pt x="116" y="170"/>
                  </a:lnTo>
                  <a:lnTo>
                    <a:pt x="111" y="167"/>
                  </a:lnTo>
                  <a:lnTo>
                    <a:pt x="106" y="164"/>
                  </a:lnTo>
                  <a:lnTo>
                    <a:pt x="96" y="157"/>
                  </a:lnTo>
                  <a:lnTo>
                    <a:pt x="89" y="147"/>
                  </a:lnTo>
                  <a:lnTo>
                    <a:pt x="82" y="138"/>
                  </a:lnTo>
                  <a:lnTo>
                    <a:pt x="78" y="126"/>
                  </a:lnTo>
                  <a:lnTo>
                    <a:pt x="77" y="114"/>
                  </a:lnTo>
                  <a:lnTo>
                    <a:pt x="77" y="102"/>
                  </a:lnTo>
                  <a:lnTo>
                    <a:pt x="80" y="90"/>
                  </a:lnTo>
                  <a:lnTo>
                    <a:pt x="80" y="90"/>
                  </a:lnTo>
                  <a:lnTo>
                    <a:pt x="86" y="79"/>
                  </a:lnTo>
                  <a:lnTo>
                    <a:pt x="93" y="69"/>
                  </a:lnTo>
                  <a:lnTo>
                    <a:pt x="103" y="61"/>
                  </a:lnTo>
                  <a:lnTo>
                    <a:pt x="112" y="54"/>
                  </a:lnTo>
                  <a:lnTo>
                    <a:pt x="124" y="51"/>
                  </a:lnTo>
                  <a:lnTo>
                    <a:pt x="136" y="49"/>
                  </a:lnTo>
                  <a:lnTo>
                    <a:pt x="147" y="49"/>
                  </a:lnTo>
                  <a:lnTo>
                    <a:pt x="154" y="50"/>
                  </a:lnTo>
                  <a:lnTo>
                    <a:pt x="159" y="52"/>
                  </a:lnTo>
                  <a:lnTo>
                    <a:pt x="159" y="52"/>
                  </a:lnTo>
                  <a:lnTo>
                    <a:pt x="170" y="58"/>
                  </a:lnTo>
                  <a:lnTo>
                    <a:pt x="178" y="64"/>
                  </a:lnTo>
                  <a:lnTo>
                    <a:pt x="186" y="73"/>
                  </a:lnTo>
                  <a:lnTo>
                    <a:pt x="192" y="81"/>
                  </a:lnTo>
                  <a:lnTo>
                    <a:pt x="196" y="92"/>
                  </a:lnTo>
                  <a:lnTo>
                    <a:pt x="198" y="102"/>
                  </a:lnTo>
                  <a:lnTo>
                    <a:pt x="199" y="113"/>
                  </a:lnTo>
                  <a:lnTo>
                    <a:pt x="197" y="125"/>
                  </a:lnTo>
                  <a:lnTo>
                    <a:pt x="197" y="125"/>
                  </a:lnTo>
                  <a:lnTo>
                    <a:pt x="206" y="121"/>
                  </a:lnTo>
                  <a:lnTo>
                    <a:pt x="214" y="117"/>
                  </a:lnTo>
                  <a:lnTo>
                    <a:pt x="223" y="114"/>
                  </a:lnTo>
                  <a:lnTo>
                    <a:pt x="230" y="112"/>
                  </a:lnTo>
                  <a:lnTo>
                    <a:pt x="246" y="110"/>
                  </a:lnTo>
                  <a:lnTo>
                    <a:pt x="261" y="109"/>
                  </a:lnTo>
                  <a:lnTo>
                    <a:pt x="261" y="109"/>
                  </a:lnTo>
                  <a:lnTo>
                    <a:pt x="267" y="109"/>
                  </a:lnTo>
                  <a:lnTo>
                    <a:pt x="276" y="82"/>
                  </a:lnTo>
                  <a:lnTo>
                    <a:pt x="50" y="0"/>
                  </a:lnTo>
                  <a:lnTo>
                    <a:pt x="0" y="140"/>
                  </a:lnTo>
                  <a:lnTo>
                    <a:pt x="147" y="194"/>
                  </a:lnTo>
                  <a:lnTo>
                    <a:pt x="147" y="194"/>
                  </a:lnTo>
                  <a:lnTo>
                    <a:pt x="151" y="182"/>
                  </a:lnTo>
                  <a:lnTo>
                    <a:pt x="156" y="170"/>
                  </a:lnTo>
                  <a:lnTo>
                    <a:pt x="156"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sp>
          <p:nvSpPr>
            <p:cNvPr id="92" name="Freeform 8">
              <a:extLst>
                <a:ext uri="{FF2B5EF4-FFF2-40B4-BE49-F238E27FC236}">
                  <a16:creationId xmlns:a16="http://schemas.microsoft.com/office/drawing/2014/main" id="{1660D89F-2500-9B8D-2276-FFE74CA41918}"/>
                </a:ext>
              </a:extLst>
            </p:cNvPr>
            <p:cNvSpPr>
              <a:spLocks noEditPoints="1"/>
            </p:cNvSpPr>
            <p:nvPr/>
          </p:nvSpPr>
          <p:spPr bwMode="auto">
            <a:xfrm>
              <a:off x="3723" y="2042"/>
              <a:ext cx="358" cy="359"/>
            </a:xfrm>
            <a:custGeom>
              <a:avLst/>
              <a:gdLst>
                <a:gd name="T0" fmla="*/ 179 w 358"/>
                <a:gd name="T1" fmla="*/ 0 h 359"/>
                <a:gd name="T2" fmla="*/ 153 w 358"/>
                <a:gd name="T3" fmla="*/ 2 h 359"/>
                <a:gd name="T4" fmla="*/ 131 w 358"/>
                <a:gd name="T5" fmla="*/ 9 h 359"/>
                <a:gd name="T6" fmla="*/ 113 w 358"/>
                <a:gd name="T7" fmla="*/ 19 h 359"/>
                <a:gd name="T8" fmla="*/ 99 w 358"/>
                <a:gd name="T9" fmla="*/ 32 h 359"/>
                <a:gd name="T10" fmla="*/ 89 w 358"/>
                <a:gd name="T11" fmla="*/ 47 h 359"/>
                <a:gd name="T12" fmla="*/ 82 w 358"/>
                <a:gd name="T13" fmla="*/ 61 h 359"/>
                <a:gd name="T14" fmla="*/ 76 w 358"/>
                <a:gd name="T15" fmla="*/ 90 h 359"/>
                <a:gd name="T16" fmla="*/ 0 w 358"/>
                <a:gd name="T17" fmla="*/ 359 h 359"/>
                <a:gd name="T18" fmla="*/ 358 w 358"/>
                <a:gd name="T19" fmla="*/ 90 h 359"/>
                <a:gd name="T20" fmla="*/ 283 w 358"/>
                <a:gd name="T21" fmla="*/ 90 h 359"/>
                <a:gd name="T22" fmla="*/ 277 w 358"/>
                <a:gd name="T23" fmla="*/ 61 h 359"/>
                <a:gd name="T24" fmla="*/ 270 w 358"/>
                <a:gd name="T25" fmla="*/ 47 h 359"/>
                <a:gd name="T26" fmla="*/ 260 w 358"/>
                <a:gd name="T27" fmla="*/ 32 h 359"/>
                <a:gd name="T28" fmla="*/ 246 w 358"/>
                <a:gd name="T29" fmla="*/ 19 h 359"/>
                <a:gd name="T30" fmla="*/ 228 w 358"/>
                <a:gd name="T31" fmla="*/ 9 h 359"/>
                <a:gd name="T32" fmla="*/ 206 w 358"/>
                <a:gd name="T33" fmla="*/ 2 h 359"/>
                <a:gd name="T34" fmla="*/ 179 w 358"/>
                <a:gd name="T35" fmla="*/ 0 h 359"/>
                <a:gd name="T36" fmla="*/ 111 w 358"/>
                <a:gd name="T37" fmla="*/ 59 h 359"/>
                <a:gd name="T38" fmla="*/ 116 w 358"/>
                <a:gd name="T39" fmla="*/ 51 h 359"/>
                <a:gd name="T40" fmla="*/ 130 w 358"/>
                <a:gd name="T41" fmla="*/ 38 h 359"/>
                <a:gd name="T42" fmla="*/ 147 w 358"/>
                <a:gd name="T43" fmla="*/ 29 h 359"/>
                <a:gd name="T44" fmla="*/ 167 w 358"/>
                <a:gd name="T45" fmla="*/ 25 h 359"/>
                <a:gd name="T46" fmla="*/ 179 w 358"/>
                <a:gd name="T47" fmla="*/ 25 h 359"/>
                <a:gd name="T48" fmla="*/ 202 w 358"/>
                <a:gd name="T49" fmla="*/ 27 h 359"/>
                <a:gd name="T50" fmla="*/ 221 w 358"/>
                <a:gd name="T51" fmla="*/ 34 h 359"/>
                <a:gd name="T52" fmla="*/ 237 w 358"/>
                <a:gd name="T53" fmla="*/ 44 h 359"/>
                <a:gd name="T54" fmla="*/ 247 w 358"/>
                <a:gd name="T55" fmla="*/ 59 h 359"/>
                <a:gd name="T56" fmla="*/ 252 w 358"/>
                <a:gd name="T57" fmla="*/ 68 h 359"/>
                <a:gd name="T58" fmla="*/ 257 w 358"/>
                <a:gd name="T59" fmla="*/ 84 h 359"/>
                <a:gd name="T60" fmla="*/ 102 w 358"/>
                <a:gd name="T61" fmla="*/ 90 h 359"/>
                <a:gd name="T62" fmla="*/ 103 w 358"/>
                <a:gd name="T63" fmla="*/ 84 h 359"/>
                <a:gd name="T64" fmla="*/ 107 w 358"/>
                <a:gd name="T65" fmla="*/ 68 h 359"/>
                <a:gd name="T66" fmla="*/ 111 w 358"/>
                <a:gd name="T67" fmla="*/ 59 h 359"/>
                <a:gd name="T68" fmla="*/ 198 w 358"/>
                <a:gd name="T69" fmla="*/ 243 h 359"/>
                <a:gd name="T70" fmla="*/ 160 w 358"/>
                <a:gd name="T71" fmla="*/ 312 h 359"/>
                <a:gd name="T72" fmla="*/ 92 w 358"/>
                <a:gd name="T73" fmla="*/ 243 h 359"/>
                <a:gd name="T74" fmla="*/ 160 w 358"/>
                <a:gd name="T75" fmla="*/ 205 h 359"/>
                <a:gd name="T76" fmla="*/ 198 w 358"/>
                <a:gd name="T77" fmla="*/ 136 h 359"/>
                <a:gd name="T78" fmla="*/ 268 w 358"/>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8" h="359">
                  <a:moveTo>
                    <a:pt x="179" y="0"/>
                  </a:moveTo>
                  <a:lnTo>
                    <a:pt x="179" y="0"/>
                  </a:lnTo>
                  <a:lnTo>
                    <a:pt x="165" y="1"/>
                  </a:lnTo>
                  <a:lnTo>
                    <a:pt x="153" y="2"/>
                  </a:lnTo>
                  <a:lnTo>
                    <a:pt x="141" y="5"/>
                  </a:lnTo>
                  <a:lnTo>
                    <a:pt x="131" y="9"/>
                  </a:lnTo>
                  <a:lnTo>
                    <a:pt x="122" y="13"/>
                  </a:lnTo>
                  <a:lnTo>
                    <a:pt x="113" y="19"/>
                  </a:lnTo>
                  <a:lnTo>
                    <a:pt x="106" y="25"/>
                  </a:lnTo>
                  <a:lnTo>
                    <a:pt x="99" y="32"/>
                  </a:lnTo>
                  <a:lnTo>
                    <a:pt x="94" y="39"/>
                  </a:lnTo>
                  <a:lnTo>
                    <a:pt x="89" y="47"/>
                  </a:lnTo>
                  <a:lnTo>
                    <a:pt x="86" y="54"/>
                  </a:lnTo>
                  <a:lnTo>
                    <a:pt x="82" y="61"/>
                  </a:lnTo>
                  <a:lnTo>
                    <a:pt x="78" y="76"/>
                  </a:lnTo>
                  <a:lnTo>
                    <a:pt x="76" y="90"/>
                  </a:lnTo>
                  <a:lnTo>
                    <a:pt x="0" y="90"/>
                  </a:lnTo>
                  <a:lnTo>
                    <a:pt x="0" y="359"/>
                  </a:lnTo>
                  <a:lnTo>
                    <a:pt x="358" y="359"/>
                  </a:lnTo>
                  <a:lnTo>
                    <a:pt x="358" y="90"/>
                  </a:lnTo>
                  <a:lnTo>
                    <a:pt x="283" y="90"/>
                  </a:lnTo>
                  <a:lnTo>
                    <a:pt x="283" y="90"/>
                  </a:lnTo>
                  <a:lnTo>
                    <a:pt x="281" y="76"/>
                  </a:lnTo>
                  <a:lnTo>
                    <a:pt x="277" y="61"/>
                  </a:lnTo>
                  <a:lnTo>
                    <a:pt x="274" y="54"/>
                  </a:lnTo>
                  <a:lnTo>
                    <a:pt x="270" y="47"/>
                  </a:lnTo>
                  <a:lnTo>
                    <a:pt x="265" y="39"/>
                  </a:lnTo>
                  <a:lnTo>
                    <a:pt x="260" y="32"/>
                  </a:lnTo>
                  <a:lnTo>
                    <a:pt x="253" y="25"/>
                  </a:lnTo>
                  <a:lnTo>
                    <a:pt x="246" y="19"/>
                  </a:lnTo>
                  <a:lnTo>
                    <a:pt x="238" y="13"/>
                  </a:lnTo>
                  <a:lnTo>
                    <a:pt x="228" y="9"/>
                  </a:lnTo>
                  <a:lnTo>
                    <a:pt x="218" y="5"/>
                  </a:lnTo>
                  <a:lnTo>
                    <a:pt x="206" y="2"/>
                  </a:lnTo>
                  <a:lnTo>
                    <a:pt x="193" y="1"/>
                  </a:lnTo>
                  <a:lnTo>
                    <a:pt x="179" y="0"/>
                  </a:lnTo>
                  <a:lnTo>
                    <a:pt x="179" y="0"/>
                  </a:lnTo>
                  <a:close/>
                  <a:moveTo>
                    <a:pt x="111" y="59"/>
                  </a:moveTo>
                  <a:lnTo>
                    <a:pt x="111" y="59"/>
                  </a:lnTo>
                  <a:lnTo>
                    <a:pt x="116" y="51"/>
                  </a:lnTo>
                  <a:lnTo>
                    <a:pt x="123" y="44"/>
                  </a:lnTo>
                  <a:lnTo>
                    <a:pt x="130" y="38"/>
                  </a:lnTo>
                  <a:lnTo>
                    <a:pt x="138" y="34"/>
                  </a:lnTo>
                  <a:lnTo>
                    <a:pt x="147" y="29"/>
                  </a:lnTo>
                  <a:lnTo>
                    <a:pt x="157" y="27"/>
                  </a:lnTo>
                  <a:lnTo>
                    <a:pt x="167" y="25"/>
                  </a:lnTo>
                  <a:lnTo>
                    <a:pt x="179" y="25"/>
                  </a:lnTo>
                  <a:lnTo>
                    <a:pt x="179" y="25"/>
                  </a:lnTo>
                  <a:lnTo>
                    <a:pt x="191" y="25"/>
                  </a:lnTo>
                  <a:lnTo>
                    <a:pt x="202" y="27"/>
                  </a:lnTo>
                  <a:lnTo>
                    <a:pt x="212" y="29"/>
                  </a:lnTo>
                  <a:lnTo>
                    <a:pt x="221" y="34"/>
                  </a:lnTo>
                  <a:lnTo>
                    <a:pt x="229" y="38"/>
                  </a:lnTo>
                  <a:lnTo>
                    <a:pt x="237" y="44"/>
                  </a:lnTo>
                  <a:lnTo>
                    <a:pt x="242" y="51"/>
                  </a:lnTo>
                  <a:lnTo>
                    <a:pt x="247" y="59"/>
                  </a:lnTo>
                  <a:lnTo>
                    <a:pt x="247" y="59"/>
                  </a:lnTo>
                  <a:lnTo>
                    <a:pt x="252" y="68"/>
                  </a:lnTo>
                  <a:lnTo>
                    <a:pt x="255" y="76"/>
                  </a:lnTo>
                  <a:lnTo>
                    <a:pt x="257" y="84"/>
                  </a:lnTo>
                  <a:lnTo>
                    <a:pt x="258" y="90"/>
                  </a:lnTo>
                  <a:lnTo>
                    <a:pt x="102" y="90"/>
                  </a:lnTo>
                  <a:lnTo>
                    <a:pt x="102" y="90"/>
                  </a:lnTo>
                  <a:lnTo>
                    <a:pt x="103" y="84"/>
                  </a:lnTo>
                  <a:lnTo>
                    <a:pt x="104" y="76"/>
                  </a:lnTo>
                  <a:lnTo>
                    <a:pt x="107" y="68"/>
                  </a:lnTo>
                  <a:lnTo>
                    <a:pt x="111" y="59"/>
                  </a:lnTo>
                  <a:lnTo>
                    <a:pt x="111" y="59"/>
                  </a:lnTo>
                  <a:close/>
                  <a:moveTo>
                    <a:pt x="268" y="243"/>
                  </a:moveTo>
                  <a:lnTo>
                    <a:pt x="198" y="243"/>
                  </a:lnTo>
                  <a:lnTo>
                    <a:pt x="198" y="312"/>
                  </a:lnTo>
                  <a:lnTo>
                    <a:pt x="160" y="312"/>
                  </a:lnTo>
                  <a:lnTo>
                    <a:pt x="160" y="243"/>
                  </a:lnTo>
                  <a:lnTo>
                    <a:pt x="92" y="243"/>
                  </a:lnTo>
                  <a:lnTo>
                    <a:pt x="92" y="205"/>
                  </a:lnTo>
                  <a:lnTo>
                    <a:pt x="160" y="205"/>
                  </a:lnTo>
                  <a:lnTo>
                    <a:pt x="160" y="136"/>
                  </a:lnTo>
                  <a:lnTo>
                    <a:pt x="198" y="136"/>
                  </a:lnTo>
                  <a:lnTo>
                    <a:pt x="198" y="205"/>
                  </a:lnTo>
                  <a:lnTo>
                    <a:pt x="268" y="205"/>
                  </a:lnTo>
                  <a:lnTo>
                    <a:pt x="268"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sp>
          <p:nvSpPr>
            <p:cNvPr id="93" name="Freeform 9">
              <a:extLst>
                <a:ext uri="{FF2B5EF4-FFF2-40B4-BE49-F238E27FC236}">
                  <a16:creationId xmlns:a16="http://schemas.microsoft.com/office/drawing/2014/main" id="{52346A5C-C347-76FB-0EB5-F243FE2FFFFE}"/>
                </a:ext>
              </a:extLst>
            </p:cNvPr>
            <p:cNvSpPr>
              <a:spLocks/>
            </p:cNvSpPr>
            <p:nvPr/>
          </p:nvSpPr>
          <p:spPr bwMode="auto">
            <a:xfrm>
              <a:off x="3601" y="1921"/>
              <a:ext cx="167" cy="198"/>
            </a:xfrm>
            <a:custGeom>
              <a:avLst/>
              <a:gdLst>
                <a:gd name="T0" fmla="*/ 122 w 167"/>
                <a:gd name="T1" fmla="*/ 198 h 198"/>
                <a:gd name="T2" fmla="*/ 167 w 167"/>
                <a:gd name="T3" fmla="*/ 198 h 198"/>
                <a:gd name="T4" fmla="*/ 24 w 167"/>
                <a:gd name="T5" fmla="*/ 146 h 198"/>
                <a:gd name="T6" fmla="*/ 76 w 167"/>
                <a:gd name="T7" fmla="*/ 6 h 198"/>
                <a:gd name="T8" fmla="*/ 57 w 167"/>
                <a:gd name="T9" fmla="*/ 0 h 198"/>
                <a:gd name="T10" fmla="*/ 0 w 167"/>
                <a:gd name="T11" fmla="*/ 158 h 198"/>
                <a:gd name="T12" fmla="*/ 112 w 167"/>
                <a:gd name="T13" fmla="*/ 198 h 198"/>
                <a:gd name="T14" fmla="*/ 122 w 167"/>
                <a:gd name="T15" fmla="*/ 198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98">
                  <a:moveTo>
                    <a:pt x="122" y="198"/>
                  </a:moveTo>
                  <a:lnTo>
                    <a:pt x="167" y="198"/>
                  </a:lnTo>
                  <a:lnTo>
                    <a:pt x="24" y="146"/>
                  </a:lnTo>
                  <a:lnTo>
                    <a:pt x="76" y="6"/>
                  </a:lnTo>
                  <a:lnTo>
                    <a:pt x="57" y="0"/>
                  </a:lnTo>
                  <a:lnTo>
                    <a:pt x="0" y="158"/>
                  </a:lnTo>
                  <a:lnTo>
                    <a:pt x="112" y="198"/>
                  </a:lnTo>
                  <a:lnTo>
                    <a:pt x="122"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sp>
          <p:nvSpPr>
            <p:cNvPr id="94" name="Freeform 10">
              <a:extLst>
                <a:ext uri="{FF2B5EF4-FFF2-40B4-BE49-F238E27FC236}">
                  <a16:creationId xmlns:a16="http://schemas.microsoft.com/office/drawing/2014/main" id="{A16860C8-2187-5264-4686-79B5C1137C18}"/>
                </a:ext>
              </a:extLst>
            </p:cNvPr>
            <p:cNvSpPr>
              <a:spLocks/>
            </p:cNvSpPr>
            <p:nvPr/>
          </p:nvSpPr>
          <p:spPr bwMode="auto">
            <a:xfrm>
              <a:off x="3745" y="1996"/>
              <a:ext cx="67" cy="74"/>
            </a:xfrm>
            <a:custGeom>
              <a:avLst/>
              <a:gdLst>
                <a:gd name="T0" fmla="*/ 51 w 67"/>
                <a:gd name="T1" fmla="*/ 9 h 74"/>
                <a:gd name="T2" fmla="*/ 36 w 67"/>
                <a:gd name="T3" fmla="*/ 8 h 74"/>
                <a:gd name="T4" fmla="*/ 32 w 67"/>
                <a:gd name="T5" fmla="*/ 10 h 74"/>
                <a:gd name="T6" fmla="*/ 28 w 67"/>
                <a:gd name="T7" fmla="*/ 13 h 74"/>
                <a:gd name="T8" fmla="*/ 22 w 67"/>
                <a:gd name="T9" fmla="*/ 20 h 74"/>
                <a:gd name="T10" fmla="*/ 50 w 67"/>
                <a:gd name="T11" fmla="*/ 37 h 74"/>
                <a:gd name="T12" fmla="*/ 19 w 67"/>
                <a:gd name="T13" fmla="*/ 26 h 74"/>
                <a:gd name="T14" fmla="*/ 19 w 67"/>
                <a:gd name="T15" fmla="*/ 27 h 74"/>
                <a:gd name="T16" fmla="*/ 47 w 67"/>
                <a:gd name="T17" fmla="*/ 42 h 74"/>
                <a:gd name="T18" fmla="*/ 16 w 67"/>
                <a:gd name="T19" fmla="*/ 38 h 74"/>
                <a:gd name="T20" fmla="*/ 15 w 67"/>
                <a:gd name="T21" fmla="*/ 45 h 74"/>
                <a:gd name="T22" fmla="*/ 17 w 67"/>
                <a:gd name="T23" fmla="*/ 53 h 74"/>
                <a:gd name="T24" fmla="*/ 20 w 67"/>
                <a:gd name="T25" fmla="*/ 57 h 74"/>
                <a:gd name="T26" fmla="*/ 29 w 67"/>
                <a:gd name="T27" fmla="*/ 65 h 74"/>
                <a:gd name="T28" fmla="*/ 34 w 67"/>
                <a:gd name="T29" fmla="*/ 66 h 74"/>
                <a:gd name="T30" fmla="*/ 41 w 67"/>
                <a:gd name="T31" fmla="*/ 66 h 74"/>
                <a:gd name="T32" fmla="*/ 41 w 67"/>
                <a:gd name="T33" fmla="*/ 74 h 74"/>
                <a:gd name="T34" fmla="*/ 35 w 67"/>
                <a:gd name="T35" fmla="*/ 74 h 74"/>
                <a:gd name="T36" fmla="*/ 27 w 67"/>
                <a:gd name="T37" fmla="*/ 72 h 74"/>
                <a:gd name="T38" fmla="*/ 15 w 67"/>
                <a:gd name="T39" fmla="*/ 65 h 74"/>
                <a:gd name="T40" fmla="*/ 9 w 67"/>
                <a:gd name="T41" fmla="*/ 58 h 74"/>
                <a:gd name="T42" fmla="*/ 6 w 67"/>
                <a:gd name="T43" fmla="*/ 50 h 74"/>
                <a:gd name="T44" fmla="*/ 6 w 67"/>
                <a:gd name="T45" fmla="*/ 45 h 74"/>
                <a:gd name="T46" fmla="*/ 0 w 67"/>
                <a:gd name="T47" fmla="*/ 33 h 74"/>
                <a:gd name="T48" fmla="*/ 8 w 67"/>
                <a:gd name="T49" fmla="*/ 29 h 74"/>
                <a:gd name="T50" fmla="*/ 9 w 67"/>
                <a:gd name="T51" fmla="*/ 24 h 74"/>
                <a:gd name="T52" fmla="*/ 10 w 67"/>
                <a:gd name="T53" fmla="*/ 22 h 74"/>
                <a:gd name="T54" fmla="*/ 7 w 67"/>
                <a:gd name="T55" fmla="*/ 15 h 74"/>
                <a:gd name="T56" fmla="*/ 12 w 67"/>
                <a:gd name="T57" fmla="*/ 17 h 74"/>
                <a:gd name="T58" fmla="*/ 23 w 67"/>
                <a:gd name="T59" fmla="*/ 5 h 74"/>
                <a:gd name="T60" fmla="*/ 36 w 67"/>
                <a:gd name="T61" fmla="*/ 0 h 74"/>
                <a:gd name="T62" fmla="*/ 44 w 67"/>
                <a:gd name="T63" fmla="*/ 0 h 74"/>
                <a:gd name="T64" fmla="*/ 54 w 67"/>
                <a:gd name="T65" fmla="*/ 2 h 74"/>
                <a:gd name="T66" fmla="*/ 67 w 67"/>
                <a:gd name="T67" fmla="*/ 11 h 74"/>
                <a:gd name="T68" fmla="*/ 61 w 67"/>
                <a:gd name="T69" fmla="*/ 19 h 74"/>
                <a:gd name="T70" fmla="*/ 57 w 67"/>
                <a:gd name="T71" fmla="*/ 14 h 74"/>
                <a:gd name="T72" fmla="*/ 51 w 67"/>
                <a:gd name="T73" fmla="*/ 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74">
                  <a:moveTo>
                    <a:pt x="51" y="9"/>
                  </a:moveTo>
                  <a:lnTo>
                    <a:pt x="51" y="9"/>
                  </a:lnTo>
                  <a:lnTo>
                    <a:pt x="43" y="8"/>
                  </a:lnTo>
                  <a:lnTo>
                    <a:pt x="36" y="8"/>
                  </a:lnTo>
                  <a:lnTo>
                    <a:pt x="36" y="8"/>
                  </a:lnTo>
                  <a:lnTo>
                    <a:pt x="32" y="10"/>
                  </a:lnTo>
                  <a:lnTo>
                    <a:pt x="28" y="13"/>
                  </a:lnTo>
                  <a:lnTo>
                    <a:pt x="28" y="13"/>
                  </a:lnTo>
                  <a:lnTo>
                    <a:pt x="24" y="17"/>
                  </a:lnTo>
                  <a:lnTo>
                    <a:pt x="22" y="20"/>
                  </a:lnTo>
                  <a:lnTo>
                    <a:pt x="54" y="32"/>
                  </a:lnTo>
                  <a:lnTo>
                    <a:pt x="50" y="37"/>
                  </a:lnTo>
                  <a:lnTo>
                    <a:pt x="19" y="26"/>
                  </a:lnTo>
                  <a:lnTo>
                    <a:pt x="19" y="26"/>
                  </a:lnTo>
                  <a:lnTo>
                    <a:pt x="19" y="27"/>
                  </a:lnTo>
                  <a:lnTo>
                    <a:pt x="19" y="27"/>
                  </a:lnTo>
                  <a:lnTo>
                    <a:pt x="17" y="32"/>
                  </a:lnTo>
                  <a:lnTo>
                    <a:pt x="47" y="42"/>
                  </a:lnTo>
                  <a:lnTo>
                    <a:pt x="43" y="49"/>
                  </a:lnTo>
                  <a:lnTo>
                    <a:pt x="16" y="38"/>
                  </a:lnTo>
                  <a:lnTo>
                    <a:pt x="16" y="38"/>
                  </a:lnTo>
                  <a:lnTo>
                    <a:pt x="15" y="45"/>
                  </a:lnTo>
                  <a:lnTo>
                    <a:pt x="16" y="49"/>
                  </a:lnTo>
                  <a:lnTo>
                    <a:pt x="17" y="53"/>
                  </a:lnTo>
                  <a:lnTo>
                    <a:pt x="20" y="57"/>
                  </a:lnTo>
                  <a:lnTo>
                    <a:pt x="20" y="57"/>
                  </a:lnTo>
                  <a:lnTo>
                    <a:pt x="24" y="62"/>
                  </a:lnTo>
                  <a:lnTo>
                    <a:pt x="29" y="65"/>
                  </a:lnTo>
                  <a:lnTo>
                    <a:pt x="29" y="65"/>
                  </a:lnTo>
                  <a:lnTo>
                    <a:pt x="34" y="66"/>
                  </a:lnTo>
                  <a:lnTo>
                    <a:pt x="38" y="66"/>
                  </a:lnTo>
                  <a:lnTo>
                    <a:pt x="41" y="66"/>
                  </a:lnTo>
                  <a:lnTo>
                    <a:pt x="45" y="65"/>
                  </a:lnTo>
                  <a:lnTo>
                    <a:pt x="41" y="74"/>
                  </a:lnTo>
                  <a:lnTo>
                    <a:pt x="41" y="74"/>
                  </a:lnTo>
                  <a:lnTo>
                    <a:pt x="35" y="74"/>
                  </a:lnTo>
                  <a:lnTo>
                    <a:pt x="27" y="72"/>
                  </a:lnTo>
                  <a:lnTo>
                    <a:pt x="27" y="72"/>
                  </a:lnTo>
                  <a:lnTo>
                    <a:pt x="19" y="68"/>
                  </a:lnTo>
                  <a:lnTo>
                    <a:pt x="15" y="65"/>
                  </a:lnTo>
                  <a:lnTo>
                    <a:pt x="11" y="62"/>
                  </a:lnTo>
                  <a:lnTo>
                    <a:pt x="9" y="58"/>
                  </a:lnTo>
                  <a:lnTo>
                    <a:pt x="7" y="54"/>
                  </a:lnTo>
                  <a:lnTo>
                    <a:pt x="6" y="50"/>
                  </a:lnTo>
                  <a:lnTo>
                    <a:pt x="6" y="45"/>
                  </a:lnTo>
                  <a:lnTo>
                    <a:pt x="6" y="45"/>
                  </a:lnTo>
                  <a:lnTo>
                    <a:pt x="6" y="35"/>
                  </a:lnTo>
                  <a:lnTo>
                    <a:pt x="0" y="33"/>
                  </a:lnTo>
                  <a:lnTo>
                    <a:pt x="3" y="26"/>
                  </a:lnTo>
                  <a:lnTo>
                    <a:pt x="8" y="29"/>
                  </a:lnTo>
                  <a:lnTo>
                    <a:pt x="8" y="29"/>
                  </a:lnTo>
                  <a:lnTo>
                    <a:pt x="9" y="24"/>
                  </a:lnTo>
                  <a:lnTo>
                    <a:pt x="9" y="24"/>
                  </a:lnTo>
                  <a:lnTo>
                    <a:pt x="10" y="22"/>
                  </a:lnTo>
                  <a:lnTo>
                    <a:pt x="4" y="20"/>
                  </a:lnTo>
                  <a:lnTo>
                    <a:pt x="7" y="15"/>
                  </a:lnTo>
                  <a:lnTo>
                    <a:pt x="12" y="17"/>
                  </a:lnTo>
                  <a:lnTo>
                    <a:pt x="12" y="17"/>
                  </a:lnTo>
                  <a:lnTo>
                    <a:pt x="18" y="10"/>
                  </a:lnTo>
                  <a:lnTo>
                    <a:pt x="23" y="5"/>
                  </a:lnTo>
                  <a:lnTo>
                    <a:pt x="28" y="2"/>
                  </a:lnTo>
                  <a:lnTo>
                    <a:pt x="36" y="0"/>
                  </a:lnTo>
                  <a:lnTo>
                    <a:pt x="36" y="0"/>
                  </a:lnTo>
                  <a:lnTo>
                    <a:pt x="44" y="0"/>
                  </a:lnTo>
                  <a:lnTo>
                    <a:pt x="54" y="2"/>
                  </a:lnTo>
                  <a:lnTo>
                    <a:pt x="54" y="2"/>
                  </a:lnTo>
                  <a:lnTo>
                    <a:pt x="61" y="6"/>
                  </a:lnTo>
                  <a:lnTo>
                    <a:pt x="67" y="11"/>
                  </a:lnTo>
                  <a:lnTo>
                    <a:pt x="61" y="19"/>
                  </a:lnTo>
                  <a:lnTo>
                    <a:pt x="61" y="19"/>
                  </a:lnTo>
                  <a:lnTo>
                    <a:pt x="59" y="16"/>
                  </a:lnTo>
                  <a:lnTo>
                    <a:pt x="57" y="14"/>
                  </a:lnTo>
                  <a:lnTo>
                    <a:pt x="54" y="11"/>
                  </a:lnTo>
                  <a:lnTo>
                    <a:pt x="51" y="9"/>
                  </a:lnTo>
                  <a:lnTo>
                    <a:pt x="5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grpSp>
      <p:grpSp>
        <p:nvGrpSpPr>
          <p:cNvPr id="95" name="Group 4">
            <a:extLst>
              <a:ext uri="{FF2B5EF4-FFF2-40B4-BE49-F238E27FC236}">
                <a16:creationId xmlns:a16="http://schemas.microsoft.com/office/drawing/2014/main" id="{D8DBAA8E-A8A2-ACB3-D023-B5AC1DD5E26A}"/>
              </a:ext>
            </a:extLst>
          </p:cNvPr>
          <p:cNvGrpSpPr>
            <a:grpSpLocks noChangeAspect="1"/>
          </p:cNvGrpSpPr>
          <p:nvPr/>
        </p:nvGrpSpPr>
        <p:grpSpPr bwMode="auto">
          <a:xfrm>
            <a:off x="8660346" y="4477519"/>
            <a:ext cx="975412" cy="977444"/>
            <a:chOff x="3601" y="1920"/>
            <a:chExt cx="480" cy="481"/>
          </a:xfrm>
          <a:solidFill>
            <a:schemeClr val="tx2"/>
          </a:solidFill>
        </p:grpSpPr>
        <p:sp>
          <p:nvSpPr>
            <p:cNvPr id="96" name="Freeform 5">
              <a:extLst>
                <a:ext uri="{FF2B5EF4-FFF2-40B4-BE49-F238E27FC236}">
                  <a16:creationId xmlns:a16="http://schemas.microsoft.com/office/drawing/2014/main" id="{61D49237-39FE-483D-436F-813204C64BFF}"/>
                </a:ext>
              </a:extLst>
            </p:cNvPr>
            <p:cNvSpPr>
              <a:spLocks noEditPoints="1"/>
            </p:cNvSpPr>
            <p:nvPr/>
          </p:nvSpPr>
          <p:spPr bwMode="auto">
            <a:xfrm>
              <a:off x="3601" y="1920"/>
              <a:ext cx="480" cy="481"/>
            </a:xfrm>
            <a:custGeom>
              <a:avLst/>
              <a:gdLst>
                <a:gd name="T0" fmla="*/ 479 w 480"/>
                <a:gd name="T1" fmla="*/ 230 h 481"/>
                <a:gd name="T2" fmla="*/ 466 w 480"/>
                <a:gd name="T3" fmla="*/ 163 h 481"/>
                <a:gd name="T4" fmla="*/ 437 w 480"/>
                <a:gd name="T5" fmla="*/ 105 h 481"/>
                <a:gd name="T6" fmla="*/ 393 w 480"/>
                <a:gd name="T7" fmla="*/ 56 h 481"/>
                <a:gd name="T8" fmla="*/ 337 w 480"/>
                <a:gd name="T9" fmla="*/ 21 h 481"/>
                <a:gd name="T10" fmla="*/ 273 w 480"/>
                <a:gd name="T11" fmla="*/ 3 h 481"/>
                <a:gd name="T12" fmla="*/ 229 w 480"/>
                <a:gd name="T13" fmla="*/ 0 h 481"/>
                <a:gd name="T14" fmla="*/ 206 w 480"/>
                <a:gd name="T15" fmla="*/ 3 h 481"/>
                <a:gd name="T16" fmla="*/ 142 w 480"/>
                <a:gd name="T17" fmla="*/ 21 h 481"/>
                <a:gd name="T18" fmla="*/ 87 w 480"/>
                <a:gd name="T19" fmla="*/ 56 h 481"/>
                <a:gd name="T20" fmla="*/ 42 w 480"/>
                <a:gd name="T21" fmla="*/ 105 h 481"/>
                <a:gd name="T22" fmla="*/ 13 w 480"/>
                <a:gd name="T23" fmla="*/ 163 h 481"/>
                <a:gd name="T24" fmla="*/ 0 w 480"/>
                <a:gd name="T25" fmla="*/ 230 h 481"/>
                <a:gd name="T26" fmla="*/ 0 w 480"/>
                <a:gd name="T27" fmla="*/ 251 h 481"/>
                <a:gd name="T28" fmla="*/ 6 w 480"/>
                <a:gd name="T29" fmla="*/ 297 h 481"/>
                <a:gd name="T30" fmla="*/ 31 w 480"/>
                <a:gd name="T31" fmla="*/ 358 h 481"/>
                <a:gd name="T32" fmla="*/ 70 w 480"/>
                <a:gd name="T33" fmla="*/ 411 h 481"/>
                <a:gd name="T34" fmla="*/ 123 w 480"/>
                <a:gd name="T35" fmla="*/ 450 h 481"/>
                <a:gd name="T36" fmla="*/ 184 w 480"/>
                <a:gd name="T37" fmla="*/ 475 h 481"/>
                <a:gd name="T38" fmla="*/ 229 w 480"/>
                <a:gd name="T39" fmla="*/ 481 h 481"/>
                <a:gd name="T40" fmla="*/ 251 w 480"/>
                <a:gd name="T41" fmla="*/ 481 h 481"/>
                <a:gd name="T42" fmla="*/ 317 w 480"/>
                <a:gd name="T43" fmla="*/ 468 h 481"/>
                <a:gd name="T44" fmla="*/ 375 w 480"/>
                <a:gd name="T45" fmla="*/ 439 h 481"/>
                <a:gd name="T46" fmla="*/ 424 w 480"/>
                <a:gd name="T47" fmla="*/ 394 h 481"/>
                <a:gd name="T48" fmla="*/ 459 w 480"/>
                <a:gd name="T49" fmla="*/ 339 h 481"/>
                <a:gd name="T50" fmla="*/ 477 w 480"/>
                <a:gd name="T51" fmla="*/ 274 h 481"/>
                <a:gd name="T52" fmla="*/ 480 w 480"/>
                <a:gd name="T53" fmla="*/ 230 h 481"/>
                <a:gd name="T54" fmla="*/ 229 w 480"/>
                <a:gd name="T55" fmla="*/ 425 h 481"/>
                <a:gd name="T56" fmla="*/ 208 w 480"/>
                <a:gd name="T57" fmla="*/ 458 h 481"/>
                <a:gd name="T58" fmla="*/ 150 w 480"/>
                <a:gd name="T59" fmla="*/ 441 h 481"/>
                <a:gd name="T60" fmla="*/ 99 w 480"/>
                <a:gd name="T61" fmla="*/ 409 h 481"/>
                <a:gd name="T62" fmla="*/ 60 w 480"/>
                <a:gd name="T63" fmla="*/ 366 h 481"/>
                <a:gd name="T64" fmla="*/ 33 w 480"/>
                <a:gd name="T65" fmla="*/ 311 h 481"/>
                <a:gd name="T66" fmla="*/ 21 w 480"/>
                <a:gd name="T67" fmla="*/ 251 h 481"/>
                <a:gd name="T68" fmla="*/ 21 w 480"/>
                <a:gd name="T69" fmla="*/ 230 h 481"/>
                <a:gd name="T70" fmla="*/ 27 w 480"/>
                <a:gd name="T71" fmla="*/ 190 h 481"/>
                <a:gd name="T72" fmla="*/ 50 w 480"/>
                <a:gd name="T73" fmla="*/ 133 h 481"/>
                <a:gd name="T74" fmla="*/ 86 w 480"/>
                <a:gd name="T75" fmla="*/ 86 h 481"/>
                <a:gd name="T76" fmla="*/ 132 w 480"/>
                <a:gd name="T77" fmla="*/ 50 h 481"/>
                <a:gd name="T78" fmla="*/ 188 w 480"/>
                <a:gd name="T79" fmla="*/ 28 h 481"/>
                <a:gd name="T80" fmla="*/ 229 w 480"/>
                <a:gd name="T81" fmla="*/ 56 h 481"/>
                <a:gd name="T82" fmla="*/ 251 w 480"/>
                <a:gd name="T83" fmla="*/ 22 h 481"/>
                <a:gd name="T84" fmla="*/ 311 w 480"/>
                <a:gd name="T85" fmla="*/ 34 h 481"/>
                <a:gd name="T86" fmla="*/ 364 w 480"/>
                <a:gd name="T87" fmla="*/ 60 h 481"/>
                <a:gd name="T88" fmla="*/ 408 w 480"/>
                <a:gd name="T89" fmla="*/ 101 h 481"/>
                <a:gd name="T90" fmla="*/ 439 w 480"/>
                <a:gd name="T91" fmla="*/ 152 h 481"/>
                <a:gd name="T92" fmla="*/ 456 w 480"/>
                <a:gd name="T93" fmla="*/ 210 h 481"/>
                <a:gd name="T94" fmla="*/ 424 w 480"/>
                <a:gd name="T95" fmla="*/ 251 h 481"/>
                <a:gd name="T96" fmla="*/ 456 w 480"/>
                <a:gd name="T97" fmla="*/ 272 h 481"/>
                <a:gd name="T98" fmla="*/ 439 w 480"/>
                <a:gd name="T99" fmla="*/ 331 h 481"/>
                <a:gd name="T100" fmla="*/ 408 w 480"/>
                <a:gd name="T101" fmla="*/ 381 h 481"/>
                <a:gd name="T102" fmla="*/ 364 w 480"/>
                <a:gd name="T103" fmla="*/ 421 h 481"/>
                <a:gd name="T104" fmla="*/ 311 w 480"/>
                <a:gd name="T105" fmla="*/ 448 h 481"/>
                <a:gd name="T106" fmla="*/ 251 w 480"/>
                <a:gd name="T107" fmla="*/ 46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0" h="481">
                  <a:moveTo>
                    <a:pt x="480" y="230"/>
                  </a:moveTo>
                  <a:lnTo>
                    <a:pt x="479" y="230"/>
                  </a:lnTo>
                  <a:lnTo>
                    <a:pt x="479" y="230"/>
                  </a:lnTo>
                  <a:lnTo>
                    <a:pt x="477" y="208"/>
                  </a:lnTo>
                  <a:lnTo>
                    <a:pt x="473" y="185"/>
                  </a:lnTo>
                  <a:lnTo>
                    <a:pt x="466" y="163"/>
                  </a:lnTo>
                  <a:lnTo>
                    <a:pt x="459" y="143"/>
                  </a:lnTo>
                  <a:lnTo>
                    <a:pt x="448" y="123"/>
                  </a:lnTo>
                  <a:lnTo>
                    <a:pt x="437" y="105"/>
                  </a:lnTo>
                  <a:lnTo>
                    <a:pt x="424" y="87"/>
                  </a:lnTo>
                  <a:lnTo>
                    <a:pt x="409" y="71"/>
                  </a:lnTo>
                  <a:lnTo>
                    <a:pt x="393" y="56"/>
                  </a:lnTo>
                  <a:lnTo>
                    <a:pt x="375" y="43"/>
                  </a:lnTo>
                  <a:lnTo>
                    <a:pt x="357" y="32"/>
                  </a:lnTo>
                  <a:lnTo>
                    <a:pt x="337" y="21"/>
                  </a:lnTo>
                  <a:lnTo>
                    <a:pt x="317" y="14"/>
                  </a:lnTo>
                  <a:lnTo>
                    <a:pt x="296" y="7"/>
                  </a:lnTo>
                  <a:lnTo>
                    <a:pt x="273" y="3"/>
                  </a:lnTo>
                  <a:lnTo>
                    <a:pt x="251" y="1"/>
                  </a:lnTo>
                  <a:lnTo>
                    <a:pt x="251" y="0"/>
                  </a:lnTo>
                  <a:lnTo>
                    <a:pt x="229" y="0"/>
                  </a:lnTo>
                  <a:lnTo>
                    <a:pt x="229" y="1"/>
                  </a:lnTo>
                  <a:lnTo>
                    <a:pt x="229" y="1"/>
                  </a:lnTo>
                  <a:lnTo>
                    <a:pt x="206" y="3"/>
                  </a:lnTo>
                  <a:lnTo>
                    <a:pt x="184" y="7"/>
                  </a:lnTo>
                  <a:lnTo>
                    <a:pt x="163" y="14"/>
                  </a:lnTo>
                  <a:lnTo>
                    <a:pt x="142" y="21"/>
                  </a:lnTo>
                  <a:lnTo>
                    <a:pt x="123" y="32"/>
                  </a:lnTo>
                  <a:lnTo>
                    <a:pt x="104" y="43"/>
                  </a:lnTo>
                  <a:lnTo>
                    <a:pt x="87" y="56"/>
                  </a:lnTo>
                  <a:lnTo>
                    <a:pt x="70" y="71"/>
                  </a:lnTo>
                  <a:lnTo>
                    <a:pt x="56" y="87"/>
                  </a:lnTo>
                  <a:lnTo>
                    <a:pt x="42" y="105"/>
                  </a:lnTo>
                  <a:lnTo>
                    <a:pt x="31" y="123"/>
                  </a:lnTo>
                  <a:lnTo>
                    <a:pt x="21" y="143"/>
                  </a:lnTo>
                  <a:lnTo>
                    <a:pt x="13" y="163"/>
                  </a:lnTo>
                  <a:lnTo>
                    <a:pt x="6" y="185"/>
                  </a:lnTo>
                  <a:lnTo>
                    <a:pt x="2" y="208"/>
                  </a:lnTo>
                  <a:lnTo>
                    <a:pt x="0" y="230"/>
                  </a:lnTo>
                  <a:lnTo>
                    <a:pt x="0" y="230"/>
                  </a:lnTo>
                  <a:lnTo>
                    <a:pt x="0" y="251"/>
                  </a:lnTo>
                  <a:lnTo>
                    <a:pt x="0" y="251"/>
                  </a:lnTo>
                  <a:lnTo>
                    <a:pt x="0" y="251"/>
                  </a:lnTo>
                  <a:lnTo>
                    <a:pt x="2" y="274"/>
                  </a:lnTo>
                  <a:lnTo>
                    <a:pt x="6" y="297"/>
                  </a:lnTo>
                  <a:lnTo>
                    <a:pt x="13" y="318"/>
                  </a:lnTo>
                  <a:lnTo>
                    <a:pt x="21" y="339"/>
                  </a:lnTo>
                  <a:lnTo>
                    <a:pt x="31" y="358"/>
                  </a:lnTo>
                  <a:lnTo>
                    <a:pt x="42" y="377"/>
                  </a:lnTo>
                  <a:lnTo>
                    <a:pt x="56" y="394"/>
                  </a:lnTo>
                  <a:lnTo>
                    <a:pt x="70" y="411"/>
                  </a:lnTo>
                  <a:lnTo>
                    <a:pt x="87" y="425"/>
                  </a:lnTo>
                  <a:lnTo>
                    <a:pt x="104" y="439"/>
                  </a:lnTo>
                  <a:lnTo>
                    <a:pt x="123" y="450"/>
                  </a:lnTo>
                  <a:lnTo>
                    <a:pt x="142" y="460"/>
                  </a:lnTo>
                  <a:lnTo>
                    <a:pt x="163" y="468"/>
                  </a:lnTo>
                  <a:lnTo>
                    <a:pt x="184" y="475"/>
                  </a:lnTo>
                  <a:lnTo>
                    <a:pt x="206" y="479"/>
                  </a:lnTo>
                  <a:lnTo>
                    <a:pt x="229" y="481"/>
                  </a:lnTo>
                  <a:lnTo>
                    <a:pt x="229" y="481"/>
                  </a:lnTo>
                  <a:lnTo>
                    <a:pt x="251" y="481"/>
                  </a:lnTo>
                  <a:lnTo>
                    <a:pt x="251" y="481"/>
                  </a:lnTo>
                  <a:lnTo>
                    <a:pt x="251" y="481"/>
                  </a:lnTo>
                  <a:lnTo>
                    <a:pt x="273" y="479"/>
                  </a:lnTo>
                  <a:lnTo>
                    <a:pt x="296" y="475"/>
                  </a:lnTo>
                  <a:lnTo>
                    <a:pt x="317" y="468"/>
                  </a:lnTo>
                  <a:lnTo>
                    <a:pt x="337" y="460"/>
                  </a:lnTo>
                  <a:lnTo>
                    <a:pt x="357" y="450"/>
                  </a:lnTo>
                  <a:lnTo>
                    <a:pt x="375" y="439"/>
                  </a:lnTo>
                  <a:lnTo>
                    <a:pt x="393" y="425"/>
                  </a:lnTo>
                  <a:lnTo>
                    <a:pt x="409" y="411"/>
                  </a:lnTo>
                  <a:lnTo>
                    <a:pt x="424" y="394"/>
                  </a:lnTo>
                  <a:lnTo>
                    <a:pt x="437" y="377"/>
                  </a:lnTo>
                  <a:lnTo>
                    <a:pt x="448" y="358"/>
                  </a:lnTo>
                  <a:lnTo>
                    <a:pt x="459" y="339"/>
                  </a:lnTo>
                  <a:lnTo>
                    <a:pt x="466" y="318"/>
                  </a:lnTo>
                  <a:lnTo>
                    <a:pt x="473" y="297"/>
                  </a:lnTo>
                  <a:lnTo>
                    <a:pt x="477" y="274"/>
                  </a:lnTo>
                  <a:lnTo>
                    <a:pt x="479" y="251"/>
                  </a:lnTo>
                  <a:lnTo>
                    <a:pt x="480" y="251"/>
                  </a:lnTo>
                  <a:lnTo>
                    <a:pt x="480" y="230"/>
                  </a:lnTo>
                  <a:close/>
                  <a:moveTo>
                    <a:pt x="251" y="460"/>
                  </a:moveTo>
                  <a:lnTo>
                    <a:pt x="251" y="425"/>
                  </a:lnTo>
                  <a:lnTo>
                    <a:pt x="229" y="425"/>
                  </a:lnTo>
                  <a:lnTo>
                    <a:pt x="229" y="460"/>
                  </a:lnTo>
                  <a:lnTo>
                    <a:pt x="229" y="460"/>
                  </a:lnTo>
                  <a:lnTo>
                    <a:pt x="208" y="458"/>
                  </a:lnTo>
                  <a:lnTo>
                    <a:pt x="188" y="453"/>
                  </a:lnTo>
                  <a:lnTo>
                    <a:pt x="169" y="448"/>
                  </a:lnTo>
                  <a:lnTo>
                    <a:pt x="150" y="441"/>
                  </a:lnTo>
                  <a:lnTo>
                    <a:pt x="132" y="431"/>
                  </a:lnTo>
                  <a:lnTo>
                    <a:pt x="115" y="421"/>
                  </a:lnTo>
                  <a:lnTo>
                    <a:pt x="99" y="409"/>
                  </a:lnTo>
                  <a:lnTo>
                    <a:pt x="86" y="395"/>
                  </a:lnTo>
                  <a:lnTo>
                    <a:pt x="72" y="381"/>
                  </a:lnTo>
                  <a:lnTo>
                    <a:pt x="60" y="366"/>
                  </a:lnTo>
                  <a:lnTo>
                    <a:pt x="50" y="349"/>
                  </a:lnTo>
                  <a:lnTo>
                    <a:pt x="40" y="331"/>
                  </a:lnTo>
                  <a:lnTo>
                    <a:pt x="33" y="311"/>
                  </a:lnTo>
                  <a:lnTo>
                    <a:pt x="27" y="292"/>
                  </a:lnTo>
                  <a:lnTo>
                    <a:pt x="23" y="272"/>
                  </a:lnTo>
                  <a:lnTo>
                    <a:pt x="21" y="251"/>
                  </a:lnTo>
                  <a:lnTo>
                    <a:pt x="56" y="251"/>
                  </a:lnTo>
                  <a:lnTo>
                    <a:pt x="56" y="230"/>
                  </a:lnTo>
                  <a:lnTo>
                    <a:pt x="21" y="230"/>
                  </a:lnTo>
                  <a:lnTo>
                    <a:pt x="21" y="230"/>
                  </a:lnTo>
                  <a:lnTo>
                    <a:pt x="23" y="210"/>
                  </a:lnTo>
                  <a:lnTo>
                    <a:pt x="27" y="190"/>
                  </a:lnTo>
                  <a:lnTo>
                    <a:pt x="33" y="170"/>
                  </a:lnTo>
                  <a:lnTo>
                    <a:pt x="40" y="152"/>
                  </a:lnTo>
                  <a:lnTo>
                    <a:pt x="50" y="133"/>
                  </a:lnTo>
                  <a:lnTo>
                    <a:pt x="60" y="117"/>
                  </a:lnTo>
                  <a:lnTo>
                    <a:pt x="72" y="101"/>
                  </a:lnTo>
                  <a:lnTo>
                    <a:pt x="86" y="86"/>
                  </a:lnTo>
                  <a:lnTo>
                    <a:pt x="99" y="73"/>
                  </a:lnTo>
                  <a:lnTo>
                    <a:pt x="115" y="60"/>
                  </a:lnTo>
                  <a:lnTo>
                    <a:pt x="132" y="50"/>
                  </a:lnTo>
                  <a:lnTo>
                    <a:pt x="150" y="41"/>
                  </a:lnTo>
                  <a:lnTo>
                    <a:pt x="169" y="34"/>
                  </a:lnTo>
                  <a:lnTo>
                    <a:pt x="188" y="28"/>
                  </a:lnTo>
                  <a:lnTo>
                    <a:pt x="208" y="24"/>
                  </a:lnTo>
                  <a:lnTo>
                    <a:pt x="229" y="22"/>
                  </a:lnTo>
                  <a:lnTo>
                    <a:pt x="229" y="56"/>
                  </a:lnTo>
                  <a:lnTo>
                    <a:pt x="251" y="56"/>
                  </a:lnTo>
                  <a:lnTo>
                    <a:pt x="251" y="22"/>
                  </a:lnTo>
                  <a:lnTo>
                    <a:pt x="251" y="22"/>
                  </a:lnTo>
                  <a:lnTo>
                    <a:pt x="271" y="24"/>
                  </a:lnTo>
                  <a:lnTo>
                    <a:pt x="291" y="28"/>
                  </a:lnTo>
                  <a:lnTo>
                    <a:pt x="311" y="34"/>
                  </a:lnTo>
                  <a:lnTo>
                    <a:pt x="330" y="41"/>
                  </a:lnTo>
                  <a:lnTo>
                    <a:pt x="347" y="50"/>
                  </a:lnTo>
                  <a:lnTo>
                    <a:pt x="364" y="60"/>
                  </a:lnTo>
                  <a:lnTo>
                    <a:pt x="380" y="73"/>
                  </a:lnTo>
                  <a:lnTo>
                    <a:pt x="394" y="86"/>
                  </a:lnTo>
                  <a:lnTo>
                    <a:pt x="408" y="101"/>
                  </a:lnTo>
                  <a:lnTo>
                    <a:pt x="420" y="117"/>
                  </a:lnTo>
                  <a:lnTo>
                    <a:pt x="430" y="133"/>
                  </a:lnTo>
                  <a:lnTo>
                    <a:pt x="439" y="152"/>
                  </a:lnTo>
                  <a:lnTo>
                    <a:pt x="446" y="170"/>
                  </a:lnTo>
                  <a:lnTo>
                    <a:pt x="453" y="190"/>
                  </a:lnTo>
                  <a:lnTo>
                    <a:pt x="456" y="210"/>
                  </a:lnTo>
                  <a:lnTo>
                    <a:pt x="458" y="230"/>
                  </a:lnTo>
                  <a:lnTo>
                    <a:pt x="424" y="230"/>
                  </a:lnTo>
                  <a:lnTo>
                    <a:pt x="424" y="251"/>
                  </a:lnTo>
                  <a:lnTo>
                    <a:pt x="458" y="251"/>
                  </a:lnTo>
                  <a:lnTo>
                    <a:pt x="458" y="251"/>
                  </a:lnTo>
                  <a:lnTo>
                    <a:pt x="456" y="272"/>
                  </a:lnTo>
                  <a:lnTo>
                    <a:pt x="453" y="292"/>
                  </a:lnTo>
                  <a:lnTo>
                    <a:pt x="446" y="311"/>
                  </a:lnTo>
                  <a:lnTo>
                    <a:pt x="439" y="331"/>
                  </a:lnTo>
                  <a:lnTo>
                    <a:pt x="430" y="349"/>
                  </a:lnTo>
                  <a:lnTo>
                    <a:pt x="420" y="366"/>
                  </a:lnTo>
                  <a:lnTo>
                    <a:pt x="408" y="381"/>
                  </a:lnTo>
                  <a:lnTo>
                    <a:pt x="394" y="395"/>
                  </a:lnTo>
                  <a:lnTo>
                    <a:pt x="380" y="409"/>
                  </a:lnTo>
                  <a:lnTo>
                    <a:pt x="364" y="421"/>
                  </a:lnTo>
                  <a:lnTo>
                    <a:pt x="347" y="431"/>
                  </a:lnTo>
                  <a:lnTo>
                    <a:pt x="330" y="441"/>
                  </a:lnTo>
                  <a:lnTo>
                    <a:pt x="311" y="448"/>
                  </a:lnTo>
                  <a:lnTo>
                    <a:pt x="291" y="453"/>
                  </a:lnTo>
                  <a:lnTo>
                    <a:pt x="271" y="458"/>
                  </a:lnTo>
                  <a:lnTo>
                    <a:pt x="251" y="460"/>
                  </a:lnTo>
                  <a:lnTo>
                    <a:pt x="251"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sp>
          <p:nvSpPr>
            <p:cNvPr id="97" name="Freeform 6">
              <a:extLst>
                <a:ext uri="{FF2B5EF4-FFF2-40B4-BE49-F238E27FC236}">
                  <a16:creationId xmlns:a16="http://schemas.microsoft.com/office/drawing/2014/main" id="{8ED9FACA-DB55-5157-8C13-04D43FA30B82}"/>
                </a:ext>
              </a:extLst>
            </p:cNvPr>
            <p:cNvSpPr>
              <a:spLocks/>
            </p:cNvSpPr>
            <p:nvPr/>
          </p:nvSpPr>
          <p:spPr bwMode="auto">
            <a:xfrm>
              <a:off x="3755" y="2019"/>
              <a:ext cx="185" cy="158"/>
            </a:xfrm>
            <a:custGeom>
              <a:avLst/>
              <a:gdLst>
                <a:gd name="T0" fmla="*/ 179 w 185"/>
                <a:gd name="T1" fmla="*/ 80 h 158"/>
                <a:gd name="T2" fmla="*/ 97 w 185"/>
                <a:gd name="T3" fmla="*/ 129 h 158"/>
                <a:gd name="T4" fmla="*/ 97 w 185"/>
                <a:gd name="T5" fmla="*/ 129 h 158"/>
                <a:gd name="T6" fmla="*/ 91 w 185"/>
                <a:gd name="T7" fmla="*/ 126 h 158"/>
                <a:gd name="T8" fmla="*/ 86 w 185"/>
                <a:gd name="T9" fmla="*/ 125 h 158"/>
                <a:gd name="T10" fmla="*/ 86 w 185"/>
                <a:gd name="T11" fmla="*/ 125 h 158"/>
                <a:gd name="T12" fmla="*/ 84 w 185"/>
                <a:gd name="T13" fmla="*/ 125 h 158"/>
                <a:gd name="T14" fmla="*/ 11 w 185"/>
                <a:gd name="T15" fmla="*/ 0 h 158"/>
                <a:gd name="T16" fmla="*/ 0 w 185"/>
                <a:gd name="T17" fmla="*/ 6 h 158"/>
                <a:gd name="T18" fmla="*/ 72 w 185"/>
                <a:gd name="T19" fmla="*/ 131 h 158"/>
                <a:gd name="T20" fmla="*/ 72 w 185"/>
                <a:gd name="T21" fmla="*/ 131 h 158"/>
                <a:gd name="T22" fmla="*/ 70 w 185"/>
                <a:gd name="T23" fmla="*/ 136 h 158"/>
                <a:gd name="T24" fmla="*/ 69 w 185"/>
                <a:gd name="T25" fmla="*/ 142 h 158"/>
                <a:gd name="T26" fmla="*/ 69 w 185"/>
                <a:gd name="T27" fmla="*/ 142 h 158"/>
                <a:gd name="T28" fmla="*/ 69 w 185"/>
                <a:gd name="T29" fmla="*/ 145 h 158"/>
                <a:gd name="T30" fmla="*/ 70 w 185"/>
                <a:gd name="T31" fmla="*/ 148 h 158"/>
                <a:gd name="T32" fmla="*/ 73 w 185"/>
                <a:gd name="T33" fmla="*/ 154 h 158"/>
                <a:gd name="T34" fmla="*/ 80 w 185"/>
                <a:gd name="T35" fmla="*/ 157 h 158"/>
                <a:gd name="T36" fmla="*/ 83 w 185"/>
                <a:gd name="T37" fmla="*/ 158 h 158"/>
                <a:gd name="T38" fmla="*/ 86 w 185"/>
                <a:gd name="T39" fmla="*/ 158 h 158"/>
                <a:gd name="T40" fmla="*/ 86 w 185"/>
                <a:gd name="T41" fmla="*/ 158 h 158"/>
                <a:gd name="T42" fmla="*/ 89 w 185"/>
                <a:gd name="T43" fmla="*/ 158 h 158"/>
                <a:gd name="T44" fmla="*/ 92 w 185"/>
                <a:gd name="T45" fmla="*/ 157 h 158"/>
                <a:gd name="T46" fmla="*/ 98 w 185"/>
                <a:gd name="T47" fmla="*/ 154 h 158"/>
                <a:gd name="T48" fmla="*/ 102 w 185"/>
                <a:gd name="T49" fmla="*/ 148 h 158"/>
                <a:gd name="T50" fmla="*/ 102 w 185"/>
                <a:gd name="T51" fmla="*/ 145 h 158"/>
                <a:gd name="T52" fmla="*/ 103 w 185"/>
                <a:gd name="T53" fmla="*/ 142 h 158"/>
                <a:gd name="T54" fmla="*/ 103 w 185"/>
                <a:gd name="T55" fmla="*/ 142 h 158"/>
                <a:gd name="T56" fmla="*/ 103 w 185"/>
                <a:gd name="T57" fmla="*/ 139 h 158"/>
                <a:gd name="T58" fmla="*/ 185 w 185"/>
                <a:gd name="T59" fmla="*/ 92 h 158"/>
                <a:gd name="T60" fmla="*/ 179 w 185"/>
                <a:gd name="T61" fmla="*/ 8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5" h="158">
                  <a:moveTo>
                    <a:pt x="179" y="80"/>
                  </a:moveTo>
                  <a:lnTo>
                    <a:pt x="97" y="129"/>
                  </a:lnTo>
                  <a:lnTo>
                    <a:pt x="97" y="129"/>
                  </a:lnTo>
                  <a:lnTo>
                    <a:pt x="91" y="126"/>
                  </a:lnTo>
                  <a:lnTo>
                    <a:pt x="86" y="125"/>
                  </a:lnTo>
                  <a:lnTo>
                    <a:pt x="86" y="125"/>
                  </a:lnTo>
                  <a:lnTo>
                    <a:pt x="84" y="125"/>
                  </a:lnTo>
                  <a:lnTo>
                    <a:pt x="11" y="0"/>
                  </a:lnTo>
                  <a:lnTo>
                    <a:pt x="0" y="6"/>
                  </a:lnTo>
                  <a:lnTo>
                    <a:pt x="72" y="131"/>
                  </a:lnTo>
                  <a:lnTo>
                    <a:pt x="72" y="131"/>
                  </a:lnTo>
                  <a:lnTo>
                    <a:pt x="70" y="136"/>
                  </a:lnTo>
                  <a:lnTo>
                    <a:pt x="69" y="142"/>
                  </a:lnTo>
                  <a:lnTo>
                    <a:pt x="69" y="142"/>
                  </a:lnTo>
                  <a:lnTo>
                    <a:pt x="69" y="145"/>
                  </a:lnTo>
                  <a:lnTo>
                    <a:pt x="70" y="148"/>
                  </a:lnTo>
                  <a:lnTo>
                    <a:pt x="73" y="154"/>
                  </a:lnTo>
                  <a:lnTo>
                    <a:pt x="80" y="157"/>
                  </a:lnTo>
                  <a:lnTo>
                    <a:pt x="83" y="158"/>
                  </a:lnTo>
                  <a:lnTo>
                    <a:pt x="86" y="158"/>
                  </a:lnTo>
                  <a:lnTo>
                    <a:pt x="86" y="158"/>
                  </a:lnTo>
                  <a:lnTo>
                    <a:pt x="89" y="158"/>
                  </a:lnTo>
                  <a:lnTo>
                    <a:pt x="92" y="157"/>
                  </a:lnTo>
                  <a:lnTo>
                    <a:pt x="98" y="154"/>
                  </a:lnTo>
                  <a:lnTo>
                    <a:pt x="102" y="148"/>
                  </a:lnTo>
                  <a:lnTo>
                    <a:pt x="102" y="145"/>
                  </a:lnTo>
                  <a:lnTo>
                    <a:pt x="103" y="142"/>
                  </a:lnTo>
                  <a:lnTo>
                    <a:pt x="103" y="142"/>
                  </a:lnTo>
                  <a:lnTo>
                    <a:pt x="103" y="139"/>
                  </a:lnTo>
                  <a:lnTo>
                    <a:pt x="185" y="92"/>
                  </a:lnTo>
                  <a:lnTo>
                    <a:pt x="17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grpSp>
      <p:grpSp>
        <p:nvGrpSpPr>
          <p:cNvPr id="98" name="Group 4">
            <a:extLst>
              <a:ext uri="{FF2B5EF4-FFF2-40B4-BE49-F238E27FC236}">
                <a16:creationId xmlns:a16="http://schemas.microsoft.com/office/drawing/2014/main" id="{D8DF86C9-A0E6-9029-5CE6-995A3EC5DA9B}"/>
              </a:ext>
            </a:extLst>
          </p:cNvPr>
          <p:cNvGrpSpPr>
            <a:grpSpLocks noChangeAspect="1"/>
          </p:cNvGrpSpPr>
          <p:nvPr/>
        </p:nvGrpSpPr>
        <p:grpSpPr bwMode="auto">
          <a:xfrm>
            <a:off x="8568204" y="2228425"/>
            <a:ext cx="1057836" cy="1060040"/>
            <a:chOff x="3601" y="1920"/>
            <a:chExt cx="480" cy="481"/>
          </a:xfrm>
          <a:solidFill>
            <a:schemeClr val="tx2"/>
          </a:solidFill>
        </p:grpSpPr>
        <p:sp>
          <p:nvSpPr>
            <p:cNvPr id="99" name="Freeform 5">
              <a:extLst>
                <a:ext uri="{FF2B5EF4-FFF2-40B4-BE49-F238E27FC236}">
                  <a16:creationId xmlns:a16="http://schemas.microsoft.com/office/drawing/2014/main" id="{5889EAA8-5888-6F1F-6885-B71861335365}"/>
                </a:ext>
              </a:extLst>
            </p:cNvPr>
            <p:cNvSpPr>
              <a:spLocks noEditPoints="1"/>
            </p:cNvSpPr>
            <p:nvPr/>
          </p:nvSpPr>
          <p:spPr bwMode="auto">
            <a:xfrm>
              <a:off x="3601" y="1920"/>
              <a:ext cx="480" cy="481"/>
            </a:xfrm>
            <a:custGeom>
              <a:avLst/>
              <a:gdLst>
                <a:gd name="T0" fmla="*/ 300 w 480"/>
                <a:gd name="T1" fmla="*/ 247 h 481"/>
                <a:gd name="T2" fmla="*/ 316 w 480"/>
                <a:gd name="T3" fmla="*/ 213 h 481"/>
                <a:gd name="T4" fmla="*/ 323 w 480"/>
                <a:gd name="T5" fmla="*/ 175 h 481"/>
                <a:gd name="T6" fmla="*/ 323 w 480"/>
                <a:gd name="T7" fmla="*/ 147 h 481"/>
                <a:gd name="T8" fmla="*/ 312 w 480"/>
                <a:gd name="T9" fmla="*/ 101 h 481"/>
                <a:gd name="T10" fmla="*/ 287 w 480"/>
                <a:gd name="T11" fmla="*/ 59 h 481"/>
                <a:gd name="T12" fmla="*/ 265 w 480"/>
                <a:gd name="T13" fmla="*/ 37 h 481"/>
                <a:gd name="T14" fmla="*/ 225 w 480"/>
                <a:gd name="T15" fmla="*/ 13 h 481"/>
                <a:gd name="T16" fmla="*/ 178 w 480"/>
                <a:gd name="T17" fmla="*/ 1 h 481"/>
                <a:gd name="T18" fmla="*/ 146 w 480"/>
                <a:gd name="T19" fmla="*/ 1 h 481"/>
                <a:gd name="T20" fmla="*/ 101 w 480"/>
                <a:gd name="T21" fmla="*/ 13 h 481"/>
                <a:gd name="T22" fmla="*/ 59 w 480"/>
                <a:gd name="T23" fmla="*/ 37 h 481"/>
                <a:gd name="T24" fmla="*/ 37 w 480"/>
                <a:gd name="T25" fmla="*/ 61 h 481"/>
                <a:gd name="T26" fmla="*/ 13 w 480"/>
                <a:gd name="T27" fmla="*/ 102 h 481"/>
                <a:gd name="T28" fmla="*/ 1 w 480"/>
                <a:gd name="T29" fmla="*/ 148 h 481"/>
                <a:gd name="T30" fmla="*/ 3 w 480"/>
                <a:gd name="T31" fmla="*/ 193 h 481"/>
                <a:gd name="T32" fmla="*/ 19 w 480"/>
                <a:gd name="T33" fmla="*/ 238 h 481"/>
                <a:gd name="T34" fmla="*/ 48 w 480"/>
                <a:gd name="T35" fmla="*/ 277 h 481"/>
                <a:gd name="T36" fmla="*/ 72 w 480"/>
                <a:gd name="T37" fmla="*/ 297 h 481"/>
                <a:gd name="T38" fmla="*/ 115 w 480"/>
                <a:gd name="T39" fmla="*/ 317 h 481"/>
                <a:gd name="T40" fmla="*/ 162 w 480"/>
                <a:gd name="T41" fmla="*/ 325 h 481"/>
                <a:gd name="T42" fmla="*/ 188 w 480"/>
                <a:gd name="T43" fmla="*/ 323 h 481"/>
                <a:gd name="T44" fmla="*/ 225 w 480"/>
                <a:gd name="T45" fmla="*/ 312 h 481"/>
                <a:gd name="T46" fmla="*/ 257 w 480"/>
                <a:gd name="T47" fmla="*/ 294 h 481"/>
                <a:gd name="T48" fmla="*/ 294 w 480"/>
                <a:gd name="T49" fmla="*/ 258 h 481"/>
                <a:gd name="T50" fmla="*/ 233 w 480"/>
                <a:gd name="T51" fmla="*/ 248 h 481"/>
                <a:gd name="T52" fmla="*/ 205 w 480"/>
                <a:gd name="T53" fmla="*/ 265 h 481"/>
                <a:gd name="T54" fmla="*/ 174 w 480"/>
                <a:gd name="T55" fmla="*/ 273 h 481"/>
                <a:gd name="T56" fmla="*/ 152 w 480"/>
                <a:gd name="T57" fmla="*/ 273 h 481"/>
                <a:gd name="T58" fmla="*/ 120 w 480"/>
                <a:gd name="T59" fmla="*/ 265 h 481"/>
                <a:gd name="T60" fmla="*/ 92 w 480"/>
                <a:gd name="T61" fmla="*/ 248 h 481"/>
                <a:gd name="T62" fmla="*/ 76 w 480"/>
                <a:gd name="T63" fmla="*/ 233 h 481"/>
                <a:gd name="T64" fmla="*/ 59 w 480"/>
                <a:gd name="T65" fmla="*/ 205 h 481"/>
                <a:gd name="T66" fmla="*/ 52 w 480"/>
                <a:gd name="T67" fmla="*/ 173 h 481"/>
                <a:gd name="T68" fmla="*/ 53 w 480"/>
                <a:gd name="T69" fmla="*/ 141 h 481"/>
                <a:gd name="T70" fmla="*/ 64 w 480"/>
                <a:gd name="T71" fmla="*/ 110 h 481"/>
                <a:gd name="T72" fmla="*/ 84 w 480"/>
                <a:gd name="T73" fmla="*/ 84 h 481"/>
                <a:gd name="T74" fmla="*/ 101 w 480"/>
                <a:gd name="T75" fmla="*/ 70 h 481"/>
                <a:gd name="T76" fmla="*/ 130 w 480"/>
                <a:gd name="T77" fmla="*/ 56 h 481"/>
                <a:gd name="T78" fmla="*/ 162 w 480"/>
                <a:gd name="T79" fmla="*/ 51 h 481"/>
                <a:gd name="T80" fmla="*/ 184 w 480"/>
                <a:gd name="T81" fmla="*/ 53 h 481"/>
                <a:gd name="T82" fmla="*/ 214 w 480"/>
                <a:gd name="T83" fmla="*/ 65 h 481"/>
                <a:gd name="T84" fmla="*/ 241 w 480"/>
                <a:gd name="T85" fmla="*/ 84 h 481"/>
                <a:gd name="T86" fmla="*/ 254 w 480"/>
                <a:gd name="T87" fmla="*/ 101 h 481"/>
                <a:gd name="T88" fmla="*/ 268 w 480"/>
                <a:gd name="T89" fmla="*/ 131 h 481"/>
                <a:gd name="T90" fmla="*/ 273 w 480"/>
                <a:gd name="T91" fmla="*/ 162 h 481"/>
                <a:gd name="T92" fmla="*/ 271 w 480"/>
                <a:gd name="T93" fmla="*/ 185 h 481"/>
                <a:gd name="T94" fmla="*/ 261 w 480"/>
                <a:gd name="T95" fmla="*/ 216 h 481"/>
                <a:gd name="T96" fmla="*/ 241 w 480"/>
                <a:gd name="T97" fmla="*/ 241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0" h="481">
                  <a:moveTo>
                    <a:pt x="294" y="258"/>
                  </a:moveTo>
                  <a:lnTo>
                    <a:pt x="294" y="258"/>
                  </a:lnTo>
                  <a:lnTo>
                    <a:pt x="300" y="247"/>
                  </a:lnTo>
                  <a:lnTo>
                    <a:pt x="306" y="237"/>
                  </a:lnTo>
                  <a:lnTo>
                    <a:pt x="312" y="225"/>
                  </a:lnTo>
                  <a:lnTo>
                    <a:pt x="316" y="213"/>
                  </a:lnTo>
                  <a:lnTo>
                    <a:pt x="320" y="201"/>
                  </a:lnTo>
                  <a:lnTo>
                    <a:pt x="322" y="188"/>
                  </a:lnTo>
                  <a:lnTo>
                    <a:pt x="323" y="175"/>
                  </a:lnTo>
                  <a:lnTo>
                    <a:pt x="324" y="162"/>
                  </a:lnTo>
                  <a:lnTo>
                    <a:pt x="324" y="162"/>
                  </a:lnTo>
                  <a:lnTo>
                    <a:pt x="323" y="147"/>
                  </a:lnTo>
                  <a:lnTo>
                    <a:pt x="321" y="131"/>
                  </a:lnTo>
                  <a:lnTo>
                    <a:pt x="317" y="116"/>
                  </a:lnTo>
                  <a:lnTo>
                    <a:pt x="312" y="101"/>
                  </a:lnTo>
                  <a:lnTo>
                    <a:pt x="305" y="86"/>
                  </a:lnTo>
                  <a:lnTo>
                    <a:pt x="297" y="72"/>
                  </a:lnTo>
                  <a:lnTo>
                    <a:pt x="287" y="59"/>
                  </a:lnTo>
                  <a:lnTo>
                    <a:pt x="277" y="48"/>
                  </a:lnTo>
                  <a:lnTo>
                    <a:pt x="277" y="48"/>
                  </a:lnTo>
                  <a:lnTo>
                    <a:pt x="265" y="37"/>
                  </a:lnTo>
                  <a:lnTo>
                    <a:pt x="252" y="28"/>
                  </a:lnTo>
                  <a:lnTo>
                    <a:pt x="238" y="19"/>
                  </a:lnTo>
                  <a:lnTo>
                    <a:pt x="225" y="13"/>
                  </a:lnTo>
                  <a:lnTo>
                    <a:pt x="210" y="7"/>
                  </a:lnTo>
                  <a:lnTo>
                    <a:pt x="194" y="3"/>
                  </a:lnTo>
                  <a:lnTo>
                    <a:pt x="178" y="1"/>
                  </a:lnTo>
                  <a:lnTo>
                    <a:pt x="162" y="0"/>
                  </a:lnTo>
                  <a:lnTo>
                    <a:pt x="162" y="0"/>
                  </a:lnTo>
                  <a:lnTo>
                    <a:pt x="146" y="1"/>
                  </a:lnTo>
                  <a:lnTo>
                    <a:pt x="130" y="3"/>
                  </a:lnTo>
                  <a:lnTo>
                    <a:pt x="115" y="7"/>
                  </a:lnTo>
                  <a:lnTo>
                    <a:pt x="101" y="13"/>
                  </a:lnTo>
                  <a:lnTo>
                    <a:pt x="86" y="19"/>
                  </a:lnTo>
                  <a:lnTo>
                    <a:pt x="72" y="28"/>
                  </a:lnTo>
                  <a:lnTo>
                    <a:pt x="59" y="37"/>
                  </a:lnTo>
                  <a:lnTo>
                    <a:pt x="48" y="48"/>
                  </a:lnTo>
                  <a:lnTo>
                    <a:pt x="48" y="48"/>
                  </a:lnTo>
                  <a:lnTo>
                    <a:pt x="37" y="61"/>
                  </a:lnTo>
                  <a:lnTo>
                    <a:pt x="28" y="73"/>
                  </a:lnTo>
                  <a:lnTo>
                    <a:pt x="19" y="87"/>
                  </a:lnTo>
                  <a:lnTo>
                    <a:pt x="13" y="102"/>
                  </a:lnTo>
                  <a:lnTo>
                    <a:pt x="7" y="117"/>
                  </a:lnTo>
                  <a:lnTo>
                    <a:pt x="3" y="132"/>
                  </a:lnTo>
                  <a:lnTo>
                    <a:pt x="1" y="148"/>
                  </a:lnTo>
                  <a:lnTo>
                    <a:pt x="0" y="162"/>
                  </a:lnTo>
                  <a:lnTo>
                    <a:pt x="1" y="178"/>
                  </a:lnTo>
                  <a:lnTo>
                    <a:pt x="3" y="193"/>
                  </a:lnTo>
                  <a:lnTo>
                    <a:pt x="7" y="209"/>
                  </a:lnTo>
                  <a:lnTo>
                    <a:pt x="13" y="224"/>
                  </a:lnTo>
                  <a:lnTo>
                    <a:pt x="19" y="238"/>
                  </a:lnTo>
                  <a:lnTo>
                    <a:pt x="28" y="252"/>
                  </a:lnTo>
                  <a:lnTo>
                    <a:pt x="37" y="265"/>
                  </a:lnTo>
                  <a:lnTo>
                    <a:pt x="48" y="277"/>
                  </a:lnTo>
                  <a:lnTo>
                    <a:pt x="48" y="277"/>
                  </a:lnTo>
                  <a:lnTo>
                    <a:pt x="59" y="288"/>
                  </a:lnTo>
                  <a:lnTo>
                    <a:pt x="72" y="297"/>
                  </a:lnTo>
                  <a:lnTo>
                    <a:pt x="86" y="306"/>
                  </a:lnTo>
                  <a:lnTo>
                    <a:pt x="101" y="312"/>
                  </a:lnTo>
                  <a:lnTo>
                    <a:pt x="115" y="317"/>
                  </a:lnTo>
                  <a:lnTo>
                    <a:pt x="130" y="322"/>
                  </a:lnTo>
                  <a:lnTo>
                    <a:pt x="146" y="324"/>
                  </a:lnTo>
                  <a:lnTo>
                    <a:pt x="162" y="325"/>
                  </a:lnTo>
                  <a:lnTo>
                    <a:pt x="162" y="325"/>
                  </a:lnTo>
                  <a:lnTo>
                    <a:pt x="175" y="324"/>
                  </a:lnTo>
                  <a:lnTo>
                    <a:pt x="188" y="323"/>
                  </a:lnTo>
                  <a:lnTo>
                    <a:pt x="200" y="321"/>
                  </a:lnTo>
                  <a:lnTo>
                    <a:pt x="213" y="316"/>
                  </a:lnTo>
                  <a:lnTo>
                    <a:pt x="225" y="312"/>
                  </a:lnTo>
                  <a:lnTo>
                    <a:pt x="236" y="307"/>
                  </a:lnTo>
                  <a:lnTo>
                    <a:pt x="247" y="302"/>
                  </a:lnTo>
                  <a:lnTo>
                    <a:pt x="257" y="294"/>
                  </a:lnTo>
                  <a:lnTo>
                    <a:pt x="444" y="481"/>
                  </a:lnTo>
                  <a:lnTo>
                    <a:pt x="480" y="445"/>
                  </a:lnTo>
                  <a:lnTo>
                    <a:pt x="294" y="258"/>
                  </a:lnTo>
                  <a:close/>
                  <a:moveTo>
                    <a:pt x="241" y="241"/>
                  </a:moveTo>
                  <a:lnTo>
                    <a:pt x="241" y="241"/>
                  </a:lnTo>
                  <a:lnTo>
                    <a:pt x="233" y="248"/>
                  </a:lnTo>
                  <a:lnTo>
                    <a:pt x="224" y="255"/>
                  </a:lnTo>
                  <a:lnTo>
                    <a:pt x="214" y="261"/>
                  </a:lnTo>
                  <a:lnTo>
                    <a:pt x="205" y="265"/>
                  </a:lnTo>
                  <a:lnTo>
                    <a:pt x="195" y="269"/>
                  </a:lnTo>
                  <a:lnTo>
                    <a:pt x="184" y="272"/>
                  </a:lnTo>
                  <a:lnTo>
                    <a:pt x="174" y="273"/>
                  </a:lnTo>
                  <a:lnTo>
                    <a:pt x="162" y="274"/>
                  </a:lnTo>
                  <a:lnTo>
                    <a:pt x="162" y="274"/>
                  </a:lnTo>
                  <a:lnTo>
                    <a:pt x="152" y="273"/>
                  </a:lnTo>
                  <a:lnTo>
                    <a:pt x="141" y="272"/>
                  </a:lnTo>
                  <a:lnTo>
                    <a:pt x="130" y="269"/>
                  </a:lnTo>
                  <a:lnTo>
                    <a:pt x="120" y="265"/>
                  </a:lnTo>
                  <a:lnTo>
                    <a:pt x="110" y="261"/>
                  </a:lnTo>
                  <a:lnTo>
                    <a:pt x="101" y="255"/>
                  </a:lnTo>
                  <a:lnTo>
                    <a:pt x="92" y="248"/>
                  </a:lnTo>
                  <a:lnTo>
                    <a:pt x="84" y="241"/>
                  </a:lnTo>
                  <a:lnTo>
                    <a:pt x="84" y="241"/>
                  </a:lnTo>
                  <a:lnTo>
                    <a:pt x="76" y="233"/>
                  </a:lnTo>
                  <a:lnTo>
                    <a:pt x="70" y="224"/>
                  </a:lnTo>
                  <a:lnTo>
                    <a:pt x="64" y="214"/>
                  </a:lnTo>
                  <a:lnTo>
                    <a:pt x="59" y="205"/>
                  </a:lnTo>
                  <a:lnTo>
                    <a:pt x="56" y="194"/>
                  </a:lnTo>
                  <a:lnTo>
                    <a:pt x="53" y="184"/>
                  </a:lnTo>
                  <a:lnTo>
                    <a:pt x="52" y="173"/>
                  </a:lnTo>
                  <a:lnTo>
                    <a:pt x="51" y="162"/>
                  </a:lnTo>
                  <a:lnTo>
                    <a:pt x="52" y="152"/>
                  </a:lnTo>
                  <a:lnTo>
                    <a:pt x="53" y="141"/>
                  </a:lnTo>
                  <a:lnTo>
                    <a:pt x="56" y="131"/>
                  </a:lnTo>
                  <a:lnTo>
                    <a:pt x="59" y="121"/>
                  </a:lnTo>
                  <a:lnTo>
                    <a:pt x="64" y="110"/>
                  </a:lnTo>
                  <a:lnTo>
                    <a:pt x="70" y="102"/>
                  </a:lnTo>
                  <a:lnTo>
                    <a:pt x="76" y="92"/>
                  </a:lnTo>
                  <a:lnTo>
                    <a:pt x="84" y="84"/>
                  </a:lnTo>
                  <a:lnTo>
                    <a:pt x="84" y="84"/>
                  </a:lnTo>
                  <a:lnTo>
                    <a:pt x="92" y="76"/>
                  </a:lnTo>
                  <a:lnTo>
                    <a:pt x="101" y="70"/>
                  </a:lnTo>
                  <a:lnTo>
                    <a:pt x="110" y="65"/>
                  </a:lnTo>
                  <a:lnTo>
                    <a:pt x="120" y="59"/>
                  </a:lnTo>
                  <a:lnTo>
                    <a:pt x="130" y="56"/>
                  </a:lnTo>
                  <a:lnTo>
                    <a:pt x="141" y="53"/>
                  </a:lnTo>
                  <a:lnTo>
                    <a:pt x="152" y="52"/>
                  </a:lnTo>
                  <a:lnTo>
                    <a:pt x="162" y="51"/>
                  </a:lnTo>
                  <a:lnTo>
                    <a:pt x="162" y="51"/>
                  </a:lnTo>
                  <a:lnTo>
                    <a:pt x="174" y="52"/>
                  </a:lnTo>
                  <a:lnTo>
                    <a:pt x="184" y="53"/>
                  </a:lnTo>
                  <a:lnTo>
                    <a:pt x="195" y="56"/>
                  </a:lnTo>
                  <a:lnTo>
                    <a:pt x="205" y="59"/>
                  </a:lnTo>
                  <a:lnTo>
                    <a:pt x="214" y="65"/>
                  </a:lnTo>
                  <a:lnTo>
                    <a:pt x="224" y="70"/>
                  </a:lnTo>
                  <a:lnTo>
                    <a:pt x="233" y="76"/>
                  </a:lnTo>
                  <a:lnTo>
                    <a:pt x="241" y="84"/>
                  </a:lnTo>
                  <a:lnTo>
                    <a:pt x="241" y="84"/>
                  </a:lnTo>
                  <a:lnTo>
                    <a:pt x="248" y="92"/>
                  </a:lnTo>
                  <a:lnTo>
                    <a:pt x="254" y="101"/>
                  </a:lnTo>
                  <a:lnTo>
                    <a:pt x="261" y="110"/>
                  </a:lnTo>
                  <a:lnTo>
                    <a:pt x="265" y="120"/>
                  </a:lnTo>
                  <a:lnTo>
                    <a:pt x="268" y="131"/>
                  </a:lnTo>
                  <a:lnTo>
                    <a:pt x="271" y="141"/>
                  </a:lnTo>
                  <a:lnTo>
                    <a:pt x="272" y="152"/>
                  </a:lnTo>
                  <a:lnTo>
                    <a:pt x="273" y="162"/>
                  </a:lnTo>
                  <a:lnTo>
                    <a:pt x="273" y="162"/>
                  </a:lnTo>
                  <a:lnTo>
                    <a:pt x="272" y="174"/>
                  </a:lnTo>
                  <a:lnTo>
                    <a:pt x="271" y="185"/>
                  </a:lnTo>
                  <a:lnTo>
                    <a:pt x="268" y="195"/>
                  </a:lnTo>
                  <a:lnTo>
                    <a:pt x="265" y="205"/>
                  </a:lnTo>
                  <a:lnTo>
                    <a:pt x="261" y="216"/>
                  </a:lnTo>
                  <a:lnTo>
                    <a:pt x="254" y="224"/>
                  </a:lnTo>
                  <a:lnTo>
                    <a:pt x="248" y="234"/>
                  </a:lnTo>
                  <a:lnTo>
                    <a:pt x="241" y="241"/>
                  </a:lnTo>
                  <a:lnTo>
                    <a:pt x="241"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sp>
          <p:nvSpPr>
            <p:cNvPr id="100" name="Freeform 6">
              <a:extLst>
                <a:ext uri="{FF2B5EF4-FFF2-40B4-BE49-F238E27FC236}">
                  <a16:creationId xmlns:a16="http://schemas.microsoft.com/office/drawing/2014/main" id="{A6BEDA2D-8ED7-EC7F-BF3B-15CE1B793220}"/>
                </a:ext>
              </a:extLst>
            </p:cNvPr>
            <p:cNvSpPr>
              <a:spLocks/>
            </p:cNvSpPr>
            <p:nvPr/>
          </p:nvSpPr>
          <p:spPr bwMode="auto">
            <a:xfrm>
              <a:off x="3703" y="2022"/>
              <a:ext cx="121" cy="121"/>
            </a:xfrm>
            <a:custGeom>
              <a:avLst/>
              <a:gdLst>
                <a:gd name="T0" fmla="*/ 71 w 121"/>
                <a:gd name="T1" fmla="*/ 0 h 121"/>
                <a:gd name="T2" fmla="*/ 50 w 121"/>
                <a:gd name="T3" fmla="*/ 0 h 121"/>
                <a:gd name="T4" fmla="*/ 50 w 121"/>
                <a:gd name="T5" fmla="*/ 50 h 121"/>
                <a:gd name="T6" fmla="*/ 0 w 121"/>
                <a:gd name="T7" fmla="*/ 50 h 121"/>
                <a:gd name="T8" fmla="*/ 0 w 121"/>
                <a:gd name="T9" fmla="*/ 71 h 121"/>
                <a:gd name="T10" fmla="*/ 50 w 121"/>
                <a:gd name="T11" fmla="*/ 71 h 121"/>
                <a:gd name="T12" fmla="*/ 50 w 121"/>
                <a:gd name="T13" fmla="*/ 121 h 121"/>
                <a:gd name="T14" fmla="*/ 71 w 121"/>
                <a:gd name="T15" fmla="*/ 121 h 121"/>
                <a:gd name="T16" fmla="*/ 71 w 121"/>
                <a:gd name="T17" fmla="*/ 71 h 121"/>
                <a:gd name="T18" fmla="*/ 121 w 121"/>
                <a:gd name="T19" fmla="*/ 71 h 121"/>
                <a:gd name="T20" fmla="*/ 121 w 121"/>
                <a:gd name="T21" fmla="*/ 50 h 121"/>
                <a:gd name="T22" fmla="*/ 71 w 121"/>
                <a:gd name="T23" fmla="*/ 50 h 121"/>
                <a:gd name="T24" fmla="*/ 71 w 121"/>
                <a:gd name="T25"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21">
                  <a:moveTo>
                    <a:pt x="71" y="0"/>
                  </a:moveTo>
                  <a:lnTo>
                    <a:pt x="50" y="0"/>
                  </a:lnTo>
                  <a:lnTo>
                    <a:pt x="50" y="50"/>
                  </a:lnTo>
                  <a:lnTo>
                    <a:pt x="0" y="50"/>
                  </a:lnTo>
                  <a:lnTo>
                    <a:pt x="0" y="71"/>
                  </a:lnTo>
                  <a:lnTo>
                    <a:pt x="50" y="71"/>
                  </a:lnTo>
                  <a:lnTo>
                    <a:pt x="50" y="121"/>
                  </a:lnTo>
                  <a:lnTo>
                    <a:pt x="71" y="121"/>
                  </a:lnTo>
                  <a:lnTo>
                    <a:pt x="71" y="71"/>
                  </a:lnTo>
                  <a:lnTo>
                    <a:pt x="121" y="71"/>
                  </a:lnTo>
                  <a:lnTo>
                    <a:pt x="121" y="50"/>
                  </a:lnTo>
                  <a:lnTo>
                    <a:pt x="71" y="5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grpSp>
      <p:grpSp>
        <p:nvGrpSpPr>
          <p:cNvPr id="101" name="Group 4">
            <a:extLst>
              <a:ext uri="{FF2B5EF4-FFF2-40B4-BE49-F238E27FC236}">
                <a16:creationId xmlns:a16="http://schemas.microsoft.com/office/drawing/2014/main" id="{E934882D-A5F3-3FF0-FB4B-302E88353FA1}"/>
              </a:ext>
            </a:extLst>
          </p:cNvPr>
          <p:cNvGrpSpPr>
            <a:grpSpLocks noChangeAspect="1"/>
          </p:cNvGrpSpPr>
          <p:nvPr/>
        </p:nvGrpSpPr>
        <p:grpSpPr bwMode="auto">
          <a:xfrm>
            <a:off x="5387160" y="2143045"/>
            <a:ext cx="1173744" cy="980567"/>
            <a:chOff x="3601" y="1960"/>
            <a:chExt cx="480" cy="401"/>
          </a:xfrm>
          <a:solidFill>
            <a:schemeClr val="tx2"/>
          </a:solidFill>
        </p:grpSpPr>
        <p:sp>
          <p:nvSpPr>
            <p:cNvPr id="102" name="Freeform 5">
              <a:extLst>
                <a:ext uri="{FF2B5EF4-FFF2-40B4-BE49-F238E27FC236}">
                  <a16:creationId xmlns:a16="http://schemas.microsoft.com/office/drawing/2014/main" id="{F046CF9F-29A2-1472-571D-0A49D3C80184}"/>
                </a:ext>
              </a:extLst>
            </p:cNvPr>
            <p:cNvSpPr>
              <a:spLocks/>
            </p:cNvSpPr>
            <p:nvPr/>
          </p:nvSpPr>
          <p:spPr bwMode="auto">
            <a:xfrm>
              <a:off x="3601" y="2021"/>
              <a:ext cx="195" cy="340"/>
            </a:xfrm>
            <a:custGeom>
              <a:avLst/>
              <a:gdLst>
                <a:gd name="T0" fmla="*/ 180 w 195"/>
                <a:gd name="T1" fmla="*/ 44 h 340"/>
                <a:gd name="T2" fmla="*/ 180 w 195"/>
                <a:gd name="T3" fmla="*/ 40 h 340"/>
                <a:gd name="T4" fmla="*/ 180 w 195"/>
                <a:gd name="T5" fmla="*/ 34 h 340"/>
                <a:gd name="T6" fmla="*/ 179 w 195"/>
                <a:gd name="T7" fmla="*/ 30 h 340"/>
                <a:gd name="T8" fmla="*/ 179 w 195"/>
                <a:gd name="T9" fmla="*/ 26 h 340"/>
                <a:gd name="T10" fmla="*/ 177 w 195"/>
                <a:gd name="T11" fmla="*/ 20 h 340"/>
                <a:gd name="T12" fmla="*/ 176 w 195"/>
                <a:gd name="T13" fmla="*/ 17 h 340"/>
                <a:gd name="T14" fmla="*/ 173 w 195"/>
                <a:gd name="T15" fmla="*/ 14 h 340"/>
                <a:gd name="T16" fmla="*/ 171 w 195"/>
                <a:gd name="T17" fmla="*/ 11 h 340"/>
                <a:gd name="T18" fmla="*/ 169 w 195"/>
                <a:gd name="T19" fmla="*/ 9 h 340"/>
                <a:gd name="T20" fmla="*/ 166 w 195"/>
                <a:gd name="T21" fmla="*/ 6 h 340"/>
                <a:gd name="T22" fmla="*/ 163 w 195"/>
                <a:gd name="T23" fmla="*/ 4 h 340"/>
                <a:gd name="T24" fmla="*/ 160 w 195"/>
                <a:gd name="T25" fmla="*/ 2 h 340"/>
                <a:gd name="T26" fmla="*/ 156 w 195"/>
                <a:gd name="T27" fmla="*/ 1 h 340"/>
                <a:gd name="T28" fmla="*/ 152 w 195"/>
                <a:gd name="T29" fmla="*/ 0 h 340"/>
                <a:gd name="T30" fmla="*/ 149 w 195"/>
                <a:gd name="T31" fmla="*/ 0 h 340"/>
                <a:gd name="T32" fmla="*/ 147 w 195"/>
                <a:gd name="T33" fmla="*/ 0 h 340"/>
                <a:gd name="T34" fmla="*/ 143 w 195"/>
                <a:gd name="T35" fmla="*/ 0 h 340"/>
                <a:gd name="T36" fmla="*/ 140 w 195"/>
                <a:gd name="T37" fmla="*/ 1 h 340"/>
                <a:gd name="T38" fmla="*/ 135 w 195"/>
                <a:gd name="T39" fmla="*/ 2 h 340"/>
                <a:gd name="T40" fmla="*/ 131 w 195"/>
                <a:gd name="T41" fmla="*/ 4 h 340"/>
                <a:gd name="T42" fmla="*/ 127 w 195"/>
                <a:gd name="T43" fmla="*/ 6 h 340"/>
                <a:gd name="T44" fmla="*/ 123 w 195"/>
                <a:gd name="T45" fmla="*/ 8 h 340"/>
                <a:gd name="T46" fmla="*/ 118 w 195"/>
                <a:gd name="T47" fmla="*/ 10 h 340"/>
                <a:gd name="T48" fmla="*/ 114 w 195"/>
                <a:gd name="T49" fmla="*/ 12 h 340"/>
                <a:gd name="T50" fmla="*/ 109 w 195"/>
                <a:gd name="T51" fmla="*/ 16 h 340"/>
                <a:gd name="T52" fmla="*/ 104 w 195"/>
                <a:gd name="T53" fmla="*/ 19 h 340"/>
                <a:gd name="T54" fmla="*/ 98 w 195"/>
                <a:gd name="T55" fmla="*/ 24 h 340"/>
                <a:gd name="T56" fmla="*/ 94 w 195"/>
                <a:gd name="T57" fmla="*/ 28 h 340"/>
                <a:gd name="T58" fmla="*/ 63 w 195"/>
                <a:gd name="T59" fmla="*/ 63 h 340"/>
                <a:gd name="T60" fmla="*/ 23 w 195"/>
                <a:gd name="T61" fmla="*/ 138 h 340"/>
                <a:gd name="T62" fmla="*/ 2 w 195"/>
                <a:gd name="T63" fmla="*/ 220 h 340"/>
                <a:gd name="T64" fmla="*/ 6 w 195"/>
                <a:gd name="T65" fmla="*/ 299 h 340"/>
                <a:gd name="T66" fmla="*/ 20 w 195"/>
                <a:gd name="T67" fmla="*/ 332 h 340"/>
                <a:gd name="T68" fmla="*/ 22 w 195"/>
                <a:gd name="T69" fmla="*/ 334 h 340"/>
                <a:gd name="T70" fmla="*/ 23 w 195"/>
                <a:gd name="T71" fmla="*/ 336 h 340"/>
                <a:gd name="T72" fmla="*/ 25 w 195"/>
                <a:gd name="T73" fmla="*/ 337 h 340"/>
                <a:gd name="T74" fmla="*/ 26 w 195"/>
                <a:gd name="T75" fmla="*/ 338 h 340"/>
                <a:gd name="T76" fmla="*/ 29 w 195"/>
                <a:gd name="T77" fmla="*/ 339 h 340"/>
                <a:gd name="T78" fmla="*/ 30 w 195"/>
                <a:gd name="T79" fmla="*/ 340 h 340"/>
                <a:gd name="T80" fmla="*/ 32 w 195"/>
                <a:gd name="T81" fmla="*/ 340 h 340"/>
                <a:gd name="T82" fmla="*/ 35 w 195"/>
                <a:gd name="T83" fmla="*/ 340 h 340"/>
                <a:gd name="T84" fmla="*/ 38 w 195"/>
                <a:gd name="T85" fmla="*/ 339 h 340"/>
                <a:gd name="T86" fmla="*/ 41 w 195"/>
                <a:gd name="T87" fmla="*/ 338 h 340"/>
                <a:gd name="T88" fmla="*/ 44 w 195"/>
                <a:gd name="T89" fmla="*/ 336 h 340"/>
                <a:gd name="T90" fmla="*/ 48 w 195"/>
                <a:gd name="T91" fmla="*/ 335 h 340"/>
                <a:gd name="T92" fmla="*/ 52 w 195"/>
                <a:gd name="T93" fmla="*/ 333 h 340"/>
                <a:gd name="T94" fmla="*/ 55 w 195"/>
                <a:gd name="T95" fmla="*/ 330 h 340"/>
                <a:gd name="T96" fmla="*/ 59 w 195"/>
                <a:gd name="T97" fmla="*/ 327 h 340"/>
                <a:gd name="T98" fmla="*/ 64 w 195"/>
                <a:gd name="T99" fmla="*/ 325 h 340"/>
                <a:gd name="T100" fmla="*/ 68 w 195"/>
                <a:gd name="T101" fmla="*/ 323 h 340"/>
                <a:gd name="T102" fmla="*/ 73 w 195"/>
                <a:gd name="T103" fmla="*/ 321 h 340"/>
                <a:gd name="T104" fmla="*/ 77 w 195"/>
                <a:gd name="T105" fmla="*/ 319 h 340"/>
                <a:gd name="T106" fmla="*/ 82 w 195"/>
                <a:gd name="T107" fmla="*/ 317 h 340"/>
                <a:gd name="T108" fmla="*/ 88 w 195"/>
                <a:gd name="T109" fmla="*/ 315 h 340"/>
                <a:gd name="T110" fmla="*/ 94 w 195"/>
                <a:gd name="T111" fmla="*/ 314 h 340"/>
                <a:gd name="T112" fmla="*/ 142 w 195"/>
                <a:gd name="T113" fmla="*/ 305 h 340"/>
                <a:gd name="T114" fmla="*/ 178 w 195"/>
                <a:gd name="T115" fmla="*/ 287 h 340"/>
                <a:gd name="T116" fmla="*/ 185 w 195"/>
                <a:gd name="T117" fmla="*/ 273 h 340"/>
                <a:gd name="T118" fmla="*/ 195 w 195"/>
                <a:gd name="T119" fmla="*/ 161 h 340"/>
                <a:gd name="T120" fmla="*/ 184 w 195"/>
                <a:gd name="T121" fmla="*/ 111 h 340"/>
                <a:gd name="T122" fmla="*/ 179 w 195"/>
                <a:gd name="T123" fmla="*/ 4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5" h="340">
                  <a:moveTo>
                    <a:pt x="179" y="49"/>
                  </a:moveTo>
                  <a:lnTo>
                    <a:pt x="179" y="49"/>
                  </a:lnTo>
                  <a:lnTo>
                    <a:pt x="180" y="44"/>
                  </a:lnTo>
                  <a:lnTo>
                    <a:pt x="180" y="44"/>
                  </a:lnTo>
                  <a:lnTo>
                    <a:pt x="180" y="43"/>
                  </a:lnTo>
                  <a:lnTo>
                    <a:pt x="180" y="43"/>
                  </a:lnTo>
                  <a:lnTo>
                    <a:pt x="180" y="40"/>
                  </a:lnTo>
                  <a:lnTo>
                    <a:pt x="180" y="40"/>
                  </a:lnTo>
                  <a:lnTo>
                    <a:pt x="180" y="37"/>
                  </a:lnTo>
                  <a:lnTo>
                    <a:pt x="180" y="37"/>
                  </a:lnTo>
                  <a:lnTo>
                    <a:pt x="180" y="34"/>
                  </a:lnTo>
                  <a:lnTo>
                    <a:pt x="180" y="34"/>
                  </a:lnTo>
                  <a:lnTo>
                    <a:pt x="180" y="33"/>
                  </a:lnTo>
                  <a:lnTo>
                    <a:pt x="180" y="33"/>
                  </a:lnTo>
                  <a:lnTo>
                    <a:pt x="179" y="30"/>
                  </a:lnTo>
                  <a:lnTo>
                    <a:pt x="179" y="30"/>
                  </a:lnTo>
                  <a:lnTo>
                    <a:pt x="179" y="29"/>
                  </a:lnTo>
                  <a:lnTo>
                    <a:pt x="179" y="29"/>
                  </a:lnTo>
                  <a:lnTo>
                    <a:pt x="179" y="26"/>
                  </a:lnTo>
                  <a:lnTo>
                    <a:pt x="179" y="26"/>
                  </a:lnTo>
                  <a:lnTo>
                    <a:pt x="178" y="25"/>
                  </a:lnTo>
                  <a:lnTo>
                    <a:pt x="178" y="25"/>
                  </a:lnTo>
                  <a:lnTo>
                    <a:pt x="177" y="20"/>
                  </a:lnTo>
                  <a:lnTo>
                    <a:pt x="177" y="20"/>
                  </a:lnTo>
                  <a:lnTo>
                    <a:pt x="177" y="20"/>
                  </a:lnTo>
                  <a:lnTo>
                    <a:pt x="177" y="20"/>
                  </a:lnTo>
                  <a:lnTo>
                    <a:pt x="176" y="17"/>
                  </a:lnTo>
                  <a:lnTo>
                    <a:pt x="176" y="17"/>
                  </a:lnTo>
                  <a:lnTo>
                    <a:pt x="174" y="16"/>
                  </a:lnTo>
                  <a:lnTo>
                    <a:pt x="174" y="16"/>
                  </a:lnTo>
                  <a:lnTo>
                    <a:pt x="173" y="14"/>
                  </a:lnTo>
                  <a:lnTo>
                    <a:pt x="173" y="14"/>
                  </a:lnTo>
                  <a:lnTo>
                    <a:pt x="173" y="13"/>
                  </a:lnTo>
                  <a:lnTo>
                    <a:pt x="173" y="13"/>
                  </a:lnTo>
                  <a:lnTo>
                    <a:pt x="171" y="11"/>
                  </a:lnTo>
                  <a:lnTo>
                    <a:pt x="171" y="11"/>
                  </a:lnTo>
                  <a:lnTo>
                    <a:pt x="171" y="10"/>
                  </a:lnTo>
                  <a:lnTo>
                    <a:pt x="171" y="10"/>
                  </a:lnTo>
                  <a:lnTo>
                    <a:pt x="169" y="9"/>
                  </a:lnTo>
                  <a:lnTo>
                    <a:pt x="169" y="9"/>
                  </a:lnTo>
                  <a:lnTo>
                    <a:pt x="168" y="8"/>
                  </a:lnTo>
                  <a:lnTo>
                    <a:pt x="168" y="8"/>
                  </a:lnTo>
                  <a:lnTo>
                    <a:pt x="166" y="6"/>
                  </a:lnTo>
                  <a:lnTo>
                    <a:pt x="166" y="6"/>
                  </a:lnTo>
                  <a:lnTo>
                    <a:pt x="166" y="6"/>
                  </a:lnTo>
                  <a:lnTo>
                    <a:pt x="166" y="6"/>
                  </a:lnTo>
                  <a:lnTo>
                    <a:pt x="163" y="4"/>
                  </a:lnTo>
                  <a:lnTo>
                    <a:pt x="163" y="4"/>
                  </a:lnTo>
                  <a:lnTo>
                    <a:pt x="162" y="4"/>
                  </a:lnTo>
                  <a:lnTo>
                    <a:pt x="162" y="4"/>
                  </a:lnTo>
                  <a:lnTo>
                    <a:pt x="160" y="2"/>
                  </a:lnTo>
                  <a:lnTo>
                    <a:pt x="160" y="2"/>
                  </a:lnTo>
                  <a:lnTo>
                    <a:pt x="159" y="2"/>
                  </a:lnTo>
                  <a:lnTo>
                    <a:pt x="159" y="2"/>
                  </a:lnTo>
                  <a:lnTo>
                    <a:pt x="156" y="1"/>
                  </a:lnTo>
                  <a:lnTo>
                    <a:pt x="156" y="1"/>
                  </a:lnTo>
                  <a:lnTo>
                    <a:pt x="155" y="1"/>
                  </a:lnTo>
                  <a:lnTo>
                    <a:pt x="155" y="1"/>
                  </a:lnTo>
                  <a:lnTo>
                    <a:pt x="152" y="0"/>
                  </a:lnTo>
                  <a:lnTo>
                    <a:pt x="152" y="0"/>
                  </a:lnTo>
                  <a:lnTo>
                    <a:pt x="151" y="0"/>
                  </a:lnTo>
                  <a:lnTo>
                    <a:pt x="151" y="0"/>
                  </a:lnTo>
                  <a:lnTo>
                    <a:pt x="149" y="0"/>
                  </a:lnTo>
                  <a:lnTo>
                    <a:pt x="149" y="0"/>
                  </a:lnTo>
                  <a:lnTo>
                    <a:pt x="148" y="0"/>
                  </a:lnTo>
                  <a:lnTo>
                    <a:pt x="148" y="0"/>
                  </a:lnTo>
                  <a:lnTo>
                    <a:pt x="147" y="0"/>
                  </a:lnTo>
                  <a:lnTo>
                    <a:pt x="147" y="0"/>
                  </a:lnTo>
                  <a:lnTo>
                    <a:pt x="144" y="0"/>
                  </a:lnTo>
                  <a:lnTo>
                    <a:pt x="144" y="0"/>
                  </a:lnTo>
                  <a:lnTo>
                    <a:pt x="143" y="0"/>
                  </a:lnTo>
                  <a:lnTo>
                    <a:pt x="143" y="0"/>
                  </a:lnTo>
                  <a:lnTo>
                    <a:pt x="141" y="1"/>
                  </a:lnTo>
                  <a:lnTo>
                    <a:pt x="141" y="1"/>
                  </a:lnTo>
                  <a:lnTo>
                    <a:pt x="140" y="1"/>
                  </a:lnTo>
                  <a:lnTo>
                    <a:pt x="140" y="1"/>
                  </a:lnTo>
                  <a:lnTo>
                    <a:pt x="136" y="1"/>
                  </a:lnTo>
                  <a:lnTo>
                    <a:pt x="136" y="1"/>
                  </a:lnTo>
                  <a:lnTo>
                    <a:pt x="135" y="2"/>
                  </a:lnTo>
                  <a:lnTo>
                    <a:pt x="135" y="2"/>
                  </a:lnTo>
                  <a:lnTo>
                    <a:pt x="132" y="4"/>
                  </a:lnTo>
                  <a:lnTo>
                    <a:pt x="132" y="4"/>
                  </a:lnTo>
                  <a:lnTo>
                    <a:pt x="131" y="4"/>
                  </a:lnTo>
                  <a:lnTo>
                    <a:pt x="131" y="4"/>
                  </a:lnTo>
                  <a:lnTo>
                    <a:pt x="128" y="5"/>
                  </a:lnTo>
                  <a:lnTo>
                    <a:pt x="128" y="5"/>
                  </a:lnTo>
                  <a:lnTo>
                    <a:pt x="127" y="6"/>
                  </a:lnTo>
                  <a:lnTo>
                    <a:pt x="127" y="6"/>
                  </a:lnTo>
                  <a:lnTo>
                    <a:pt x="124" y="7"/>
                  </a:lnTo>
                  <a:lnTo>
                    <a:pt x="124" y="7"/>
                  </a:lnTo>
                  <a:lnTo>
                    <a:pt x="123" y="8"/>
                  </a:lnTo>
                  <a:lnTo>
                    <a:pt x="123" y="8"/>
                  </a:lnTo>
                  <a:lnTo>
                    <a:pt x="119" y="9"/>
                  </a:lnTo>
                  <a:lnTo>
                    <a:pt x="119" y="9"/>
                  </a:lnTo>
                  <a:lnTo>
                    <a:pt x="118" y="10"/>
                  </a:lnTo>
                  <a:lnTo>
                    <a:pt x="118" y="10"/>
                  </a:lnTo>
                  <a:lnTo>
                    <a:pt x="114" y="12"/>
                  </a:lnTo>
                  <a:lnTo>
                    <a:pt x="114" y="12"/>
                  </a:lnTo>
                  <a:lnTo>
                    <a:pt x="114" y="12"/>
                  </a:lnTo>
                  <a:lnTo>
                    <a:pt x="114" y="12"/>
                  </a:lnTo>
                  <a:lnTo>
                    <a:pt x="110" y="15"/>
                  </a:lnTo>
                  <a:lnTo>
                    <a:pt x="110" y="15"/>
                  </a:lnTo>
                  <a:lnTo>
                    <a:pt x="109" y="16"/>
                  </a:lnTo>
                  <a:lnTo>
                    <a:pt x="109" y="16"/>
                  </a:lnTo>
                  <a:lnTo>
                    <a:pt x="105" y="18"/>
                  </a:lnTo>
                  <a:lnTo>
                    <a:pt x="105" y="18"/>
                  </a:lnTo>
                  <a:lnTo>
                    <a:pt x="104" y="19"/>
                  </a:lnTo>
                  <a:lnTo>
                    <a:pt x="104" y="19"/>
                  </a:lnTo>
                  <a:lnTo>
                    <a:pt x="100" y="23"/>
                  </a:lnTo>
                  <a:lnTo>
                    <a:pt x="100" y="23"/>
                  </a:lnTo>
                  <a:lnTo>
                    <a:pt x="98" y="24"/>
                  </a:lnTo>
                  <a:lnTo>
                    <a:pt x="98" y="24"/>
                  </a:lnTo>
                  <a:lnTo>
                    <a:pt x="95" y="27"/>
                  </a:lnTo>
                  <a:lnTo>
                    <a:pt x="95" y="27"/>
                  </a:lnTo>
                  <a:lnTo>
                    <a:pt x="94" y="28"/>
                  </a:lnTo>
                  <a:lnTo>
                    <a:pt x="94" y="28"/>
                  </a:lnTo>
                  <a:lnTo>
                    <a:pt x="90" y="33"/>
                  </a:lnTo>
                  <a:lnTo>
                    <a:pt x="90" y="33"/>
                  </a:lnTo>
                  <a:lnTo>
                    <a:pt x="76" y="47"/>
                  </a:lnTo>
                  <a:lnTo>
                    <a:pt x="63" y="63"/>
                  </a:lnTo>
                  <a:lnTo>
                    <a:pt x="52" y="80"/>
                  </a:lnTo>
                  <a:lnTo>
                    <a:pt x="41" y="99"/>
                  </a:lnTo>
                  <a:lnTo>
                    <a:pt x="32" y="118"/>
                  </a:lnTo>
                  <a:lnTo>
                    <a:pt x="23" y="138"/>
                  </a:lnTo>
                  <a:lnTo>
                    <a:pt x="16" y="158"/>
                  </a:lnTo>
                  <a:lnTo>
                    <a:pt x="10" y="179"/>
                  </a:lnTo>
                  <a:lnTo>
                    <a:pt x="5" y="199"/>
                  </a:lnTo>
                  <a:lnTo>
                    <a:pt x="2" y="220"/>
                  </a:lnTo>
                  <a:lnTo>
                    <a:pt x="0" y="241"/>
                  </a:lnTo>
                  <a:lnTo>
                    <a:pt x="0" y="261"/>
                  </a:lnTo>
                  <a:lnTo>
                    <a:pt x="2" y="280"/>
                  </a:lnTo>
                  <a:lnTo>
                    <a:pt x="6" y="299"/>
                  </a:lnTo>
                  <a:lnTo>
                    <a:pt x="12" y="316"/>
                  </a:lnTo>
                  <a:lnTo>
                    <a:pt x="16" y="324"/>
                  </a:lnTo>
                  <a:lnTo>
                    <a:pt x="20" y="332"/>
                  </a:lnTo>
                  <a:lnTo>
                    <a:pt x="20" y="332"/>
                  </a:lnTo>
                  <a:lnTo>
                    <a:pt x="21" y="334"/>
                  </a:lnTo>
                  <a:lnTo>
                    <a:pt x="21" y="334"/>
                  </a:lnTo>
                  <a:lnTo>
                    <a:pt x="22" y="334"/>
                  </a:lnTo>
                  <a:lnTo>
                    <a:pt x="22" y="334"/>
                  </a:lnTo>
                  <a:lnTo>
                    <a:pt x="23" y="336"/>
                  </a:lnTo>
                  <a:lnTo>
                    <a:pt x="23" y="336"/>
                  </a:lnTo>
                  <a:lnTo>
                    <a:pt x="23" y="336"/>
                  </a:lnTo>
                  <a:lnTo>
                    <a:pt x="23" y="336"/>
                  </a:lnTo>
                  <a:lnTo>
                    <a:pt x="24" y="337"/>
                  </a:lnTo>
                  <a:lnTo>
                    <a:pt x="24" y="337"/>
                  </a:lnTo>
                  <a:lnTo>
                    <a:pt x="25" y="337"/>
                  </a:lnTo>
                  <a:lnTo>
                    <a:pt x="25" y="337"/>
                  </a:lnTo>
                  <a:lnTo>
                    <a:pt x="25" y="338"/>
                  </a:lnTo>
                  <a:lnTo>
                    <a:pt x="25" y="338"/>
                  </a:lnTo>
                  <a:lnTo>
                    <a:pt x="26" y="338"/>
                  </a:lnTo>
                  <a:lnTo>
                    <a:pt x="26" y="338"/>
                  </a:lnTo>
                  <a:lnTo>
                    <a:pt x="27" y="339"/>
                  </a:lnTo>
                  <a:lnTo>
                    <a:pt x="27" y="339"/>
                  </a:lnTo>
                  <a:lnTo>
                    <a:pt x="29" y="339"/>
                  </a:lnTo>
                  <a:lnTo>
                    <a:pt x="29" y="339"/>
                  </a:lnTo>
                  <a:lnTo>
                    <a:pt x="30" y="339"/>
                  </a:lnTo>
                  <a:lnTo>
                    <a:pt x="30" y="339"/>
                  </a:lnTo>
                  <a:lnTo>
                    <a:pt x="30" y="340"/>
                  </a:lnTo>
                  <a:lnTo>
                    <a:pt x="30" y="340"/>
                  </a:lnTo>
                  <a:lnTo>
                    <a:pt x="31" y="340"/>
                  </a:lnTo>
                  <a:lnTo>
                    <a:pt x="31" y="340"/>
                  </a:lnTo>
                  <a:lnTo>
                    <a:pt x="32" y="340"/>
                  </a:lnTo>
                  <a:lnTo>
                    <a:pt x="32" y="340"/>
                  </a:lnTo>
                  <a:lnTo>
                    <a:pt x="33" y="340"/>
                  </a:lnTo>
                  <a:lnTo>
                    <a:pt x="33" y="340"/>
                  </a:lnTo>
                  <a:lnTo>
                    <a:pt x="35" y="340"/>
                  </a:lnTo>
                  <a:lnTo>
                    <a:pt x="35" y="340"/>
                  </a:lnTo>
                  <a:lnTo>
                    <a:pt x="36" y="339"/>
                  </a:lnTo>
                  <a:lnTo>
                    <a:pt x="36" y="339"/>
                  </a:lnTo>
                  <a:lnTo>
                    <a:pt x="38" y="339"/>
                  </a:lnTo>
                  <a:lnTo>
                    <a:pt x="38" y="339"/>
                  </a:lnTo>
                  <a:lnTo>
                    <a:pt x="38" y="339"/>
                  </a:lnTo>
                  <a:lnTo>
                    <a:pt x="38" y="339"/>
                  </a:lnTo>
                  <a:lnTo>
                    <a:pt x="41" y="338"/>
                  </a:lnTo>
                  <a:lnTo>
                    <a:pt x="41" y="338"/>
                  </a:lnTo>
                  <a:lnTo>
                    <a:pt x="41" y="338"/>
                  </a:lnTo>
                  <a:lnTo>
                    <a:pt x="41" y="338"/>
                  </a:lnTo>
                  <a:lnTo>
                    <a:pt x="44" y="336"/>
                  </a:lnTo>
                  <a:lnTo>
                    <a:pt x="44" y="336"/>
                  </a:lnTo>
                  <a:lnTo>
                    <a:pt x="44" y="336"/>
                  </a:lnTo>
                  <a:lnTo>
                    <a:pt x="44" y="336"/>
                  </a:lnTo>
                  <a:lnTo>
                    <a:pt x="48" y="335"/>
                  </a:lnTo>
                  <a:lnTo>
                    <a:pt x="48" y="335"/>
                  </a:lnTo>
                  <a:lnTo>
                    <a:pt x="49" y="334"/>
                  </a:lnTo>
                  <a:lnTo>
                    <a:pt x="49" y="334"/>
                  </a:lnTo>
                  <a:lnTo>
                    <a:pt x="52" y="333"/>
                  </a:lnTo>
                  <a:lnTo>
                    <a:pt x="52" y="333"/>
                  </a:lnTo>
                  <a:lnTo>
                    <a:pt x="52" y="333"/>
                  </a:lnTo>
                  <a:lnTo>
                    <a:pt x="52" y="333"/>
                  </a:lnTo>
                  <a:lnTo>
                    <a:pt x="55" y="330"/>
                  </a:lnTo>
                  <a:lnTo>
                    <a:pt x="55" y="330"/>
                  </a:lnTo>
                  <a:lnTo>
                    <a:pt x="59" y="328"/>
                  </a:lnTo>
                  <a:lnTo>
                    <a:pt x="59" y="328"/>
                  </a:lnTo>
                  <a:lnTo>
                    <a:pt x="59" y="327"/>
                  </a:lnTo>
                  <a:lnTo>
                    <a:pt x="59" y="327"/>
                  </a:lnTo>
                  <a:lnTo>
                    <a:pt x="63" y="325"/>
                  </a:lnTo>
                  <a:lnTo>
                    <a:pt x="63" y="325"/>
                  </a:lnTo>
                  <a:lnTo>
                    <a:pt x="64" y="325"/>
                  </a:lnTo>
                  <a:lnTo>
                    <a:pt x="64" y="325"/>
                  </a:lnTo>
                  <a:lnTo>
                    <a:pt x="68" y="323"/>
                  </a:lnTo>
                  <a:lnTo>
                    <a:pt x="68" y="323"/>
                  </a:lnTo>
                  <a:lnTo>
                    <a:pt x="68" y="323"/>
                  </a:lnTo>
                  <a:lnTo>
                    <a:pt x="68" y="323"/>
                  </a:lnTo>
                  <a:lnTo>
                    <a:pt x="72" y="321"/>
                  </a:lnTo>
                  <a:lnTo>
                    <a:pt x="72" y="321"/>
                  </a:lnTo>
                  <a:lnTo>
                    <a:pt x="73" y="321"/>
                  </a:lnTo>
                  <a:lnTo>
                    <a:pt x="73" y="321"/>
                  </a:lnTo>
                  <a:lnTo>
                    <a:pt x="77" y="319"/>
                  </a:lnTo>
                  <a:lnTo>
                    <a:pt x="77" y="319"/>
                  </a:lnTo>
                  <a:lnTo>
                    <a:pt x="77" y="319"/>
                  </a:lnTo>
                  <a:lnTo>
                    <a:pt x="77" y="319"/>
                  </a:lnTo>
                  <a:lnTo>
                    <a:pt x="81" y="317"/>
                  </a:lnTo>
                  <a:lnTo>
                    <a:pt x="81" y="317"/>
                  </a:lnTo>
                  <a:lnTo>
                    <a:pt x="82" y="317"/>
                  </a:lnTo>
                  <a:lnTo>
                    <a:pt x="82" y="317"/>
                  </a:lnTo>
                  <a:lnTo>
                    <a:pt x="88" y="316"/>
                  </a:lnTo>
                  <a:lnTo>
                    <a:pt x="88" y="316"/>
                  </a:lnTo>
                  <a:lnTo>
                    <a:pt x="88" y="315"/>
                  </a:lnTo>
                  <a:lnTo>
                    <a:pt x="88" y="315"/>
                  </a:lnTo>
                  <a:lnTo>
                    <a:pt x="92" y="314"/>
                  </a:lnTo>
                  <a:lnTo>
                    <a:pt x="92" y="314"/>
                  </a:lnTo>
                  <a:lnTo>
                    <a:pt x="94" y="314"/>
                  </a:lnTo>
                  <a:lnTo>
                    <a:pt x="94" y="314"/>
                  </a:lnTo>
                  <a:lnTo>
                    <a:pt x="98" y="312"/>
                  </a:lnTo>
                  <a:lnTo>
                    <a:pt x="98" y="312"/>
                  </a:lnTo>
                  <a:lnTo>
                    <a:pt x="128" y="308"/>
                  </a:lnTo>
                  <a:lnTo>
                    <a:pt x="142" y="305"/>
                  </a:lnTo>
                  <a:lnTo>
                    <a:pt x="154" y="302"/>
                  </a:lnTo>
                  <a:lnTo>
                    <a:pt x="165" y="297"/>
                  </a:lnTo>
                  <a:lnTo>
                    <a:pt x="173" y="290"/>
                  </a:lnTo>
                  <a:lnTo>
                    <a:pt x="178" y="287"/>
                  </a:lnTo>
                  <a:lnTo>
                    <a:pt x="181" y="283"/>
                  </a:lnTo>
                  <a:lnTo>
                    <a:pt x="183" y="278"/>
                  </a:lnTo>
                  <a:lnTo>
                    <a:pt x="185" y="273"/>
                  </a:lnTo>
                  <a:lnTo>
                    <a:pt x="185" y="273"/>
                  </a:lnTo>
                  <a:lnTo>
                    <a:pt x="189" y="251"/>
                  </a:lnTo>
                  <a:lnTo>
                    <a:pt x="193" y="227"/>
                  </a:lnTo>
                  <a:lnTo>
                    <a:pt x="195" y="198"/>
                  </a:lnTo>
                  <a:lnTo>
                    <a:pt x="195" y="161"/>
                  </a:lnTo>
                  <a:lnTo>
                    <a:pt x="195" y="161"/>
                  </a:lnTo>
                  <a:lnTo>
                    <a:pt x="193" y="147"/>
                  </a:lnTo>
                  <a:lnTo>
                    <a:pt x="190" y="136"/>
                  </a:lnTo>
                  <a:lnTo>
                    <a:pt x="184" y="111"/>
                  </a:lnTo>
                  <a:lnTo>
                    <a:pt x="181" y="98"/>
                  </a:lnTo>
                  <a:lnTo>
                    <a:pt x="179" y="83"/>
                  </a:lnTo>
                  <a:lnTo>
                    <a:pt x="178" y="67"/>
                  </a:lnTo>
                  <a:lnTo>
                    <a:pt x="179" y="49"/>
                  </a:lnTo>
                  <a:lnTo>
                    <a:pt x="179"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sp>
          <p:nvSpPr>
            <p:cNvPr id="103" name="Line 6">
              <a:extLst>
                <a:ext uri="{FF2B5EF4-FFF2-40B4-BE49-F238E27FC236}">
                  <a16:creationId xmlns:a16="http://schemas.microsoft.com/office/drawing/2014/main" id="{F1C6F00C-1D9B-F6C5-9138-E28A0341F8D8}"/>
                </a:ext>
              </a:extLst>
            </p:cNvPr>
            <p:cNvSpPr>
              <a:spLocks noChangeShapeType="1"/>
            </p:cNvSpPr>
            <p:nvPr/>
          </p:nvSpPr>
          <p:spPr bwMode="auto">
            <a:xfrm>
              <a:off x="4050" y="2217"/>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sp>
          <p:nvSpPr>
            <p:cNvPr id="104" name="Line 7">
              <a:extLst>
                <a:ext uri="{FF2B5EF4-FFF2-40B4-BE49-F238E27FC236}">
                  <a16:creationId xmlns:a16="http://schemas.microsoft.com/office/drawing/2014/main" id="{0A63D860-252A-0C3E-EDD6-FC0B22229943}"/>
                </a:ext>
              </a:extLst>
            </p:cNvPr>
            <p:cNvSpPr>
              <a:spLocks noChangeShapeType="1"/>
            </p:cNvSpPr>
            <p:nvPr/>
          </p:nvSpPr>
          <p:spPr bwMode="auto">
            <a:xfrm>
              <a:off x="4050" y="2217"/>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sp>
          <p:nvSpPr>
            <p:cNvPr id="105" name="Freeform 8">
              <a:extLst>
                <a:ext uri="{FF2B5EF4-FFF2-40B4-BE49-F238E27FC236}">
                  <a16:creationId xmlns:a16="http://schemas.microsoft.com/office/drawing/2014/main" id="{CB358684-1BD7-6BC4-54D4-51B4193BF941}"/>
                </a:ext>
              </a:extLst>
            </p:cNvPr>
            <p:cNvSpPr>
              <a:spLocks/>
            </p:cNvSpPr>
            <p:nvPr/>
          </p:nvSpPr>
          <p:spPr bwMode="auto">
            <a:xfrm>
              <a:off x="3861" y="2021"/>
              <a:ext cx="195" cy="340"/>
            </a:xfrm>
            <a:custGeom>
              <a:avLst/>
              <a:gdLst>
                <a:gd name="T0" fmla="*/ 164 w 195"/>
                <a:gd name="T1" fmla="*/ 223 h 340"/>
                <a:gd name="T2" fmla="*/ 130 w 195"/>
                <a:gd name="T3" fmla="*/ 219 h 340"/>
                <a:gd name="T4" fmla="*/ 98 w 195"/>
                <a:gd name="T5" fmla="*/ 199 h 340"/>
                <a:gd name="T6" fmla="*/ 78 w 195"/>
                <a:gd name="T7" fmla="*/ 166 h 340"/>
                <a:gd name="T8" fmla="*/ 76 w 195"/>
                <a:gd name="T9" fmla="*/ 129 h 340"/>
                <a:gd name="T10" fmla="*/ 110 w 195"/>
                <a:gd name="T11" fmla="*/ 78 h 340"/>
                <a:gd name="T12" fmla="*/ 115 w 195"/>
                <a:gd name="T13" fmla="*/ 44 h 340"/>
                <a:gd name="T14" fmla="*/ 99 w 195"/>
                <a:gd name="T15" fmla="*/ 27 h 340"/>
                <a:gd name="T16" fmla="*/ 94 w 195"/>
                <a:gd name="T17" fmla="*/ 23 h 340"/>
                <a:gd name="T18" fmla="*/ 87 w 195"/>
                <a:gd name="T19" fmla="*/ 16 h 340"/>
                <a:gd name="T20" fmla="*/ 81 w 195"/>
                <a:gd name="T21" fmla="*/ 12 h 340"/>
                <a:gd name="T22" fmla="*/ 75 w 195"/>
                <a:gd name="T23" fmla="*/ 9 h 340"/>
                <a:gd name="T24" fmla="*/ 71 w 195"/>
                <a:gd name="T25" fmla="*/ 7 h 340"/>
                <a:gd name="T26" fmla="*/ 64 w 195"/>
                <a:gd name="T27" fmla="*/ 4 h 340"/>
                <a:gd name="T28" fmla="*/ 59 w 195"/>
                <a:gd name="T29" fmla="*/ 2 h 340"/>
                <a:gd name="T30" fmla="*/ 54 w 195"/>
                <a:gd name="T31" fmla="*/ 1 h 340"/>
                <a:gd name="T32" fmla="*/ 51 w 195"/>
                <a:gd name="T33" fmla="*/ 0 h 340"/>
                <a:gd name="T34" fmla="*/ 47 w 195"/>
                <a:gd name="T35" fmla="*/ 0 h 340"/>
                <a:gd name="T36" fmla="*/ 42 w 195"/>
                <a:gd name="T37" fmla="*/ 0 h 340"/>
                <a:gd name="T38" fmla="*/ 36 w 195"/>
                <a:gd name="T39" fmla="*/ 2 h 340"/>
                <a:gd name="T40" fmla="*/ 33 w 195"/>
                <a:gd name="T41" fmla="*/ 4 h 340"/>
                <a:gd name="T42" fmla="*/ 29 w 195"/>
                <a:gd name="T43" fmla="*/ 6 h 340"/>
                <a:gd name="T44" fmla="*/ 25 w 195"/>
                <a:gd name="T45" fmla="*/ 9 h 340"/>
                <a:gd name="T46" fmla="*/ 22 w 195"/>
                <a:gd name="T47" fmla="*/ 13 h 340"/>
                <a:gd name="T48" fmla="*/ 20 w 195"/>
                <a:gd name="T49" fmla="*/ 16 h 340"/>
                <a:gd name="T50" fmla="*/ 18 w 195"/>
                <a:gd name="T51" fmla="*/ 20 h 340"/>
                <a:gd name="T52" fmla="*/ 16 w 195"/>
                <a:gd name="T53" fmla="*/ 26 h 340"/>
                <a:gd name="T54" fmla="*/ 15 w 195"/>
                <a:gd name="T55" fmla="*/ 33 h 340"/>
                <a:gd name="T56" fmla="*/ 15 w 195"/>
                <a:gd name="T57" fmla="*/ 37 h 340"/>
                <a:gd name="T58" fmla="*/ 15 w 195"/>
                <a:gd name="T59" fmla="*/ 44 h 340"/>
                <a:gd name="T60" fmla="*/ 17 w 195"/>
                <a:gd name="T61" fmla="*/ 83 h 340"/>
                <a:gd name="T62" fmla="*/ 0 w 195"/>
                <a:gd name="T63" fmla="*/ 161 h 340"/>
                <a:gd name="T64" fmla="*/ 11 w 195"/>
                <a:gd name="T65" fmla="*/ 273 h 340"/>
                <a:gd name="T66" fmla="*/ 21 w 195"/>
                <a:gd name="T67" fmla="*/ 290 h 340"/>
                <a:gd name="T68" fmla="*/ 96 w 195"/>
                <a:gd name="T69" fmla="*/ 312 h 340"/>
                <a:gd name="T70" fmla="*/ 103 w 195"/>
                <a:gd name="T71" fmla="*/ 314 h 340"/>
                <a:gd name="T72" fmla="*/ 112 w 195"/>
                <a:gd name="T73" fmla="*/ 317 h 340"/>
                <a:gd name="T74" fmla="*/ 117 w 195"/>
                <a:gd name="T75" fmla="*/ 319 h 340"/>
                <a:gd name="T76" fmla="*/ 123 w 195"/>
                <a:gd name="T77" fmla="*/ 321 h 340"/>
                <a:gd name="T78" fmla="*/ 127 w 195"/>
                <a:gd name="T79" fmla="*/ 323 h 340"/>
                <a:gd name="T80" fmla="*/ 135 w 195"/>
                <a:gd name="T81" fmla="*/ 327 h 340"/>
                <a:gd name="T82" fmla="*/ 139 w 195"/>
                <a:gd name="T83" fmla="*/ 329 h 340"/>
                <a:gd name="T84" fmla="*/ 146 w 195"/>
                <a:gd name="T85" fmla="*/ 334 h 340"/>
                <a:gd name="T86" fmla="*/ 150 w 195"/>
                <a:gd name="T87" fmla="*/ 336 h 340"/>
                <a:gd name="T88" fmla="*/ 153 w 195"/>
                <a:gd name="T89" fmla="*/ 338 h 340"/>
                <a:gd name="T90" fmla="*/ 157 w 195"/>
                <a:gd name="T91" fmla="*/ 339 h 340"/>
                <a:gd name="T92" fmla="*/ 162 w 195"/>
                <a:gd name="T93" fmla="*/ 340 h 340"/>
                <a:gd name="T94" fmla="*/ 164 w 195"/>
                <a:gd name="T95" fmla="*/ 340 h 340"/>
                <a:gd name="T96" fmla="*/ 166 w 195"/>
                <a:gd name="T97" fmla="*/ 339 h 340"/>
                <a:gd name="T98" fmla="*/ 168 w 195"/>
                <a:gd name="T99" fmla="*/ 338 h 340"/>
                <a:gd name="T100" fmla="*/ 170 w 195"/>
                <a:gd name="T101" fmla="*/ 337 h 340"/>
                <a:gd name="T102" fmla="*/ 172 w 195"/>
                <a:gd name="T103" fmla="*/ 336 h 340"/>
                <a:gd name="T104" fmla="*/ 175 w 195"/>
                <a:gd name="T105" fmla="*/ 332 h 340"/>
                <a:gd name="T106" fmla="*/ 193 w 195"/>
                <a:gd name="T107" fmla="*/ 277 h 340"/>
                <a:gd name="T108" fmla="*/ 193 w 195"/>
                <a:gd name="T109" fmla="*/ 21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5" h="340">
                  <a:moveTo>
                    <a:pt x="193" y="213"/>
                  </a:moveTo>
                  <a:lnTo>
                    <a:pt x="193" y="213"/>
                  </a:lnTo>
                  <a:lnTo>
                    <a:pt x="183" y="217"/>
                  </a:lnTo>
                  <a:lnTo>
                    <a:pt x="173" y="220"/>
                  </a:lnTo>
                  <a:lnTo>
                    <a:pt x="164" y="223"/>
                  </a:lnTo>
                  <a:lnTo>
                    <a:pt x="154" y="223"/>
                  </a:lnTo>
                  <a:lnTo>
                    <a:pt x="154" y="223"/>
                  </a:lnTo>
                  <a:lnTo>
                    <a:pt x="146" y="223"/>
                  </a:lnTo>
                  <a:lnTo>
                    <a:pt x="139" y="221"/>
                  </a:lnTo>
                  <a:lnTo>
                    <a:pt x="130" y="219"/>
                  </a:lnTo>
                  <a:lnTo>
                    <a:pt x="124" y="216"/>
                  </a:lnTo>
                  <a:lnTo>
                    <a:pt x="116" y="213"/>
                  </a:lnTo>
                  <a:lnTo>
                    <a:pt x="110" y="209"/>
                  </a:lnTo>
                  <a:lnTo>
                    <a:pt x="104" y="205"/>
                  </a:lnTo>
                  <a:lnTo>
                    <a:pt x="98" y="199"/>
                  </a:lnTo>
                  <a:lnTo>
                    <a:pt x="93" y="194"/>
                  </a:lnTo>
                  <a:lnTo>
                    <a:pt x="88" y="188"/>
                  </a:lnTo>
                  <a:lnTo>
                    <a:pt x="85" y="181"/>
                  </a:lnTo>
                  <a:lnTo>
                    <a:pt x="81" y="174"/>
                  </a:lnTo>
                  <a:lnTo>
                    <a:pt x="78" y="166"/>
                  </a:lnTo>
                  <a:lnTo>
                    <a:pt x="76" y="159"/>
                  </a:lnTo>
                  <a:lnTo>
                    <a:pt x="75" y="152"/>
                  </a:lnTo>
                  <a:lnTo>
                    <a:pt x="75" y="143"/>
                  </a:lnTo>
                  <a:lnTo>
                    <a:pt x="75" y="143"/>
                  </a:lnTo>
                  <a:lnTo>
                    <a:pt x="76" y="129"/>
                  </a:lnTo>
                  <a:lnTo>
                    <a:pt x="79" y="117"/>
                  </a:lnTo>
                  <a:lnTo>
                    <a:pt x="85" y="105"/>
                  </a:lnTo>
                  <a:lnTo>
                    <a:pt x="91" y="95"/>
                  </a:lnTo>
                  <a:lnTo>
                    <a:pt x="101" y="85"/>
                  </a:lnTo>
                  <a:lnTo>
                    <a:pt x="110" y="78"/>
                  </a:lnTo>
                  <a:lnTo>
                    <a:pt x="122" y="71"/>
                  </a:lnTo>
                  <a:lnTo>
                    <a:pt x="133" y="67"/>
                  </a:lnTo>
                  <a:lnTo>
                    <a:pt x="133" y="67"/>
                  </a:lnTo>
                  <a:lnTo>
                    <a:pt x="125" y="54"/>
                  </a:lnTo>
                  <a:lnTo>
                    <a:pt x="115" y="44"/>
                  </a:lnTo>
                  <a:lnTo>
                    <a:pt x="106" y="33"/>
                  </a:lnTo>
                  <a:lnTo>
                    <a:pt x="106" y="33"/>
                  </a:lnTo>
                  <a:lnTo>
                    <a:pt x="101" y="28"/>
                  </a:lnTo>
                  <a:lnTo>
                    <a:pt x="101" y="28"/>
                  </a:lnTo>
                  <a:lnTo>
                    <a:pt x="99" y="27"/>
                  </a:lnTo>
                  <a:lnTo>
                    <a:pt x="99" y="27"/>
                  </a:lnTo>
                  <a:lnTo>
                    <a:pt x="96" y="24"/>
                  </a:lnTo>
                  <a:lnTo>
                    <a:pt x="96" y="24"/>
                  </a:lnTo>
                  <a:lnTo>
                    <a:pt x="94" y="23"/>
                  </a:lnTo>
                  <a:lnTo>
                    <a:pt x="94" y="23"/>
                  </a:lnTo>
                  <a:lnTo>
                    <a:pt x="91" y="19"/>
                  </a:lnTo>
                  <a:lnTo>
                    <a:pt x="91" y="19"/>
                  </a:lnTo>
                  <a:lnTo>
                    <a:pt x="90" y="18"/>
                  </a:lnTo>
                  <a:lnTo>
                    <a:pt x="90" y="18"/>
                  </a:lnTo>
                  <a:lnTo>
                    <a:pt x="87" y="16"/>
                  </a:lnTo>
                  <a:lnTo>
                    <a:pt x="87" y="16"/>
                  </a:lnTo>
                  <a:lnTo>
                    <a:pt x="86" y="15"/>
                  </a:lnTo>
                  <a:lnTo>
                    <a:pt x="86" y="15"/>
                  </a:lnTo>
                  <a:lnTo>
                    <a:pt x="81" y="12"/>
                  </a:lnTo>
                  <a:lnTo>
                    <a:pt x="81" y="12"/>
                  </a:lnTo>
                  <a:lnTo>
                    <a:pt x="80" y="12"/>
                  </a:lnTo>
                  <a:lnTo>
                    <a:pt x="80" y="12"/>
                  </a:lnTo>
                  <a:lnTo>
                    <a:pt x="76" y="10"/>
                  </a:lnTo>
                  <a:lnTo>
                    <a:pt x="76" y="10"/>
                  </a:lnTo>
                  <a:lnTo>
                    <a:pt x="75" y="9"/>
                  </a:lnTo>
                  <a:lnTo>
                    <a:pt x="75" y="9"/>
                  </a:lnTo>
                  <a:lnTo>
                    <a:pt x="73" y="8"/>
                  </a:lnTo>
                  <a:lnTo>
                    <a:pt x="73" y="8"/>
                  </a:lnTo>
                  <a:lnTo>
                    <a:pt x="71" y="7"/>
                  </a:lnTo>
                  <a:lnTo>
                    <a:pt x="71" y="7"/>
                  </a:lnTo>
                  <a:lnTo>
                    <a:pt x="69" y="6"/>
                  </a:lnTo>
                  <a:lnTo>
                    <a:pt x="69" y="6"/>
                  </a:lnTo>
                  <a:lnTo>
                    <a:pt x="67" y="5"/>
                  </a:lnTo>
                  <a:lnTo>
                    <a:pt x="67" y="5"/>
                  </a:lnTo>
                  <a:lnTo>
                    <a:pt x="64" y="4"/>
                  </a:lnTo>
                  <a:lnTo>
                    <a:pt x="64" y="4"/>
                  </a:lnTo>
                  <a:lnTo>
                    <a:pt x="62" y="4"/>
                  </a:lnTo>
                  <a:lnTo>
                    <a:pt x="62" y="4"/>
                  </a:lnTo>
                  <a:lnTo>
                    <a:pt x="59" y="2"/>
                  </a:lnTo>
                  <a:lnTo>
                    <a:pt x="59" y="2"/>
                  </a:lnTo>
                  <a:lnTo>
                    <a:pt x="58" y="1"/>
                  </a:lnTo>
                  <a:lnTo>
                    <a:pt x="58" y="1"/>
                  </a:lnTo>
                  <a:lnTo>
                    <a:pt x="55" y="1"/>
                  </a:lnTo>
                  <a:lnTo>
                    <a:pt x="55" y="1"/>
                  </a:lnTo>
                  <a:lnTo>
                    <a:pt x="54" y="1"/>
                  </a:lnTo>
                  <a:lnTo>
                    <a:pt x="54" y="1"/>
                  </a:lnTo>
                  <a:lnTo>
                    <a:pt x="52" y="0"/>
                  </a:lnTo>
                  <a:lnTo>
                    <a:pt x="52" y="0"/>
                  </a:lnTo>
                  <a:lnTo>
                    <a:pt x="51" y="0"/>
                  </a:lnTo>
                  <a:lnTo>
                    <a:pt x="51" y="0"/>
                  </a:lnTo>
                  <a:lnTo>
                    <a:pt x="49" y="0"/>
                  </a:lnTo>
                  <a:lnTo>
                    <a:pt x="49" y="0"/>
                  </a:lnTo>
                  <a:lnTo>
                    <a:pt x="48" y="0"/>
                  </a:lnTo>
                  <a:lnTo>
                    <a:pt x="48" y="0"/>
                  </a:lnTo>
                  <a:lnTo>
                    <a:pt x="47" y="0"/>
                  </a:lnTo>
                  <a:lnTo>
                    <a:pt x="47" y="0"/>
                  </a:lnTo>
                  <a:lnTo>
                    <a:pt x="43" y="0"/>
                  </a:lnTo>
                  <a:lnTo>
                    <a:pt x="43" y="0"/>
                  </a:lnTo>
                  <a:lnTo>
                    <a:pt x="42" y="0"/>
                  </a:lnTo>
                  <a:lnTo>
                    <a:pt x="42" y="0"/>
                  </a:lnTo>
                  <a:lnTo>
                    <a:pt x="39" y="1"/>
                  </a:lnTo>
                  <a:lnTo>
                    <a:pt x="39" y="1"/>
                  </a:lnTo>
                  <a:lnTo>
                    <a:pt x="38" y="1"/>
                  </a:lnTo>
                  <a:lnTo>
                    <a:pt x="38" y="1"/>
                  </a:lnTo>
                  <a:lnTo>
                    <a:pt x="36" y="2"/>
                  </a:lnTo>
                  <a:lnTo>
                    <a:pt x="36" y="2"/>
                  </a:lnTo>
                  <a:lnTo>
                    <a:pt x="35" y="2"/>
                  </a:lnTo>
                  <a:lnTo>
                    <a:pt x="35" y="2"/>
                  </a:lnTo>
                  <a:lnTo>
                    <a:pt x="33" y="4"/>
                  </a:lnTo>
                  <a:lnTo>
                    <a:pt x="33" y="4"/>
                  </a:lnTo>
                  <a:lnTo>
                    <a:pt x="32" y="4"/>
                  </a:lnTo>
                  <a:lnTo>
                    <a:pt x="32" y="4"/>
                  </a:lnTo>
                  <a:lnTo>
                    <a:pt x="29" y="6"/>
                  </a:lnTo>
                  <a:lnTo>
                    <a:pt x="29" y="6"/>
                  </a:lnTo>
                  <a:lnTo>
                    <a:pt x="29" y="6"/>
                  </a:lnTo>
                  <a:lnTo>
                    <a:pt x="29" y="6"/>
                  </a:lnTo>
                  <a:lnTo>
                    <a:pt x="27" y="8"/>
                  </a:lnTo>
                  <a:lnTo>
                    <a:pt x="27" y="8"/>
                  </a:lnTo>
                  <a:lnTo>
                    <a:pt x="25" y="9"/>
                  </a:lnTo>
                  <a:lnTo>
                    <a:pt x="25" y="9"/>
                  </a:lnTo>
                  <a:lnTo>
                    <a:pt x="24" y="10"/>
                  </a:lnTo>
                  <a:lnTo>
                    <a:pt x="24" y="10"/>
                  </a:lnTo>
                  <a:lnTo>
                    <a:pt x="23" y="11"/>
                  </a:lnTo>
                  <a:lnTo>
                    <a:pt x="23" y="11"/>
                  </a:lnTo>
                  <a:lnTo>
                    <a:pt x="22" y="13"/>
                  </a:lnTo>
                  <a:lnTo>
                    <a:pt x="22" y="13"/>
                  </a:lnTo>
                  <a:lnTo>
                    <a:pt x="21" y="14"/>
                  </a:lnTo>
                  <a:lnTo>
                    <a:pt x="21" y="14"/>
                  </a:lnTo>
                  <a:lnTo>
                    <a:pt x="20" y="16"/>
                  </a:lnTo>
                  <a:lnTo>
                    <a:pt x="20" y="16"/>
                  </a:lnTo>
                  <a:lnTo>
                    <a:pt x="19" y="17"/>
                  </a:lnTo>
                  <a:lnTo>
                    <a:pt x="19" y="17"/>
                  </a:lnTo>
                  <a:lnTo>
                    <a:pt x="18" y="20"/>
                  </a:lnTo>
                  <a:lnTo>
                    <a:pt x="18" y="20"/>
                  </a:lnTo>
                  <a:lnTo>
                    <a:pt x="18" y="20"/>
                  </a:lnTo>
                  <a:lnTo>
                    <a:pt x="18" y="20"/>
                  </a:lnTo>
                  <a:lnTo>
                    <a:pt x="17" y="25"/>
                  </a:lnTo>
                  <a:lnTo>
                    <a:pt x="17" y="25"/>
                  </a:lnTo>
                  <a:lnTo>
                    <a:pt x="16" y="26"/>
                  </a:lnTo>
                  <a:lnTo>
                    <a:pt x="16" y="26"/>
                  </a:lnTo>
                  <a:lnTo>
                    <a:pt x="16" y="29"/>
                  </a:lnTo>
                  <a:lnTo>
                    <a:pt x="16" y="29"/>
                  </a:lnTo>
                  <a:lnTo>
                    <a:pt x="16" y="30"/>
                  </a:lnTo>
                  <a:lnTo>
                    <a:pt x="16" y="30"/>
                  </a:lnTo>
                  <a:lnTo>
                    <a:pt x="15" y="33"/>
                  </a:lnTo>
                  <a:lnTo>
                    <a:pt x="15" y="33"/>
                  </a:lnTo>
                  <a:lnTo>
                    <a:pt x="15" y="34"/>
                  </a:lnTo>
                  <a:lnTo>
                    <a:pt x="15" y="34"/>
                  </a:lnTo>
                  <a:lnTo>
                    <a:pt x="15" y="37"/>
                  </a:lnTo>
                  <a:lnTo>
                    <a:pt x="15" y="37"/>
                  </a:lnTo>
                  <a:lnTo>
                    <a:pt x="15" y="40"/>
                  </a:lnTo>
                  <a:lnTo>
                    <a:pt x="15" y="40"/>
                  </a:lnTo>
                  <a:lnTo>
                    <a:pt x="15" y="43"/>
                  </a:lnTo>
                  <a:lnTo>
                    <a:pt x="15" y="43"/>
                  </a:lnTo>
                  <a:lnTo>
                    <a:pt x="15" y="44"/>
                  </a:lnTo>
                  <a:lnTo>
                    <a:pt x="15" y="44"/>
                  </a:lnTo>
                  <a:lnTo>
                    <a:pt x="16" y="49"/>
                  </a:lnTo>
                  <a:lnTo>
                    <a:pt x="16" y="49"/>
                  </a:lnTo>
                  <a:lnTo>
                    <a:pt x="17" y="67"/>
                  </a:lnTo>
                  <a:lnTo>
                    <a:pt x="17" y="83"/>
                  </a:lnTo>
                  <a:lnTo>
                    <a:pt x="15" y="98"/>
                  </a:lnTo>
                  <a:lnTo>
                    <a:pt x="12" y="111"/>
                  </a:lnTo>
                  <a:lnTo>
                    <a:pt x="4" y="136"/>
                  </a:lnTo>
                  <a:lnTo>
                    <a:pt x="1" y="147"/>
                  </a:lnTo>
                  <a:lnTo>
                    <a:pt x="0" y="161"/>
                  </a:lnTo>
                  <a:lnTo>
                    <a:pt x="0" y="161"/>
                  </a:lnTo>
                  <a:lnTo>
                    <a:pt x="0" y="198"/>
                  </a:lnTo>
                  <a:lnTo>
                    <a:pt x="1" y="227"/>
                  </a:lnTo>
                  <a:lnTo>
                    <a:pt x="5" y="251"/>
                  </a:lnTo>
                  <a:lnTo>
                    <a:pt x="11" y="273"/>
                  </a:lnTo>
                  <a:lnTo>
                    <a:pt x="11" y="273"/>
                  </a:lnTo>
                  <a:lnTo>
                    <a:pt x="12" y="278"/>
                  </a:lnTo>
                  <a:lnTo>
                    <a:pt x="15" y="283"/>
                  </a:lnTo>
                  <a:lnTo>
                    <a:pt x="17" y="287"/>
                  </a:lnTo>
                  <a:lnTo>
                    <a:pt x="21" y="290"/>
                  </a:lnTo>
                  <a:lnTo>
                    <a:pt x="30" y="297"/>
                  </a:lnTo>
                  <a:lnTo>
                    <a:pt x="41" y="302"/>
                  </a:lnTo>
                  <a:lnTo>
                    <a:pt x="53" y="305"/>
                  </a:lnTo>
                  <a:lnTo>
                    <a:pt x="67" y="308"/>
                  </a:lnTo>
                  <a:lnTo>
                    <a:pt x="96" y="312"/>
                  </a:lnTo>
                  <a:lnTo>
                    <a:pt x="96" y="312"/>
                  </a:lnTo>
                  <a:lnTo>
                    <a:pt x="102" y="314"/>
                  </a:lnTo>
                  <a:lnTo>
                    <a:pt x="102" y="314"/>
                  </a:lnTo>
                  <a:lnTo>
                    <a:pt x="103" y="314"/>
                  </a:lnTo>
                  <a:lnTo>
                    <a:pt x="103" y="314"/>
                  </a:lnTo>
                  <a:lnTo>
                    <a:pt x="107" y="315"/>
                  </a:lnTo>
                  <a:lnTo>
                    <a:pt x="107" y="315"/>
                  </a:lnTo>
                  <a:lnTo>
                    <a:pt x="108" y="316"/>
                  </a:lnTo>
                  <a:lnTo>
                    <a:pt x="108" y="316"/>
                  </a:lnTo>
                  <a:lnTo>
                    <a:pt x="112" y="317"/>
                  </a:lnTo>
                  <a:lnTo>
                    <a:pt x="112" y="317"/>
                  </a:lnTo>
                  <a:lnTo>
                    <a:pt x="113" y="317"/>
                  </a:lnTo>
                  <a:lnTo>
                    <a:pt x="113" y="317"/>
                  </a:lnTo>
                  <a:lnTo>
                    <a:pt x="117" y="319"/>
                  </a:lnTo>
                  <a:lnTo>
                    <a:pt x="117" y="319"/>
                  </a:lnTo>
                  <a:lnTo>
                    <a:pt x="117" y="319"/>
                  </a:lnTo>
                  <a:lnTo>
                    <a:pt x="117" y="319"/>
                  </a:lnTo>
                  <a:lnTo>
                    <a:pt x="122" y="321"/>
                  </a:lnTo>
                  <a:lnTo>
                    <a:pt x="122" y="321"/>
                  </a:lnTo>
                  <a:lnTo>
                    <a:pt x="123" y="321"/>
                  </a:lnTo>
                  <a:lnTo>
                    <a:pt x="123" y="321"/>
                  </a:lnTo>
                  <a:lnTo>
                    <a:pt x="127" y="323"/>
                  </a:lnTo>
                  <a:lnTo>
                    <a:pt x="127" y="323"/>
                  </a:lnTo>
                  <a:lnTo>
                    <a:pt x="127" y="323"/>
                  </a:lnTo>
                  <a:lnTo>
                    <a:pt x="127" y="323"/>
                  </a:lnTo>
                  <a:lnTo>
                    <a:pt x="130" y="325"/>
                  </a:lnTo>
                  <a:lnTo>
                    <a:pt x="130" y="325"/>
                  </a:lnTo>
                  <a:lnTo>
                    <a:pt x="131" y="326"/>
                  </a:lnTo>
                  <a:lnTo>
                    <a:pt x="131" y="326"/>
                  </a:lnTo>
                  <a:lnTo>
                    <a:pt x="135" y="327"/>
                  </a:lnTo>
                  <a:lnTo>
                    <a:pt x="135" y="327"/>
                  </a:lnTo>
                  <a:lnTo>
                    <a:pt x="136" y="328"/>
                  </a:lnTo>
                  <a:lnTo>
                    <a:pt x="136" y="328"/>
                  </a:lnTo>
                  <a:lnTo>
                    <a:pt x="139" y="329"/>
                  </a:lnTo>
                  <a:lnTo>
                    <a:pt x="139" y="329"/>
                  </a:lnTo>
                  <a:lnTo>
                    <a:pt x="143" y="333"/>
                  </a:lnTo>
                  <a:lnTo>
                    <a:pt x="143" y="333"/>
                  </a:lnTo>
                  <a:lnTo>
                    <a:pt x="143" y="333"/>
                  </a:lnTo>
                  <a:lnTo>
                    <a:pt x="143" y="333"/>
                  </a:lnTo>
                  <a:lnTo>
                    <a:pt x="146" y="334"/>
                  </a:lnTo>
                  <a:lnTo>
                    <a:pt x="146" y="334"/>
                  </a:lnTo>
                  <a:lnTo>
                    <a:pt x="147" y="335"/>
                  </a:lnTo>
                  <a:lnTo>
                    <a:pt x="147" y="335"/>
                  </a:lnTo>
                  <a:lnTo>
                    <a:pt x="150" y="336"/>
                  </a:lnTo>
                  <a:lnTo>
                    <a:pt x="150" y="336"/>
                  </a:lnTo>
                  <a:lnTo>
                    <a:pt x="150" y="336"/>
                  </a:lnTo>
                  <a:lnTo>
                    <a:pt x="150" y="336"/>
                  </a:lnTo>
                  <a:lnTo>
                    <a:pt x="153" y="338"/>
                  </a:lnTo>
                  <a:lnTo>
                    <a:pt x="153" y="338"/>
                  </a:lnTo>
                  <a:lnTo>
                    <a:pt x="153" y="338"/>
                  </a:lnTo>
                  <a:lnTo>
                    <a:pt x="153" y="338"/>
                  </a:lnTo>
                  <a:lnTo>
                    <a:pt x="157" y="339"/>
                  </a:lnTo>
                  <a:lnTo>
                    <a:pt x="157" y="339"/>
                  </a:lnTo>
                  <a:lnTo>
                    <a:pt x="157" y="339"/>
                  </a:lnTo>
                  <a:lnTo>
                    <a:pt x="157" y="339"/>
                  </a:lnTo>
                  <a:lnTo>
                    <a:pt x="160" y="339"/>
                  </a:lnTo>
                  <a:lnTo>
                    <a:pt x="160" y="339"/>
                  </a:lnTo>
                  <a:lnTo>
                    <a:pt x="160" y="340"/>
                  </a:lnTo>
                  <a:lnTo>
                    <a:pt x="160" y="340"/>
                  </a:lnTo>
                  <a:lnTo>
                    <a:pt x="162" y="340"/>
                  </a:lnTo>
                  <a:lnTo>
                    <a:pt x="162" y="340"/>
                  </a:lnTo>
                  <a:lnTo>
                    <a:pt x="163" y="340"/>
                  </a:lnTo>
                  <a:lnTo>
                    <a:pt x="163" y="340"/>
                  </a:lnTo>
                  <a:lnTo>
                    <a:pt x="164" y="340"/>
                  </a:lnTo>
                  <a:lnTo>
                    <a:pt x="164" y="340"/>
                  </a:lnTo>
                  <a:lnTo>
                    <a:pt x="165" y="340"/>
                  </a:lnTo>
                  <a:lnTo>
                    <a:pt x="165" y="340"/>
                  </a:lnTo>
                  <a:lnTo>
                    <a:pt x="166" y="339"/>
                  </a:lnTo>
                  <a:lnTo>
                    <a:pt x="166" y="339"/>
                  </a:lnTo>
                  <a:lnTo>
                    <a:pt x="166" y="339"/>
                  </a:lnTo>
                  <a:lnTo>
                    <a:pt x="166" y="339"/>
                  </a:lnTo>
                  <a:lnTo>
                    <a:pt x="167" y="339"/>
                  </a:lnTo>
                  <a:lnTo>
                    <a:pt x="167" y="339"/>
                  </a:lnTo>
                  <a:lnTo>
                    <a:pt x="168" y="338"/>
                  </a:lnTo>
                  <a:lnTo>
                    <a:pt x="168" y="338"/>
                  </a:lnTo>
                  <a:lnTo>
                    <a:pt x="169" y="338"/>
                  </a:lnTo>
                  <a:lnTo>
                    <a:pt x="169" y="338"/>
                  </a:lnTo>
                  <a:lnTo>
                    <a:pt x="170" y="337"/>
                  </a:lnTo>
                  <a:lnTo>
                    <a:pt x="170" y="337"/>
                  </a:lnTo>
                  <a:lnTo>
                    <a:pt x="170" y="337"/>
                  </a:lnTo>
                  <a:lnTo>
                    <a:pt x="170" y="337"/>
                  </a:lnTo>
                  <a:lnTo>
                    <a:pt x="171" y="336"/>
                  </a:lnTo>
                  <a:lnTo>
                    <a:pt x="171" y="336"/>
                  </a:lnTo>
                  <a:lnTo>
                    <a:pt x="172" y="336"/>
                  </a:lnTo>
                  <a:lnTo>
                    <a:pt x="172" y="336"/>
                  </a:lnTo>
                  <a:lnTo>
                    <a:pt x="173" y="334"/>
                  </a:lnTo>
                  <a:lnTo>
                    <a:pt x="173" y="334"/>
                  </a:lnTo>
                  <a:lnTo>
                    <a:pt x="173" y="334"/>
                  </a:lnTo>
                  <a:lnTo>
                    <a:pt x="173" y="334"/>
                  </a:lnTo>
                  <a:lnTo>
                    <a:pt x="175" y="332"/>
                  </a:lnTo>
                  <a:lnTo>
                    <a:pt x="175" y="332"/>
                  </a:lnTo>
                  <a:lnTo>
                    <a:pt x="181" y="319"/>
                  </a:lnTo>
                  <a:lnTo>
                    <a:pt x="186" y="305"/>
                  </a:lnTo>
                  <a:lnTo>
                    <a:pt x="190" y="291"/>
                  </a:lnTo>
                  <a:lnTo>
                    <a:pt x="193" y="277"/>
                  </a:lnTo>
                  <a:lnTo>
                    <a:pt x="195" y="262"/>
                  </a:lnTo>
                  <a:lnTo>
                    <a:pt x="195" y="246"/>
                  </a:lnTo>
                  <a:lnTo>
                    <a:pt x="194" y="230"/>
                  </a:lnTo>
                  <a:lnTo>
                    <a:pt x="193" y="213"/>
                  </a:lnTo>
                  <a:lnTo>
                    <a:pt x="193" y="2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sp>
          <p:nvSpPr>
            <p:cNvPr id="106" name="Freeform 9">
              <a:extLst>
                <a:ext uri="{FF2B5EF4-FFF2-40B4-BE49-F238E27FC236}">
                  <a16:creationId xmlns:a16="http://schemas.microsoft.com/office/drawing/2014/main" id="{4BBE50DD-C4B2-A1D9-4470-2336442A5521}"/>
                </a:ext>
              </a:extLst>
            </p:cNvPr>
            <p:cNvSpPr>
              <a:spLocks noEditPoints="1"/>
            </p:cNvSpPr>
            <p:nvPr/>
          </p:nvSpPr>
          <p:spPr bwMode="auto">
            <a:xfrm>
              <a:off x="3983" y="2131"/>
              <a:ext cx="64" cy="66"/>
            </a:xfrm>
            <a:custGeom>
              <a:avLst/>
              <a:gdLst>
                <a:gd name="T0" fmla="*/ 32 w 64"/>
                <a:gd name="T1" fmla="*/ 66 h 66"/>
                <a:gd name="T2" fmla="*/ 32 w 64"/>
                <a:gd name="T3" fmla="*/ 66 h 66"/>
                <a:gd name="T4" fmla="*/ 25 w 64"/>
                <a:gd name="T5" fmla="*/ 65 h 66"/>
                <a:gd name="T6" fmla="*/ 20 w 64"/>
                <a:gd name="T7" fmla="*/ 63 h 66"/>
                <a:gd name="T8" fmla="*/ 13 w 64"/>
                <a:gd name="T9" fmla="*/ 61 h 66"/>
                <a:gd name="T10" fmla="*/ 9 w 64"/>
                <a:gd name="T11" fmla="*/ 56 h 66"/>
                <a:gd name="T12" fmla="*/ 5 w 64"/>
                <a:gd name="T13" fmla="*/ 51 h 66"/>
                <a:gd name="T14" fmla="*/ 2 w 64"/>
                <a:gd name="T15" fmla="*/ 46 h 66"/>
                <a:gd name="T16" fmla="*/ 0 w 64"/>
                <a:gd name="T17" fmla="*/ 40 h 66"/>
                <a:gd name="T18" fmla="*/ 0 w 64"/>
                <a:gd name="T19" fmla="*/ 33 h 66"/>
                <a:gd name="T20" fmla="*/ 0 w 64"/>
                <a:gd name="T21" fmla="*/ 33 h 66"/>
                <a:gd name="T22" fmla="*/ 0 w 64"/>
                <a:gd name="T23" fmla="*/ 27 h 66"/>
                <a:gd name="T24" fmla="*/ 2 w 64"/>
                <a:gd name="T25" fmla="*/ 21 h 66"/>
                <a:gd name="T26" fmla="*/ 5 w 64"/>
                <a:gd name="T27" fmla="*/ 15 h 66"/>
                <a:gd name="T28" fmla="*/ 9 w 64"/>
                <a:gd name="T29" fmla="*/ 10 h 66"/>
                <a:gd name="T30" fmla="*/ 13 w 64"/>
                <a:gd name="T31" fmla="*/ 7 h 66"/>
                <a:gd name="T32" fmla="*/ 20 w 64"/>
                <a:gd name="T33" fmla="*/ 4 h 66"/>
                <a:gd name="T34" fmla="*/ 25 w 64"/>
                <a:gd name="T35" fmla="*/ 1 h 66"/>
                <a:gd name="T36" fmla="*/ 32 w 64"/>
                <a:gd name="T37" fmla="*/ 0 h 66"/>
                <a:gd name="T38" fmla="*/ 32 w 64"/>
                <a:gd name="T39" fmla="*/ 0 h 66"/>
                <a:gd name="T40" fmla="*/ 39 w 64"/>
                <a:gd name="T41" fmla="*/ 1 h 66"/>
                <a:gd name="T42" fmla="*/ 45 w 64"/>
                <a:gd name="T43" fmla="*/ 4 h 66"/>
                <a:gd name="T44" fmla="*/ 50 w 64"/>
                <a:gd name="T45" fmla="*/ 7 h 66"/>
                <a:gd name="T46" fmla="*/ 55 w 64"/>
                <a:gd name="T47" fmla="*/ 10 h 66"/>
                <a:gd name="T48" fmla="*/ 59 w 64"/>
                <a:gd name="T49" fmla="*/ 15 h 66"/>
                <a:gd name="T50" fmla="*/ 62 w 64"/>
                <a:gd name="T51" fmla="*/ 21 h 66"/>
                <a:gd name="T52" fmla="*/ 64 w 64"/>
                <a:gd name="T53" fmla="*/ 27 h 66"/>
                <a:gd name="T54" fmla="*/ 64 w 64"/>
                <a:gd name="T55" fmla="*/ 33 h 66"/>
                <a:gd name="T56" fmla="*/ 64 w 64"/>
                <a:gd name="T57" fmla="*/ 33 h 66"/>
                <a:gd name="T58" fmla="*/ 64 w 64"/>
                <a:gd name="T59" fmla="*/ 40 h 66"/>
                <a:gd name="T60" fmla="*/ 62 w 64"/>
                <a:gd name="T61" fmla="*/ 46 h 66"/>
                <a:gd name="T62" fmla="*/ 59 w 64"/>
                <a:gd name="T63" fmla="*/ 51 h 66"/>
                <a:gd name="T64" fmla="*/ 55 w 64"/>
                <a:gd name="T65" fmla="*/ 56 h 66"/>
                <a:gd name="T66" fmla="*/ 50 w 64"/>
                <a:gd name="T67" fmla="*/ 61 h 66"/>
                <a:gd name="T68" fmla="*/ 45 w 64"/>
                <a:gd name="T69" fmla="*/ 63 h 66"/>
                <a:gd name="T70" fmla="*/ 39 w 64"/>
                <a:gd name="T71" fmla="*/ 65 h 66"/>
                <a:gd name="T72" fmla="*/ 32 w 64"/>
                <a:gd name="T73" fmla="*/ 66 h 66"/>
                <a:gd name="T74" fmla="*/ 32 w 64"/>
                <a:gd name="T75" fmla="*/ 66 h 66"/>
                <a:gd name="T76" fmla="*/ 32 w 64"/>
                <a:gd name="T77" fmla="*/ 22 h 66"/>
                <a:gd name="T78" fmla="*/ 32 w 64"/>
                <a:gd name="T79" fmla="*/ 22 h 66"/>
                <a:gd name="T80" fmla="*/ 27 w 64"/>
                <a:gd name="T81" fmla="*/ 23 h 66"/>
                <a:gd name="T82" fmla="*/ 24 w 64"/>
                <a:gd name="T83" fmla="*/ 25 h 66"/>
                <a:gd name="T84" fmla="*/ 22 w 64"/>
                <a:gd name="T85" fmla="*/ 29 h 66"/>
                <a:gd name="T86" fmla="*/ 21 w 64"/>
                <a:gd name="T87" fmla="*/ 33 h 66"/>
                <a:gd name="T88" fmla="*/ 21 w 64"/>
                <a:gd name="T89" fmla="*/ 33 h 66"/>
                <a:gd name="T90" fmla="*/ 22 w 64"/>
                <a:gd name="T91" fmla="*/ 37 h 66"/>
                <a:gd name="T92" fmla="*/ 24 w 64"/>
                <a:gd name="T93" fmla="*/ 42 h 66"/>
                <a:gd name="T94" fmla="*/ 27 w 64"/>
                <a:gd name="T95" fmla="*/ 44 h 66"/>
                <a:gd name="T96" fmla="*/ 32 w 64"/>
                <a:gd name="T97" fmla="*/ 45 h 66"/>
                <a:gd name="T98" fmla="*/ 32 w 64"/>
                <a:gd name="T99" fmla="*/ 45 h 66"/>
                <a:gd name="T100" fmla="*/ 37 w 64"/>
                <a:gd name="T101" fmla="*/ 44 h 66"/>
                <a:gd name="T102" fmla="*/ 40 w 64"/>
                <a:gd name="T103" fmla="*/ 42 h 66"/>
                <a:gd name="T104" fmla="*/ 43 w 64"/>
                <a:gd name="T105" fmla="*/ 37 h 66"/>
                <a:gd name="T106" fmla="*/ 43 w 64"/>
                <a:gd name="T107" fmla="*/ 33 h 66"/>
                <a:gd name="T108" fmla="*/ 43 w 64"/>
                <a:gd name="T109" fmla="*/ 33 h 66"/>
                <a:gd name="T110" fmla="*/ 43 w 64"/>
                <a:gd name="T111" fmla="*/ 29 h 66"/>
                <a:gd name="T112" fmla="*/ 40 w 64"/>
                <a:gd name="T113" fmla="*/ 25 h 66"/>
                <a:gd name="T114" fmla="*/ 37 w 64"/>
                <a:gd name="T115" fmla="*/ 23 h 66"/>
                <a:gd name="T116" fmla="*/ 32 w 64"/>
                <a:gd name="T117" fmla="*/ 22 h 66"/>
                <a:gd name="T118" fmla="*/ 32 w 64"/>
                <a:gd name="T119" fmla="*/ 2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66">
                  <a:moveTo>
                    <a:pt x="32" y="66"/>
                  </a:moveTo>
                  <a:lnTo>
                    <a:pt x="32" y="66"/>
                  </a:lnTo>
                  <a:lnTo>
                    <a:pt x="25" y="65"/>
                  </a:lnTo>
                  <a:lnTo>
                    <a:pt x="20" y="63"/>
                  </a:lnTo>
                  <a:lnTo>
                    <a:pt x="13" y="61"/>
                  </a:lnTo>
                  <a:lnTo>
                    <a:pt x="9" y="56"/>
                  </a:lnTo>
                  <a:lnTo>
                    <a:pt x="5" y="51"/>
                  </a:lnTo>
                  <a:lnTo>
                    <a:pt x="2" y="46"/>
                  </a:lnTo>
                  <a:lnTo>
                    <a:pt x="0" y="40"/>
                  </a:lnTo>
                  <a:lnTo>
                    <a:pt x="0" y="33"/>
                  </a:lnTo>
                  <a:lnTo>
                    <a:pt x="0" y="33"/>
                  </a:lnTo>
                  <a:lnTo>
                    <a:pt x="0" y="27"/>
                  </a:lnTo>
                  <a:lnTo>
                    <a:pt x="2" y="21"/>
                  </a:lnTo>
                  <a:lnTo>
                    <a:pt x="5" y="15"/>
                  </a:lnTo>
                  <a:lnTo>
                    <a:pt x="9" y="10"/>
                  </a:lnTo>
                  <a:lnTo>
                    <a:pt x="13" y="7"/>
                  </a:lnTo>
                  <a:lnTo>
                    <a:pt x="20" y="4"/>
                  </a:lnTo>
                  <a:lnTo>
                    <a:pt x="25" y="1"/>
                  </a:lnTo>
                  <a:lnTo>
                    <a:pt x="32" y="0"/>
                  </a:lnTo>
                  <a:lnTo>
                    <a:pt x="32" y="0"/>
                  </a:lnTo>
                  <a:lnTo>
                    <a:pt x="39" y="1"/>
                  </a:lnTo>
                  <a:lnTo>
                    <a:pt x="45" y="4"/>
                  </a:lnTo>
                  <a:lnTo>
                    <a:pt x="50" y="7"/>
                  </a:lnTo>
                  <a:lnTo>
                    <a:pt x="55" y="10"/>
                  </a:lnTo>
                  <a:lnTo>
                    <a:pt x="59" y="15"/>
                  </a:lnTo>
                  <a:lnTo>
                    <a:pt x="62" y="21"/>
                  </a:lnTo>
                  <a:lnTo>
                    <a:pt x="64" y="27"/>
                  </a:lnTo>
                  <a:lnTo>
                    <a:pt x="64" y="33"/>
                  </a:lnTo>
                  <a:lnTo>
                    <a:pt x="64" y="33"/>
                  </a:lnTo>
                  <a:lnTo>
                    <a:pt x="64" y="40"/>
                  </a:lnTo>
                  <a:lnTo>
                    <a:pt x="62" y="46"/>
                  </a:lnTo>
                  <a:lnTo>
                    <a:pt x="59" y="51"/>
                  </a:lnTo>
                  <a:lnTo>
                    <a:pt x="55" y="56"/>
                  </a:lnTo>
                  <a:lnTo>
                    <a:pt x="50" y="61"/>
                  </a:lnTo>
                  <a:lnTo>
                    <a:pt x="45" y="63"/>
                  </a:lnTo>
                  <a:lnTo>
                    <a:pt x="39" y="65"/>
                  </a:lnTo>
                  <a:lnTo>
                    <a:pt x="32" y="66"/>
                  </a:lnTo>
                  <a:lnTo>
                    <a:pt x="32" y="66"/>
                  </a:lnTo>
                  <a:close/>
                  <a:moveTo>
                    <a:pt x="32" y="22"/>
                  </a:moveTo>
                  <a:lnTo>
                    <a:pt x="32" y="22"/>
                  </a:lnTo>
                  <a:lnTo>
                    <a:pt x="27" y="23"/>
                  </a:lnTo>
                  <a:lnTo>
                    <a:pt x="24" y="25"/>
                  </a:lnTo>
                  <a:lnTo>
                    <a:pt x="22" y="29"/>
                  </a:lnTo>
                  <a:lnTo>
                    <a:pt x="21" y="33"/>
                  </a:lnTo>
                  <a:lnTo>
                    <a:pt x="21" y="33"/>
                  </a:lnTo>
                  <a:lnTo>
                    <a:pt x="22" y="37"/>
                  </a:lnTo>
                  <a:lnTo>
                    <a:pt x="24" y="42"/>
                  </a:lnTo>
                  <a:lnTo>
                    <a:pt x="27" y="44"/>
                  </a:lnTo>
                  <a:lnTo>
                    <a:pt x="32" y="45"/>
                  </a:lnTo>
                  <a:lnTo>
                    <a:pt x="32" y="45"/>
                  </a:lnTo>
                  <a:lnTo>
                    <a:pt x="37" y="44"/>
                  </a:lnTo>
                  <a:lnTo>
                    <a:pt x="40" y="42"/>
                  </a:lnTo>
                  <a:lnTo>
                    <a:pt x="43" y="37"/>
                  </a:lnTo>
                  <a:lnTo>
                    <a:pt x="43" y="33"/>
                  </a:lnTo>
                  <a:lnTo>
                    <a:pt x="43" y="33"/>
                  </a:lnTo>
                  <a:lnTo>
                    <a:pt x="43" y="29"/>
                  </a:lnTo>
                  <a:lnTo>
                    <a:pt x="40" y="25"/>
                  </a:lnTo>
                  <a:lnTo>
                    <a:pt x="37" y="23"/>
                  </a:lnTo>
                  <a:lnTo>
                    <a:pt x="32" y="22"/>
                  </a:lnTo>
                  <a:lnTo>
                    <a:pt x="32"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sp>
          <p:nvSpPr>
            <p:cNvPr id="107" name="Freeform 10">
              <a:extLst>
                <a:ext uri="{FF2B5EF4-FFF2-40B4-BE49-F238E27FC236}">
                  <a16:creationId xmlns:a16="http://schemas.microsoft.com/office/drawing/2014/main" id="{E5C4EF20-7CC2-50A8-CBB6-311D91F3303F}"/>
                </a:ext>
              </a:extLst>
            </p:cNvPr>
            <p:cNvSpPr>
              <a:spLocks noEditPoints="1"/>
            </p:cNvSpPr>
            <p:nvPr/>
          </p:nvSpPr>
          <p:spPr bwMode="auto">
            <a:xfrm>
              <a:off x="3950" y="2099"/>
              <a:ext cx="131" cy="131"/>
            </a:xfrm>
            <a:custGeom>
              <a:avLst/>
              <a:gdLst>
                <a:gd name="T0" fmla="*/ 65 w 131"/>
                <a:gd name="T1" fmla="*/ 131 h 131"/>
                <a:gd name="T2" fmla="*/ 52 w 131"/>
                <a:gd name="T3" fmla="*/ 130 h 131"/>
                <a:gd name="T4" fmla="*/ 40 w 131"/>
                <a:gd name="T5" fmla="*/ 126 h 131"/>
                <a:gd name="T6" fmla="*/ 19 w 131"/>
                <a:gd name="T7" fmla="*/ 112 h 131"/>
                <a:gd name="T8" fmla="*/ 5 w 131"/>
                <a:gd name="T9" fmla="*/ 91 h 131"/>
                <a:gd name="T10" fmla="*/ 1 w 131"/>
                <a:gd name="T11" fmla="*/ 79 h 131"/>
                <a:gd name="T12" fmla="*/ 0 w 131"/>
                <a:gd name="T13" fmla="*/ 65 h 131"/>
                <a:gd name="T14" fmla="*/ 0 w 131"/>
                <a:gd name="T15" fmla="*/ 59 h 131"/>
                <a:gd name="T16" fmla="*/ 2 w 131"/>
                <a:gd name="T17" fmla="*/ 46 h 131"/>
                <a:gd name="T18" fmla="*/ 10 w 131"/>
                <a:gd name="T19" fmla="*/ 29 h 131"/>
                <a:gd name="T20" fmla="*/ 28 w 131"/>
                <a:gd name="T21" fmla="*/ 11 h 131"/>
                <a:gd name="T22" fmla="*/ 45 w 131"/>
                <a:gd name="T23" fmla="*/ 3 h 131"/>
                <a:gd name="T24" fmla="*/ 58 w 131"/>
                <a:gd name="T25" fmla="*/ 0 h 131"/>
                <a:gd name="T26" fmla="*/ 65 w 131"/>
                <a:gd name="T27" fmla="*/ 0 h 131"/>
                <a:gd name="T28" fmla="*/ 78 w 131"/>
                <a:gd name="T29" fmla="*/ 1 h 131"/>
                <a:gd name="T30" fmla="*/ 91 w 131"/>
                <a:gd name="T31" fmla="*/ 5 h 131"/>
                <a:gd name="T32" fmla="*/ 111 w 131"/>
                <a:gd name="T33" fmla="*/ 19 h 131"/>
                <a:gd name="T34" fmla="*/ 126 w 131"/>
                <a:gd name="T35" fmla="*/ 40 h 131"/>
                <a:gd name="T36" fmla="*/ 129 w 131"/>
                <a:gd name="T37" fmla="*/ 53 h 131"/>
                <a:gd name="T38" fmla="*/ 131 w 131"/>
                <a:gd name="T39" fmla="*/ 65 h 131"/>
                <a:gd name="T40" fmla="*/ 130 w 131"/>
                <a:gd name="T41" fmla="*/ 72 h 131"/>
                <a:gd name="T42" fmla="*/ 128 w 131"/>
                <a:gd name="T43" fmla="*/ 84 h 131"/>
                <a:gd name="T44" fmla="*/ 119 w 131"/>
                <a:gd name="T45" fmla="*/ 102 h 131"/>
                <a:gd name="T46" fmla="*/ 101 w 131"/>
                <a:gd name="T47" fmla="*/ 119 h 131"/>
                <a:gd name="T48" fmla="*/ 84 w 131"/>
                <a:gd name="T49" fmla="*/ 128 h 131"/>
                <a:gd name="T50" fmla="*/ 72 w 131"/>
                <a:gd name="T51" fmla="*/ 131 h 131"/>
                <a:gd name="T52" fmla="*/ 65 w 131"/>
                <a:gd name="T53" fmla="*/ 131 h 131"/>
                <a:gd name="T54" fmla="*/ 65 w 131"/>
                <a:gd name="T55" fmla="*/ 21 h 131"/>
                <a:gd name="T56" fmla="*/ 47 w 131"/>
                <a:gd name="T57" fmla="*/ 24 h 131"/>
                <a:gd name="T58" fmla="*/ 34 w 131"/>
                <a:gd name="T59" fmla="*/ 33 h 131"/>
                <a:gd name="T60" fmla="*/ 24 w 131"/>
                <a:gd name="T61" fmla="*/ 48 h 131"/>
                <a:gd name="T62" fmla="*/ 21 w 131"/>
                <a:gd name="T63" fmla="*/ 65 h 131"/>
                <a:gd name="T64" fmla="*/ 21 w 131"/>
                <a:gd name="T65" fmla="*/ 75 h 131"/>
                <a:gd name="T66" fmla="*/ 28 w 131"/>
                <a:gd name="T67" fmla="*/ 91 h 131"/>
                <a:gd name="T68" fmla="*/ 40 w 131"/>
                <a:gd name="T69" fmla="*/ 102 h 131"/>
                <a:gd name="T70" fmla="*/ 56 w 131"/>
                <a:gd name="T71" fmla="*/ 109 h 131"/>
                <a:gd name="T72" fmla="*/ 65 w 131"/>
                <a:gd name="T73" fmla="*/ 110 h 131"/>
                <a:gd name="T74" fmla="*/ 82 w 131"/>
                <a:gd name="T75" fmla="*/ 106 h 131"/>
                <a:gd name="T76" fmla="*/ 96 w 131"/>
                <a:gd name="T77" fmla="*/ 97 h 131"/>
                <a:gd name="T78" fmla="*/ 106 w 131"/>
                <a:gd name="T79" fmla="*/ 82 h 131"/>
                <a:gd name="T80" fmla="*/ 110 w 131"/>
                <a:gd name="T81" fmla="*/ 65 h 131"/>
                <a:gd name="T82" fmla="*/ 109 w 131"/>
                <a:gd name="T83" fmla="*/ 57 h 131"/>
                <a:gd name="T84" fmla="*/ 101 w 131"/>
                <a:gd name="T85" fmla="*/ 41 h 131"/>
                <a:gd name="T86" fmla="*/ 90 w 131"/>
                <a:gd name="T87" fmla="*/ 28 h 131"/>
                <a:gd name="T88" fmla="*/ 74 w 131"/>
                <a:gd name="T89" fmla="*/ 22 h 131"/>
                <a:gd name="T90" fmla="*/ 65 w 131"/>
                <a:gd name="T91" fmla="*/ 2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1" h="131">
                  <a:moveTo>
                    <a:pt x="65" y="131"/>
                  </a:moveTo>
                  <a:lnTo>
                    <a:pt x="65" y="131"/>
                  </a:lnTo>
                  <a:lnTo>
                    <a:pt x="58" y="131"/>
                  </a:lnTo>
                  <a:lnTo>
                    <a:pt x="52" y="130"/>
                  </a:lnTo>
                  <a:lnTo>
                    <a:pt x="45" y="128"/>
                  </a:lnTo>
                  <a:lnTo>
                    <a:pt x="40" y="126"/>
                  </a:lnTo>
                  <a:lnTo>
                    <a:pt x="28" y="119"/>
                  </a:lnTo>
                  <a:lnTo>
                    <a:pt x="19" y="112"/>
                  </a:lnTo>
                  <a:lnTo>
                    <a:pt x="10" y="102"/>
                  </a:lnTo>
                  <a:lnTo>
                    <a:pt x="5" y="91"/>
                  </a:lnTo>
                  <a:lnTo>
                    <a:pt x="2" y="84"/>
                  </a:lnTo>
                  <a:lnTo>
                    <a:pt x="1" y="79"/>
                  </a:lnTo>
                  <a:lnTo>
                    <a:pt x="0" y="72"/>
                  </a:lnTo>
                  <a:lnTo>
                    <a:pt x="0" y="65"/>
                  </a:lnTo>
                  <a:lnTo>
                    <a:pt x="0" y="65"/>
                  </a:lnTo>
                  <a:lnTo>
                    <a:pt x="0" y="59"/>
                  </a:lnTo>
                  <a:lnTo>
                    <a:pt x="1" y="53"/>
                  </a:lnTo>
                  <a:lnTo>
                    <a:pt x="2" y="46"/>
                  </a:lnTo>
                  <a:lnTo>
                    <a:pt x="5" y="40"/>
                  </a:lnTo>
                  <a:lnTo>
                    <a:pt x="10" y="29"/>
                  </a:lnTo>
                  <a:lnTo>
                    <a:pt x="19" y="19"/>
                  </a:lnTo>
                  <a:lnTo>
                    <a:pt x="28" y="11"/>
                  </a:lnTo>
                  <a:lnTo>
                    <a:pt x="40" y="5"/>
                  </a:lnTo>
                  <a:lnTo>
                    <a:pt x="45" y="3"/>
                  </a:lnTo>
                  <a:lnTo>
                    <a:pt x="52" y="1"/>
                  </a:lnTo>
                  <a:lnTo>
                    <a:pt x="58" y="0"/>
                  </a:lnTo>
                  <a:lnTo>
                    <a:pt x="65" y="0"/>
                  </a:lnTo>
                  <a:lnTo>
                    <a:pt x="65" y="0"/>
                  </a:lnTo>
                  <a:lnTo>
                    <a:pt x="72" y="0"/>
                  </a:lnTo>
                  <a:lnTo>
                    <a:pt x="78" y="1"/>
                  </a:lnTo>
                  <a:lnTo>
                    <a:pt x="84" y="3"/>
                  </a:lnTo>
                  <a:lnTo>
                    <a:pt x="91" y="5"/>
                  </a:lnTo>
                  <a:lnTo>
                    <a:pt x="101" y="11"/>
                  </a:lnTo>
                  <a:lnTo>
                    <a:pt x="111" y="19"/>
                  </a:lnTo>
                  <a:lnTo>
                    <a:pt x="119" y="29"/>
                  </a:lnTo>
                  <a:lnTo>
                    <a:pt x="126" y="40"/>
                  </a:lnTo>
                  <a:lnTo>
                    <a:pt x="128" y="46"/>
                  </a:lnTo>
                  <a:lnTo>
                    <a:pt x="129" y="53"/>
                  </a:lnTo>
                  <a:lnTo>
                    <a:pt x="130" y="59"/>
                  </a:lnTo>
                  <a:lnTo>
                    <a:pt x="131" y="65"/>
                  </a:lnTo>
                  <a:lnTo>
                    <a:pt x="131" y="65"/>
                  </a:lnTo>
                  <a:lnTo>
                    <a:pt x="130" y="72"/>
                  </a:lnTo>
                  <a:lnTo>
                    <a:pt x="129" y="79"/>
                  </a:lnTo>
                  <a:lnTo>
                    <a:pt x="128" y="84"/>
                  </a:lnTo>
                  <a:lnTo>
                    <a:pt x="126" y="91"/>
                  </a:lnTo>
                  <a:lnTo>
                    <a:pt x="119" y="102"/>
                  </a:lnTo>
                  <a:lnTo>
                    <a:pt x="111" y="112"/>
                  </a:lnTo>
                  <a:lnTo>
                    <a:pt x="101" y="119"/>
                  </a:lnTo>
                  <a:lnTo>
                    <a:pt x="91" y="126"/>
                  </a:lnTo>
                  <a:lnTo>
                    <a:pt x="84" y="128"/>
                  </a:lnTo>
                  <a:lnTo>
                    <a:pt x="78" y="130"/>
                  </a:lnTo>
                  <a:lnTo>
                    <a:pt x="72" y="131"/>
                  </a:lnTo>
                  <a:lnTo>
                    <a:pt x="65" y="131"/>
                  </a:lnTo>
                  <a:lnTo>
                    <a:pt x="65" y="131"/>
                  </a:lnTo>
                  <a:close/>
                  <a:moveTo>
                    <a:pt x="65" y="21"/>
                  </a:moveTo>
                  <a:lnTo>
                    <a:pt x="65" y="21"/>
                  </a:lnTo>
                  <a:lnTo>
                    <a:pt x="56" y="22"/>
                  </a:lnTo>
                  <a:lnTo>
                    <a:pt x="47" y="24"/>
                  </a:lnTo>
                  <a:lnTo>
                    <a:pt x="40" y="28"/>
                  </a:lnTo>
                  <a:lnTo>
                    <a:pt x="34" y="33"/>
                  </a:lnTo>
                  <a:lnTo>
                    <a:pt x="28" y="41"/>
                  </a:lnTo>
                  <a:lnTo>
                    <a:pt x="24" y="48"/>
                  </a:lnTo>
                  <a:lnTo>
                    <a:pt x="21" y="57"/>
                  </a:lnTo>
                  <a:lnTo>
                    <a:pt x="21" y="65"/>
                  </a:lnTo>
                  <a:lnTo>
                    <a:pt x="21" y="65"/>
                  </a:lnTo>
                  <a:lnTo>
                    <a:pt x="21" y="75"/>
                  </a:lnTo>
                  <a:lnTo>
                    <a:pt x="24" y="82"/>
                  </a:lnTo>
                  <a:lnTo>
                    <a:pt x="28" y="91"/>
                  </a:lnTo>
                  <a:lnTo>
                    <a:pt x="34" y="97"/>
                  </a:lnTo>
                  <a:lnTo>
                    <a:pt x="40" y="102"/>
                  </a:lnTo>
                  <a:lnTo>
                    <a:pt x="47" y="106"/>
                  </a:lnTo>
                  <a:lnTo>
                    <a:pt x="56" y="109"/>
                  </a:lnTo>
                  <a:lnTo>
                    <a:pt x="65" y="110"/>
                  </a:lnTo>
                  <a:lnTo>
                    <a:pt x="65" y="110"/>
                  </a:lnTo>
                  <a:lnTo>
                    <a:pt x="74" y="109"/>
                  </a:lnTo>
                  <a:lnTo>
                    <a:pt x="82" y="106"/>
                  </a:lnTo>
                  <a:lnTo>
                    <a:pt x="90" y="102"/>
                  </a:lnTo>
                  <a:lnTo>
                    <a:pt x="96" y="97"/>
                  </a:lnTo>
                  <a:lnTo>
                    <a:pt x="101" y="91"/>
                  </a:lnTo>
                  <a:lnTo>
                    <a:pt x="106" y="82"/>
                  </a:lnTo>
                  <a:lnTo>
                    <a:pt x="109" y="75"/>
                  </a:lnTo>
                  <a:lnTo>
                    <a:pt x="110" y="65"/>
                  </a:lnTo>
                  <a:lnTo>
                    <a:pt x="110" y="65"/>
                  </a:lnTo>
                  <a:lnTo>
                    <a:pt x="109" y="57"/>
                  </a:lnTo>
                  <a:lnTo>
                    <a:pt x="106" y="48"/>
                  </a:lnTo>
                  <a:lnTo>
                    <a:pt x="101" y="41"/>
                  </a:lnTo>
                  <a:lnTo>
                    <a:pt x="96" y="33"/>
                  </a:lnTo>
                  <a:lnTo>
                    <a:pt x="90" y="28"/>
                  </a:lnTo>
                  <a:lnTo>
                    <a:pt x="82" y="24"/>
                  </a:lnTo>
                  <a:lnTo>
                    <a:pt x="74" y="22"/>
                  </a:lnTo>
                  <a:lnTo>
                    <a:pt x="65" y="21"/>
                  </a:lnTo>
                  <a:lnTo>
                    <a:pt x="65"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sp>
          <p:nvSpPr>
            <p:cNvPr id="108" name="Freeform 11">
              <a:extLst>
                <a:ext uri="{FF2B5EF4-FFF2-40B4-BE49-F238E27FC236}">
                  <a16:creationId xmlns:a16="http://schemas.microsoft.com/office/drawing/2014/main" id="{C9C9C69D-C788-87C2-9D2D-A4FF8301D28A}"/>
                </a:ext>
              </a:extLst>
            </p:cNvPr>
            <p:cNvSpPr>
              <a:spLocks/>
            </p:cNvSpPr>
            <p:nvPr/>
          </p:nvSpPr>
          <p:spPr bwMode="auto">
            <a:xfrm>
              <a:off x="3796" y="1960"/>
              <a:ext cx="65" cy="206"/>
            </a:xfrm>
            <a:custGeom>
              <a:avLst/>
              <a:gdLst>
                <a:gd name="T0" fmla="*/ 61 w 65"/>
                <a:gd name="T1" fmla="*/ 180 h 206"/>
                <a:gd name="T2" fmla="*/ 61 w 65"/>
                <a:gd name="T3" fmla="*/ 180 h 206"/>
                <a:gd name="T4" fmla="*/ 65 w 65"/>
                <a:gd name="T5" fmla="*/ 166 h 206"/>
                <a:gd name="T6" fmla="*/ 65 w 65"/>
                <a:gd name="T7" fmla="*/ 166 h 206"/>
                <a:gd name="T8" fmla="*/ 56 w 65"/>
                <a:gd name="T9" fmla="*/ 161 h 206"/>
                <a:gd name="T10" fmla="*/ 56 w 65"/>
                <a:gd name="T11" fmla="*/ 161 h 206"/>
                <a:gd name="T12" fmla="*/ 56 w 65"/>
                <a:gd name="T13" fmla="*/ 158 h 206"/>
                <a:gd name="T14" fmla="*/ 55 w 65"/>
                <a:gd name="T15" fmla="*/ 152 h 206"/>
                <a:gd name="T16" fmla="*/ 53 w 65"/>
                <a:gd name="T17" fmla="*/ 134 h 206"/>
                <a:gd name="T18" fmla="*/ 53 w 65"/>
                <a:gd name="T19" fmla="*/ 83 h 206"/>
                <a:gd name="T20" fmla="*/ 53 w 65"/>
                <a:gd name="T21" fmla="*/ 31 h 206"/>
                <a:gd name="T22" fmla="*/ 53 w 65"/>
                <a:gd name="T23" fmla="*/ 13 h 206"/>
                <a:gd name="T24" fmla="*/ 53 w 65"/>
                <a:gd name="T25" fmla="*/ 5 h 206"/>
                <a:gd name="T26" fmla="*/ 53 w 65"/>
                <a:gd name="T27" fmla="*/ 5 h 206"/>
                <a:gd name="T28" fmla="*/ 51 w 65"/>
                <a:gd name="T29" fmla="*/ 3 h 206"/>
                <a:gd name="T30" fmla="*/ 46 w 65"/>
                <a:gd name="T31" fmla="*/ 2 h 206"/>
                <a:gd name="T32" fmla="*/ 40 w 65"/>
                <a:gd name="T33" fmla="*/ 1 h 206"/>
                <a:gd name="T34" fmla="*/ 32 w 65"/>
                <a:gd name="T35" fmla="*/ 0 h 206"/>
                <a:gd name="T36" fmla="*/ 25 w 65"/>
                <a:gd name="T37" fmla="*/ 1 h 206"/>
                <a:gd name="T38" fmla="*/ 19 w 65"/>
                <a:gd name="T39" fmla="*/ 2 h 206"/>
                <a:gd name="T40" fmla="*/ 14 w 65"/>
                <a:gd name="T41" fmla="*/ 3 h 206"/>
                <a:gd name="T42" fmla="*/ 12 w 65"/>
                <a:gd name="T43" fmla="*/ 5 h 206"/>
                <a:gd name="T44" fmla="*/ 12 w 65"/>
                <a:gd name="T45" fmla="*/ 6 h 206"/>
                <a:gd name="T46" fmla="*/ 12 w 65"/>
                <a:gd name="T47" fmla="*/ 6 h 206"/>
                <a:gd name="T48" fmla="*/ 11 w 65"/>
                <a:gd name="T49" fmla="*/ 48 h 206"/>
                <a:gd name="T50" fmla="*/ 11 w 65"/>
                <a:gd name="T51" fmla="*/ 94 h 206"/>
                <a:gd name="T52" fmla="*/ 9 w 65"/>
                <a:gd name="T53" fmla="*/ 135 h 206"/>
                <a:gd name="T54" fmla="*/ 8 w 65"/>
                <a:gd name="T55" fmla="*/ 149 h 206"/>
                <a:gd name="T56" fmla="*/ 7 w 65"/>
                <a:gd name="T57" fmla="*/ 153 h 206"/>
                <a:gd name="T58" fmla="*/ 6 w 65"/>
                <a:gd name="T59" fmla="*/ 157 h 206"/>
                <a:gd name="T60" fmla="*/ 6 w 65"/>
                <a:gd name="T61" fmla="*/ 157 h 206"/>
                <a:gd name="T62" fmla="*/ 0 w 65"/>
                <a:gd name="T63" fmla="*/ 163 h 206"/>
                <a:gd name="T64" fmla="*/ 0 w 65"/>
                <a:gd name="T65" fmla="*/ 163 h 206"/>
                <a:gd name="T66" fmla="*/ 4 w 65"/>
                <a:gd name="T67" fmla="*/ 180 h 206"/>
                <a:gd name="T68" fmla="*/ 4 w 65"/>
                <a:gd name="T69" fmla="*/ 180 h 206"/>
                <a:gd name="T70" fmla="*/ 8 w 65"/>
                <a:gd name="T71" fmla="*/ 193 h 206"/>
                <a:gd name="T72" fmla="*/ 10 w 65"/>
                <a:gd name="T73" fmla="*/ 206 h 206"/>
                <a:gd name="T74" fmla="*/ 10 w 65"/>
                <a:gd name="T75" fmla="*/ 206 h 206"/>
                <a:gd name="T76" fmla="*/ 22 w 65"/>
                <a:gd name="T77" fmla="*/ 201 h 206"/>
                <a:gd name="T78" fmla="*/ 30 w 65"/>
                <a:gd name="T79" fmla="*/ 199 h 206"/>
                <a:gd name="T80" fmla="*/ 30 w 65"/>
                <a:gd name="T81" fmla="*/ 199 h 206"/>
                <a:gd name="T82" fmla="*/ 34 w 65"/>
                <a:gd name="T83" fmla="*/ 199 h 206"/>
                <a:gd name="T84" fmla="*/ 41 w 65"/>
                <a:gd name="T85" fmla="*/ 200 h 206"/>
                <a:gd name="T86" fmla="*/ 55 w 65"/>
                <a:gd name="T87" fmla="*/ 205 h 206"/>
                <a:gd name="T88" fmla="*/ 55 w 65"/>
                <a:gd name="T89" fmla="*/ 205 h 206"/>
                <a:gd name="T90" fmla="*/ 58 w 65"/>
                <a:gd name="T91" fmla="*/ 193 h 206"/>
                <a:gd name="T92" fmla="*/ 61 w 65"/>
                <a:gd name="T93" fmla="*/ 180 h 206"/>
                <a:gd name="T94" fmla="*/ 61 w 65"/>
                <a:gd name="T95" fmla="*/ 18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 h="206">
                  <a:moveTo>
                    <a:pt x="61" y="180"/>
                  </a:moveTo>
                  <a:lnTo>
                    <a:pt x="61" y="180"/>
                  </a:lnTo>
                  <a:lnTo>
                    <a:pt x="65" y="166"/>
                  </a:lnTo>
                  <a:lnTo>
                    <a:pt x="65" y="166"/>
                  </a:lnTo>
                  <a:lnTo>
                    <a:pt x="56" y="161"/>
                  </a:lnTo>
                  <a:lnTo>
                    <a:pt x="56" y="161"/>
                  </a:lnTo>
                  <a:lnTo>
                    <a:pt x="56" y="158"/>
                  </a:lnTo>
                  <a:lnTo>
                    <a:pt x="55" y="152"/>
                  </a:lnTo>
                  <a:lnTo>
                    <a:pt x="53" y="134"/>
                  </a:lnTo>
                  <a:lnTo>
                    <a:pt x="53" y="83"/>
                  </a:lnTo>
                  <a:lnTo>
                    <a:pt x="53" y="31"/>
                  </a:lnTo>
                  <a:lnTo>
                    <a:pt x="53" y="13"/>
                  </a:lnTo>
                  <a:lnTo>
                    <a:pt x="53" y="5"/>
                  </a:lnTo>
                  <a:lnTo>
                    <a:pt x="53" y="5"/>
                  </a:lnTo>
                  <a:lnTo>
                    <a:pt x="51" y="3"/>
                  </a:lnTo>
                  <a:lnTo>
                    <a:pt x="46" y="2"/>
                  </a:lnTo>
                  <a:lnTo>
                    <a:pt x="40" y="1"/>
                  </a:lnTo>
                  <a:lnTo>
                    <a:pt x="32" y="0"/>
                  </a:lnTo>
                  <a:lnTo>
                    <a:pt x="25" y="1"/>
                  </a:lnTo>
                  <a:lnTo>
                    <a:pt x="19" y="2"/>
                  </a:lnTo>
                  <a:lnTo>
                    <a:pt x="14" y="3"/>
                  </a:lnTo>
                  <a:lnTo>
                    <a:pt x="12" y="5"/>
                  </a:lnTo>
                  <a:lnTo>
                    <a:pt x="12" y="6"/>
                  </a:lnTo>
                  <a:lnTo>
                    <a:pt x="12" y="6"/>
                  </a:lnTo>
                  <a:lnTo>
                    <a:pt x="11" y="48"/>
                  </a:lnTo>
                  <a:lnTo>
                    <a:pt x="11" y="94"/>
                  </a:lnTo>
                  <a:lnTo>
                    <a:pt x="9" y="135"/>
                  </a:lnTo>
                  <a:lnTo>
                    <a:pt x="8" y="149"/>
                  </a:lnTo>
                  <a:lnTo>
                    <a:pt x="7" y="153"/>
                  </a:lnTo>
                  <a:lnTo>
                    <a:pt x="6" y="157"/>
                  </a:lnTo>
                  <a:lnTo>
                    <a:pt x="6" y="157"/>
                  </a:lnTo>
                  <a:lnTo>
                    <a:pt x="0" y="163"/>
                  </a:lnTo>
                  <a:lnTo>
                    <a:pt x="0" y="163"/>
                  </a:lnTo>
                  <a:lnTo>
                    <a:pt x="4" y="180"/>
                  </a:lnTo>
                  <a:lnTo>
                    <a:pt x="4" y="180"/>
                  </a:lnTo>
                  <a:lnTo>
                    <a:pt x="8" y="193"/>
                  </a:lnTo>
                  <a:lnTo>
                    <a:pt x="10" y="206"/>
                  </a:lnTo>
                  <a:lnTo>
                    <a:pt x="10" y="206"/>
                  </a:lnTo>
                  <a:lnTo>
                    <a:pt x="22" y="201"/>
                  </a:lnTo>
                  <a:lnTo>
                    <a:pt x="30" y="199"/>
                  </a:lnTo>
                  <a:lnTo>
                    <a:pt x="30" y="199"/>
                  </a:lnTo>
                  <a:lnTo>
                    <a:pt x="34" y="199"/>
                  </a:lnTo>
                  <a:lnTo>
                    <a:pt x="41" y="200"/>
                  </a:lnTo>
                  <a:lnTo>
                    <a:pt x="55" y="205"/>
                  </a:lnTo>
                  <a:lnTo>
                    <a:pt x="55" y="205"/>
                  </a:lnTo>
                  <a:lnTo>
                    <a:pt x="58" y="193"/>
                  </a:lnTo>
                  <a:lnTo>
                    <a:pt x="61" y="180"/>
                  </a:lnTo>
                  <a:lnTo>
                    <a:pt x="61"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8527308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C0AF0E-1835-33B2-5FC0-261D6D94F075}"/>
            </a:ext>
          </a:extLst>
        </p:cNvPr>
        <p:cNvGrpSpPr/>
        <p:nvPr/>
      </p:nvGrpSpPr>
      <p:grpSpPr>
        <a:xfrm>
          <a:off x="0" y="0"/>
          <a:ext cx="0" cy="0"/>
          <a:chOff x="0" y="0"/>
          <a:chExt cx="0" cy="0"/>
        </a:xfrm>
      </p:grpSpPr>
      <p:pic>
        <p:nvPicPr>
          <p:cNvPr id="36" name="Content Placeholder 35">
            <a:extLst>
              <a:ext uri="{FF2B5EF4-FFF2-40B4-BE49-F238E27FC236}">
                <a16:creationId xmlns:a16="http://schemas.microsoft.com/office/drawing/2014/main" id="{CACB352B-10DF-946A-50F4-4624D07A1975}"/>
              </a:ext>
            </a:extLst>
          </p:cNvPr>
          <p:cNvPicPr>
            <a:picLocks noGrp="1" noChangeAspect="1"/>
          </p:cNvPicPr>
          <p:nvPr>
            <p:ph sz="quarter" idx="14"/>
          </p:nvPr>
        </p:nvPicPr>
        <p:blipFill>
          <a:blip r:embed="rId2"/>
          <a:srcRect l="-1" r="50229"/>
          <a:stretch/>
        </p:blipFill>
        <p:spPr>
          <a:xfrm>
            <a:off x="0" y="112040"/>
            <a:ext cx="12192000" cy="6593560"/>
          </a:xfrm>
        </p:spPr>
      </p:pic>
    </p:spTree>
    <p:extLst>
      <p:ext uri="{BB962C8B-B14F-4D97-AF65-F5344CB8AC3E}">
        <p14:creationId xmlns:p14="http://schemas.microsoft.com/office/powerpoint/2010/main" val="344881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ABDCE6D-A5F8-D87A-A6C6-E639C5C47823}"/>
              </a:ext>
            </a:extLst>
          </p:cNvPr>
          <p:cNvSpPr>
            <a:spLocks noGrp="1"/>
          </p:cNvSpPr>
          <p:nvPr>
            <p:ph type="body" sz="quarter" idx="24"/>
          </p:nvPr>
        </p:nvSpPr>
        <p:spPr>
          <a:xfrm>
            <a:off x="1387877" y="1449710"/>
            <a:ext cx="4386622" cy="1080705"/>
          </a:xfrm>
        </p:spPr>
        <p:txBody>
          <a:bodyPr/>
          <a:lstStyle/>
          <a:p>
            <a:endParaRPr lang="en-GB" sz="1400" dirty="0"/>
          </a:p>
        </p:txBody>
      </p:sp>
      <p:pic>
        <p:nvPicPr>
          <p:cNvPr id="12" name="Picture Placeholder 11">
            <a:extLst>
              <a:ext uri="{FF2B5EF4-FFF2-40B4-BE49-F238E27FC236}">
                <a16:creationId xmlns:a16="http://schemas.microsoft.com/office/drawing/2014/main" id="{752F81F8-D7E6-8240-5281-A4C78E860597}"/>
              </a:ext>
            </a:extLst>
          </p:cNvPr>
          <p:cNvPicPr>
            <a:picLocks noGrp="1" noChangeAspect="1"/>
          </p:cNvPicPr>
          <p:nvPr>
            <p:ph type="pic" sz="quarter" idx="23"/>
          </p:nvPr>
        </p:nvPicPr>
        <p:blipFill>
          <a:blip r:embed="rId2">
            <a:extLst>
              <a:ext uri="{28A0092B-C50C-407E-A947-70E740481C1C}">
                <a14:useLocalDpi xmlns:a14="http://schemas.microsoft.com/office/drawing/2010/main" val="0"/>
              </a:ext>
            </a:extLst>
          </a:blip>
          <a:srcRect l="19436" r="19436"/>
          <a:stretch/>
        </p:blipFill>
        <p:spPr/>
      </p:pic>
      <p:sp>
        <p:nvSpPr>
          <p:cNvPr id="9" name="Title 8">
            <a:extLst>
              <a:ext uri="{FF2B5EF4-FFF2-40B4-BE49-F238E27FC236}">
                <a16:creationId xmlns:a16="http://schemas.microsoft.com/office/drawing/2014/main" id="{9DA41E4B-391C-0D4F-7CF4-AF3DCAEC0A9D}"/>
              </a:ext>
            </a:extLst>
          </p:cNvPr>
          <p:cNvSpPr>
            <a:spLocks noGrp="1"/>
          </p:cNvSpPr>
          <p:nvPr>
            <p:ph type="title"/>
          </p:nvPr>
        </p:nvSpPr>
        <p:spPr/>
        <p:txBody>
          <a:bodyPr/>
          <a:lstStyle/>
          <a:p>
            <a:r>
              <a:rPr lang="es-AR" b="1" dirty="0"/>
              <a:t>Muchas gracias por su atención</a:t>
            </a:r>
            <a:br>
              <a:rPr lang="es-AR" dirty="0"/>
            </a:br>
            <a:r>
              <a:rPr lang="es-AR" dirty="0"/>
              <a:t>¿alguna pregunta?</a:t>
            </a:r>
            <a:endParaRPr lang="es-AR" b="1" dirty="0"/>
          </a:p>
        </p:txBody>
      </p:sp>
      <p:sp>
        <p:nvSpPr>
          <p:cNvPr id="8" name="Slide Number Placeholder 7">
            <a:extLst>
              <a:ext uri="{FF2B5EF4-FFF2-40B4-BE49-F238E27FC236}">
                <a16:creationId xmlns:a16="http://schemas.microsoft.com/office/drawing/2014/main" id="{B5063638-2271-D7D4-32A9-DC03CAEFD92E}"/>
              </a:ext>
            </a:extLst>
          </p:cNvPr>
          <p:cNvSpPr>
            <a:spLocks noGrp="1"/>
          </p:cNvSpPr>
          <p:nvPr>
            <p:ph type="sldNum" sz="quarter" idx="16"/>
          </p:nvPr>
        </p:nvSpPr>
        <p:spPr/>
        <p:txBody>
          <a:bodyPr/>
          <a:lstStyle/>
          <a:p>
            <a:fld id="{9A0F3412-00EB-454F-952B-1EB5D3D69307}" type="slidenum">
              <a:rPr lang="en-US" noProof="0" smtClean="0"/>
              <a:pPr/>
              <a:t>20</a:t>
            </a:fld>
            <a:endParaRPr lang="en-US" noProof="0" dirty="0"/>
          </a:p>
        </p:txBody>
      </p:sp>
    </p:spTree>
    <p:extLst>
      <p:ext uri="{BB962C8B-B14F-4D97-AF65-F5344CB8AC3E}">
        <p14:creationId xmlns:p14="http://schemas.microsoft.com/office/powerpoint/2010/main" val="11550321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AA04D8-9A60-12E1-3785-16A9DDDC09DD}"/>
              </a:ext>
            </a:extLst>
          </p:cNvPr>
          <p:cNvSpPr>
            <a:spLocks noGrp="1"/>
          </p:cNvSpPr>
          <p:nvPr>
            <p:ph type="body" sz="quarter" idx="3"/>
          </p:nvPr>
        </p:nvSpPr>
        <p:spPr/>
        <p:txBody>
          <a:bodyPr/>
          <a:lstStyle/>
          <a:p>
            <a:endParaRPr lang="en-GB"/>
          </a:p>
        </p:txBody>
      </p:sp>
      <p:pic>
        <p:nvPicPr>
          <p:cNvPr id="38" name="Picture 37">
            <a:extLst>
              <a:ext uri="{FF2B5EF4-FFF2-40B4-BE49-F238E27FC236}">
                <a16:creationId xmlns:a16="http://schemas.microsoft.com/office/drawing/2014/main" id="{BEE86D76-9731-19FA-3392-9BFDD2A68AA2}"/>
              </a:ext>
            </a:extLst>
          </p:cNvPr>
          <p:cNvPicPr>
            <a:picLocks noChangeAspect="1"/>
          </p:cNvPicPr>
          <p:nvPr/>
        </p:nvPicPr>
        <p:blipFill>
          <a:blip r:embed="rId2"/>
          <a:srcRect l="49882"/>
          <a:stretch/>
        </p:blipFill>
        <p:spPr>
          <a:xfrm>
            <a:off x="-1" y="0"/>
            <a:ext cx="12220753" cy="6858000"/>
          </a:xfrm>
          <a:prstGeom prst="rect">
            <a:avLst/>
          </a:prstGeom>
        </p:spPr>
      </p:pic>
    </p:spTree>
    <p:extLst>
      <p:ext uri="{BB962C8B-B14F-4D97-AF65-F5344CB8AC3E}">
        <p14:creationId xmlns:p14="http://schemas.microsoft.com/office/powerpoint/2010/main" val="21930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02570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9BF9D-61D3-4BF3-471E-6DAD7D19124D}"/>
              </a:ext>
            </a:extLst>
          </p:cNvPr>
          <p:cNvSpPr>
            <a:spLocks noGrp="1"/>
          </p:cNvSpPr>
          <p:nvPr>
            <p:ph type="title"/>
          </p:nvPr>
        </p:nvSpPr>
        <p:spPr/>
        <p:txBody>
          <a:bodyPr/>
          <a:lstStyle/>
          <a:p>
            <a:r>
              <a:rPr lang="en-GB" b="1" dirty="0"/>
              <a:t>Disclaimer</a:t>
            </a:r>
          </a:p>
        </p:txBody>
      </p:sp>
      <p:sp>
        <p:nvSpPr>
          <p:cNvPr id="3" name="Content Placeholder 2">
            <a:extLst>
              <a:ext uri="{FF2B5EF4-FFF2-40B4-BE49-F238E27FC236}">
                <a16:creationId xmlns:a16="http://schemas.microsoft.com/office/drawing/2014/main" id="{2F63A89D-EE22-780C-932C-730515022BE1}"/>
              </a:ext>
            </a:extLst>
          </p:cNvPr>
          <p:cNvSpPr>
            <a:spLocks noGrp="1"/>
          </p:cNvSpPr>
          <p:nvPr>
            <p:ph sz="quarter" idx="14"/>
          </p:nvPr>
        </p:nvSpPr>
        <p:spPr/>
        <p:txBody>
          <a:bodyPr/>
          <a:lstStyle/>
          <a:p>
            <a:pPr>
              <a:spcBef>
                <a:spcPct val="80000"/>
              </a:spcBef>
            </a:pPr>
            <a:r>
              <a:rPr lang="en-GB" dirty="0"/>
              <a:t>The information provided in this presentation does in no way whatsoever constitute legal, accounting, tax or other professional advice.</a:t>
            </a:r>
          </a:p>
          <a:p>
            <a:pPr>
              <a:spcBef>
                <a:spcPct val="80000"/>
              </a:spcBef>
            </a:pPr>
            <a:r>
              <a:rPr lang="en-GB" dirty="0"/>
              <a:t>While Hannover </a:t>
            </a:r>
            <a:r>
              <a:rPr lang="en-GB" dirty="0" err="1"/>
              <a:t>Rück</a:t>
            </a:r>
            <a:r>
              <a:rPr lang="en-GB" dirty="0"/>
              <a:t> SE has endeavoured to include in this presentation information it believes to be reliable, complete and up-to-date, the company does not make any representation or warranty, express or implied, as to the accuracy, completeness or updated status of such information.</a:t>
            </a:r>
          </a:p>
          <a:p>
            <a:pPr>
              <a:spcBef>
                <a:spcPct val="80000"/>
              </a:spcBef>
            </a:pPr>
            <a:r>
              <a:rPr lang="en-GB" dirty="0"/>
              <a:t>Therefore, in no case whatsoever will Hannover </a:t>
            </a:r>
            <a:r>
              <a:rPr lang="en-GB" dirty="0" err="1"/>
              <a:t>Rück</a:t>
            </a:r>
            <a:r>
              <a:rPr lang="en-GB" dirty="0"/>
              <a:t> SE and its affiliated companies or directors, officers or employees be liable to anyone for any decision made or action taken in conjunction with the information in this presentation or for any related damages.</a:t>
            </a:r>
          </a:p>
          <a:p>
            <a:pPr>
              <a:spcBef>
                <a:spcPct val="80000"/>
              </a:spcBef>
            </a:pPr>
            <a:r>
              <a:rPr lang="en-GB" dirty="0"/>
              <a:t>© Hannover </a:t>
            </a:r>
            <a:r>
              <a:rPr lang="en-GB" dirty="0" err="1"/>
              <a:t>Rück</a:t>
            </a:r>
            <a:r>
              <a:rPr lang="en-GB" dirty="0"/>
              <a:t> SE. All rights reserved. Rights of third parties that are used under a Creative Commons licence and are to be guaranteed accordingly remain unaffected and are not to be restricted in any way.</a:t>
            </a:r>
            <a:br>
              <a:rPr lang="en-GB" dirty="0"/>
            </a:br>
            <a:r>
              <a:rPr lang="en-GB" dirty="0"/>
              <a:t>Hannover Re is the registered service mark of Hannover </a:t>
            </a:r>
            <a:r>
              <a:rPr lang="en-GB" dirty="0" err="1"/>
              <a:t>Rück</a:t>
            </a:r>
            <a:r>
              <a:rPr lang="en-GB" dirty="0"/>
              <a:t> SE.</a:t>
            </a:r>
          </a:p>
          <a:p>
            <a:endParaRPr lang="en-GB" dirty="0"/>
          </a:p>
        </p:txBody>
      </p:sp>
      <p:sp>
        <p:nvSpPr>
          <p:cNvPr id="5" name="Slide Number Placeholder 4">
            <a:extLst>
              <a:ext uri="{FF2B5EF4-FFF2-40B4-BE49-F238E27FC236}">
                <a16:creationId xmlns:a16="http://schemas.microsoft.com/office/drawing/2014/main" id="{B4AF09DA-AEA7-1464-728E-BF32CEE29E0D}"/>
              </a:ext>
            </a:extLst>
          </p:cNvPr>
          <p:cNvSpPr>
            <a:spLocks noGrp="1"/>
          </p:cNvSpPr>
          <p:nvPr>
            <p:ph type="sldNum" sz="quarter" idx="16"/>
          </p:nvPr>
        </p:nvSpPr>
        <p:spPr/>
        <p:txBody>
          <a:bodyPr/>
          <a:lstStyle/>
          <a:p>
            <a:fld id="{9A0F3412-00EB-454F-952B-1EB5D3D69307}" type="slidenum">
              <a:rPr lang="en-US" noProof="0" smtClean="0"/>
              <a:pPr/>
              <a:t>23</a:t>
            </a:fld>
            <a:endParaRPr lang="en-US" noProof="0" dirty="0"/>
          </a:p>
        </p:txBody>
      </p:sp>
    </p:spTree>
    <p:extLst>
      <p:ext uri="{BB962C8B-B14F-4D97-AF65-F5344CB8AC3E}">
        <p14:creationId xmlns:p14="http://schemas.microsoft.com/office/powerpoint/2010/main" val="3080268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A6A7C423-4E43-FD6C-60C1-AB2A9371878B}"/>
              </a:ext>
            </a:extLst>
          </p:cNvPr>
          <p:cNvSpPr txBox="1"/>
          <p:nvPr>
            <p:custDataLst>
              <p:tags r:id="rId2"/>
            </p:custDataLst>
          </p:nvPr>
        </p:nvSpPr>
        <p:spPr>
          <a:xfrm>
            <a:off x="214382" y="212400"/>
            <a:ext cx="2472859" cy="1925597"/>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p>
            <a:pPr algn="l">
              <a:lnSpc>
                <a:spcPct val="89000"/>
              </a:lnSpc>
            </a:pPr>
            <a:r>
              <a:rPr lang="en-GB" sz="14500" b="0" spc="-500">
                <a:solidFill>
                  <a:schemeClr val="accent1"/>
                </a:solidFill>
              </a:rPr>
              <a:t>1</a:t>
            </a:r>
            <a:endParaRPr lang="en-GB" sz="14500" b="0" spc="-500" dirty="0">
              <a:solidFill>
                <a:schemeClr val="accent1"/>
              </a:solidFill>
            </a:endParaRPr>
          </a:p>
        </p:txBody>
      </p:sp>
      <p:sp>
        <p:nvSpPr>
          <p:cNvPr id="45" name="TextBox 44">
            <a:extLst>
              <a:ext uri="{FF2B5EF4-FFF2-40B4-BE49-F238E27FC236}">
                <a16:creationId xmlns:a16="http://schemas.microsoft.com/office/drawing/2014/main" id="{6B778EF7-E69E-C28E-FD2F-69E57A5CEB91}"/>
              </a:ext>
            </a:extLst>
          </p:cNvPr>
          <p:cNvSpPr txBox="1"/>
          <p:nvPr>
            <p:custDataLst>
              <p:tags r:id="rId3"/>
            </p:custDataLst>
          </p:nvPr>
        </p:nvSpPr>
        <p:spPr>
          <a:xfrm>
            <a:off x="3265200" y="1227600"/>
            <a:ext cx="5634000" cy="846000"/>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0" tIns="0" rIns="0" bIns="0" rtlCol="0" anchor="b">
            <a:noAutofit/>
          </a:bodyPr>
          <a:lstStyle/>
          <a:p>
            <a:pPr algn="l">
              <a:spcBef>
                <a:spcPct val="0"/>
              </a:spcBef>
              <a:spcAft>
                <a:spcPts val="0"/>
              </a:spcAft>
            </a:pPr>
            <a:r>
              <a:rPr lang="en-GB" sz="2600" dirty="0" err="1">
                <a:solidFill>
                  <a:schemeClr val="bg1"/>
                </a:solidFill>
              </a:rPr>
              <a:t>Comportamiento</a:t>
            </a:r>
            <a:r>
              <a:rPr lang="en-GB" sz="2600" dirty="0">
                <a:solidFill>
                  <a:schemeClr val="bg1"/>
                </a:solidFill>
              </a:rPr>
              <a:t> </a:t>
            </a:r>
            <a:br>
              <a:rPr lang="en-GB" sz="2600" dirty="0">
                <a:solidFill>
                  <a:schemeClr val="bg1"/>
                </a:solidFill>
              </a:rPr>
            </a:br>
            <a:r>
              <a:rPr lang="en-GB" sz="2600" dirty="0">
                <a:solidFill>
                  <a:schemeClr val="bg1"/>
                </a:solidFill>
              </a:rPr>
              <a:t>del </a:t>
            </a:r>
            <a:r>
              <a:rPr lang="en-GB" sz="2600" dirty="0" err="1">
                <a:solidFill>
                  <a:schemeClr val="bg1"/>
                </a:solidFill>
              </a:rPr>
              <a:t>cliente</a:t>
            </a:r>
            <a:endParaRPr lang="en-GB" sz="2600" dirty="0">
              <a:solidFill>
                <a:schemeClr val="bg1"/>
              </a:solidFill>
            </a:endParaRPr>
          </a:p>
        </p:txBody>
      </p:sp>
      <p:sp>
        <p:nvSpPr>
          <p:cNvPr id="4" name="Slide Number Placeholder 3">
            <a:extLst>
              <a:ext uri="{FF2B5EF4-FFF2-40B4-BE49-F238E27FC236}">
                <a16:creationId xmlns:a16="http://schemas.microsoft.com/office/drawing/2014/main" id="{8CC2CBA2-A60B-88D2-F44A-E81F4A63959A}"/>
              </a:ext>
            </a:extLst>
          </p:cNvPr>
          <p:cNvSpPr>
            <a:spLocks noGrp="1"/>
          </p:cNvSpPr>
          <p:nvPr>
            <p:ph type="sldNum" sz="quarter" idx="18"/>
          </p:nvPr>
        </p:nvSpPr>
        <p:spPr/>
        <p:txBody>
          <a:bodyPr/>
          <a:lstStyle/>
          <a:p>
            <a:fld id="{9A0F3412-00EB-454F-952B-1EB5D3D69307}" type="slidenum">
              <a:rPr lang="en-US" noProof="0" smtClean="0"/>
              <a:pPr/>
              <a:t>3</a:t>
            </a:fld>
            <a:endParaRPr lang="en-US" noProof="0" dirty="0"/>
          </a:p>
        </p:txBody>
      </p:sp>
      <p:sp>
        <p:nvSpPr>
          <p:cNvPr id="42" name="Online Image Placeholder 41">
            <a:extLst>
              <a:ext uri="{FF2B5EF4-FFF2-40B4-BE49-F238E27FC236}">
                <a16:creationId xmlns:a16="http://schemas.microsoft.com/office/drawing/2014/main" id="{906175F5-E9E0-EB2C-23E4-5450F8C6A3FE}"/>
              </a:ext>
            </a:extLst>
          </p:cNvPr>
          <p:cNvSpPr>
            <a:spLocks noGrp="1"/>
          </p:cNvSpPr>
          <p:nvPr>
            <p:ph type="clipArt" sz="quarter" idx="20"/>
          </p:nvPr>
        </p:nvSpPr>
        <p:spPr/>
        <p:txBody>
          <a:bodyPr/>
          <a:lstStyle/>
          <a:p>
            <a:endParaRPr lang="en-GB"/>
          </a:p>
        </p:txBody>
      </p:sp>
      <p:sp>
        <p:nvSpPr>
          <p:cNvPr id="43" name="Online Image Placeholder 42">
            <a:extLst>
              <a:ext uri="{FF2B5EF4-FFF2-40B4-BE49-F238E27FC236}">
                <a16:creationId xmlns:a16="http://schemas.microsoft.com/office/drawing/2014/main" id="{EF467093-FAE2-C7B6-22C7-1738E9DDBFAB}"/>
              </a:ext>
            </a:extLst>
          </p:cNvPr>
          <p:cNvSpPr>
            <a:spLocks noGrp="1"/>
          </p:cNvSpPr>
          <p:nvPr>
            <p:ph type="clipArt" sz="quarter" idx="21"/>
          </p:nvPr>
        </p:nvSpPr>
        <p:spPr/>
        <p:txBody>
          <a:bodyPr/>
          <a:lstStyle/>
          <a:p>
            <a:endParaRPr lang="en-GB"/>
          </a:p>
        </p:txBody>
      </p:sp>
      <p:pic>
        <p:nvPicPr>
          <p:cNvPr id="47" name="Picture 46">
            <a:extLst>
              <a:ext uri="{FF2B5EF4-FFF2-40B4-BE49-F238E27FC236}">
                <a16:creationId xmlns:a16="http://schemas.microsoft.com/office/drawing/2014/main" id="{61E6517C-FD58-F866-DBD0-8963FCAE230F}"/>
              </a:ext>
            </a:extLst>
          </p:cNvPr>
          <p:cNvPicPr>
            <a:picLocks noChangeAspect="1"/>
          </p:cNvPicPr>
          <p:nvPr/>
        </p:nvPicPr>
        <p:blipFill>
          <a:blip r:embed="rId5"/>
          <a:stretch>
            <a:fillRect/>
          </a:stretch>
        </p:blipFill>
        <p:spPr>
          <a:xfrm>
            <a:off x="8105335" y="0"/>
            <a:ext cx="4078224" cy="6858000"/>
          </a:xfrm>
          <a:prstGeom prst="rect">
            <a:avLst/>
          </a:prstGeom>
        </p:spPr>
      </p:pic>
    </p:spTree>
    <p:custDataLst>
      <p:tags r:id="rId1"/>
    </p:custDataLst>
    <p:extLst>
      <p:ext uri="{BB962C8B-B14F-4D97-AF65-F5344CB8AC3E}">
        <p14:creationId xmlns:p14="http://schemas.microsoft.com/office/powerpoint/2010/main" val="42445174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96549-B52B-75A2-0FC6-9412026B6E8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846366E-471E-EFCB-8A36-C48E4CC29879}"/>
              </a:ext>
            </a:extLst>
          </p:cNvPr>
          <p:cNvSpPr>
            <a:spLocks noGrp="1"/>
          </p:cNvSpPr>
          <p:nvPr>
            <p:ph type="title"/>
          </p:nvPr>
        </p:nvSpPr>
        <p:spPr/>
        <p:txBody>
          <a:bodyPr/>
          <a:lstStyle/>
          <a:p>
            <a:r>
              <a:rPr lang="es-ES" b="1" dirty="0"/>
              <a:t>La potencia de la Inteligencia Artificial</a:t>
            </a:r>
            <a:br>
              <a:rPr lang="es-ES" dirty="0"/>
            </a:br>
            <a:r>
              <a:rPr lang="es-ES" dirty="0"/>
              <a:t>Va a impactar nuestra industria de seguros</a:t>
            </a:r>
          </a:p>
        </p:txBody>
      </p:sp>
      <p:sp>
        <p:nvSpPr>
          <p:cNvPr id="3" name="Slide Number Placeholder 2">
            <a:extLst>
              <a:ext uri="{FF2B5EF4-FFF2-40B4-BE49-F238E27FC236}">
                <a16:creationId xmlns:a16="http://schemas.microsoft.com/office/drawing/2014/main" id="{CFC07B31-DFD7-D3EE-3304-8B4667DF52E5}"/>
              </a:ext>
            </a:extLst>
          </p:cNvPr>
          <p:cNvSpPr>
            <a:spLocks noGrp="1"/>
          </p:cNvSpPr>
          <p:nvPr>
            <p:ph type="sldNum" sz="quarter" idx="11"/>
          </p:nvPr>
        </p:nvSpPr>
        <p:spPr/>
        <p:txBody>
          <a:bodyPr/>
          <a:lstStyle/>
          <a:p>
            <a:pPr defTabSz="914377"/>
            <a:fld id="{9A0F3412-00EB-454F-952B-1EB5D3D69307}" type="slidenum">
              <a:rPr lang="en-US">
                <a:solidFill>
                  <a:srgbClr val="003C70"/>
                </a:solidFill>
                <a:latin typeface="Archivo"/>
              </a:rPr>
              <a:pPr defTabSz="914377"/>
              <a:t>4</a:t>
            </a:fld>
            <a:endParaRPr lang="en-US" dirty="0">
              <a:solidFill>
                <a:srgbClr val="003C70"/>
              </a:solidFill>
              <a:latin typeface="Archivo"/>
            </a:endParaRPr>
          </a:p>
        </p:txBody>
      </p:sp>
      <p:grpSp>
        <p:nvGrpSpPr>
          <p:cNvPr id="2" name="Group 1">
            <a:extLst>
              <a:ext uri="{FF2B5EF4-FFF2-40B4-BE49-F238E27FC236}">
                <a16:creationId xmlns:a16="http://schemas.microsoft.com/office/drawing/2014/main" id="{576F4A70-05BE-7BAA-63A0-A25A7E1F4CD7}"/>
              </a:ext>
            </a:extLst>
          </p:cNvPr>
          <p:cNvGrpSpPr/>
          <p:nvPr/>
        </p:nvGrpSpPr>
        <p:grpSpPr>
          <a:xfrm>
            <a:off x="6032672" y="1462010"/>
            <a:ext cx="5711952" cy="4435258"/>
            <a:chOff x="3828288" y="1267072"/>
            <a:chExt cx="5711952" cy="4435258"/>
          </a:xfrm>
        </p:grpSpPr>
        <p:sp>
          <p:nvSpPr>
            <p:cNvPr id="6" name="TextBox 5">
              <a:extLst>
                <a:ext uri="{FF2B5EF4-FFF2-40B4-BE49-F238E27FC236}">
                  <a16:creationId xmlns:a16="http://schemas.microsoft.com/office/drawing/2014/main" id="{3DB56725-7C6C-42B1-1714-3D3253F4EEFE}"/>
                </a:ext>
              </a:extLst>
            </p:cNvPr>
            <p:cNvSpPr txBox="1"/>
            <p:nvPr/>
          </p:nvSpPr>
          <p:spPr>
            <a:xfrm>
              <a:off x="4252760" y="4809014"/>
              <a:ext cx="5287480" cy="893316"/>
            </a:xfrm>
            <a:prstGeom prst="rect">
              <a:avLst/>
            </a:prstGeom>
            <a:noFill/>
          </p:spPr>
          <p:txBody>
            <a:bodyPr wrap="square" lIns="234000" tIns="234000" rIns="0" bIns="0" rtlCol="0">
              <a:noAutofit/>
            </a:bodyPr>
            <a:lstStyle/>
            <a:p>
              <a:pPr lvl="5" algn="l"/>
              <a:r>
                <a:rPr lang="es-ES" b="0" dirty="0"/>
                <a:t>Andrew Ng, cofundador Google </a:t>
              </a:r>
              <a:r>
                <a:rPr lang="es-ES" b="0" dirty="0" err="1"/>
                <a:t>Brain</a:t>
              </a:r>
              <a:endParaRPr lang="es-ES" b="0" dirty="0"/>
            </a:p>
            <a:p>
              <a:pPr lvl="5" algn="l"/>
              <a:endParaRPr lang="es-ES" b="0" dirty="0"/>
            </a:p>
          </p:txBody>
        </p:sp>
        <p:grpSp>
          <p:nvGrpSpPr>
            <p:cNvPr id="9" name="Group 8">
              <a:extLst>
                <a:ext uri="{FF2B5EF4-FFF2-40B4-BE49-F238E27FC236}">
                  <a16:creationId xmlns:a16="http://schemas.microsoft.com/office/drawing/2014/main" id="{7A4A7238-A9B0-C205-27C5-84DFC5DA9406}"/>
                </a:ext>
              </a:extLst>
            </p:cNvPr>
            <p:cNvGrpSpPr/>
            <p:nvPr/>
          </p:nvGrpSpPr>
          <p:grpSpPr>
            <a:xfrm>
              <a:off x="3828288" y="1267072"/>
              <a:ext cx="5711952" cy="4284217"/>
              <a:chOff x="10766420" y="1265683"/>
              <a:chExt cx="5711952" cy="4284217"/>
            </a:xfrm>
          </p:grpSpPr>
          <p:sp>
            <p:nvSpPr>
              <p:cNvPr id="11" name="Freeform: Shape 10">
                <a:extLst>
                  <a:ext uri="{FF2B5EF4-FFF2-40B4-BE49-F238E27FC236}">
                    <a16:creationId xmlns:a16="http://schemas.microsoft.com/office/drawing/2014/main" id="{46681ACA-D1B2-31C2-42A4-768FA9749F49}"/>
                  </a:ext>
                </a:extLst>
              </p:cNvPr>
              <p:cNvSpPr/>
              <p:nvPr/>
            </p:nvSpPr>
            <p:spPr>
              <a:xfrm>
                <a:off x="10766420" y="1265683"/>
                <a:ext cx="5711952" cy="3543300"/>
              </a:xfrm>
              <a:custGeom>
                <a:avLst/>
                <a:gdLst>
                  <a:gd name="connsiteX0" fmla="*/ 0 w 5711952"/>
                  <a:gd name="connsiteY0" fmla="*/ 461772 h 3543300"/>
                  <a:gd name="connsiteX1" fmla="*/ 461772 w 5711952"/>
                  <a:gd name="connsiteY1" fmla="*/ 0 h 3543300"/>
                  <a:gd name="connsiteX2" fmla="*/ 5250181 w 5711952"/>
                  <a:gd name="connsiteY2" fmla="*/ 0 h 3543300"/>
                  <a:gd name="connsiteX3" fmla="*/ 5711952 w 5711952"/>
                  <a:gd name="connsiteY3" fmla="*/ 461772 h 3543300"/>
                  <a:gd name="connsiteX4" fmla="*/ 5711952 w 5711952"/>
                  <a:gd name="connsiteY4" fmla="*/ 3081528 h 3543300"/>
                  <a:gd name="connsiteX5" fmla="*/ 5250181 w 5711952"/>
                  <a:gd name="connsiteY5" fmla="*/ 3543300 h 3543300"/>
                  <a:gd name="connsiteX6" fmla="*/ 461772 w 5711952"/>
                  <a:gd name="connsiteY6" fmla="*/ 3543300 h 3543300"/>
                  <a:gd name="connsiteX7" fmla="*/ 0 w 5711952"/>
                  <a:gd name="connsiteY7" fmla="*/ 3081528 h 3543300"/>
                  <a:gd name="connsiteX8" fmla="*/ 0 w 5711952"/>
                  <a:gd name="connsiteY8" fmla="*/ 461772 h 354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1952" h="3543300">
                    <a:moveTo>
                      <a:pt x="0" y="461772"/>
                    </a:moveTo>
                    <a:cubicBezTo>
                      <a:pt x="0" y="206756"/>
                      <a:pt x="206756" y="0"/>
                      <a:pt x="461772" y="0"/>
                    </a:cubicBezTo>
                    <a:lnTo>
                      <a:pt x="5250181" y="0"/>
                    </a:lnTo>
                    <a:cubicBezTo>
                      <a:pt x="5505196" y="0"/>
                      <a:pt x="5711952" y="206756"/>
                      <a:pt x="5711952" y="461772"/>
                    </a:cubicBezTo>
                    <a:lnTo>
                      <a:pt x="5711952" y="3081528"/>
                    </a:lnTo>
                    <a:cubicBezTo>
                      <a:pt x="5711952" y="3336544"/>
                      <a:pt x="5505196" y="3543300"/>
                      <a:pt x="5250181" y="3543300"/>
                    </a:cubicBezTo>
                    <a:lnTo>
                      <a:pt x="461772" y="3543300"/>
                    </a:lnTo>
                    <a:cubicBezTo>
                      <a:pt x="206756" y="3543300"/>
                      <a:pt x="0" y="3336544"/>
                      <a:pt x="0" y="3081528"/>
                    </a:cubicBezTo>
                    <a:lnTo>
                      <a:pt x="0" y="461772"/>
                    </a:lnTo>
                    <a:close/>
                  </a:path>
                </a:pathLst>
              </a:custGeom>
              <a:solidFill>
                <a:schemeClr val="accent1"/>
              </a:solidFill>
              <a:ln w="12700" cap="flat">
                <a:noFill/>
                <a:prstDash val="solid"/>
                <a:miter/>
              </a:ln>
            </p:spPr>
            <p:txBody>
              <a:bodyPr lIns="1134000" tIns="540000" rIns="144000" bIns="540000" rtlCol="0" anchor="t" anchorCtr="0"/>
              <a:lstStyle/>
              <a:p>
                <a:pPr lvl="5" algn="l"/>
                <a:r>
                  <a:rPr lang="es-ES" sz="2400" b="0" dirty="0">
                    <a:solidFill>
                      <a:schemeClr val="bg1"/>
                    </a:solidFill>
                  </a:rPr>
                  <a:t>Así como la electricidad transformó casi todo hace 100 años, hoy en día, en realidad, me cuesta mucho pensar en una industria que la IA no transforme en los próximos años</a:t>
                </a:r>
                <a:endParaRPr lang="en-GB" sz="2400" b="0" dirty="0">
                  <a:solidFill>
                    <a:schemeClr val="bg1"/>
                  </a:solidFill>
                </a:endParaRPr>
              </a:p>
            </p:txBody>
          </p:sp>
          <p:sp>
            <p:nvSpPr>
              <p:cNvPr id="12" name="Freeform: Shape 11">
                <a:extLst>
                  <a:ext uri="{FF2B5EF4-FFF2-40B4-BE49-F238E27FC236}">
                    <a16:creationId xmlns:a16="http://schemas.microsoft.com/office/drawing/2014/main" id="{4EF99A9B-7029-AE17-19C7-0CD2FD212C4F}"/>
                  </a:ext>
                </a:extLst>
              </p:cNvPr>
              <p:cNvSpPr/>
              <p:nvPr/>
            </p:nvSpPr>
            <p:spPr>
              <a:xfrm>
                <a:off x="11159866" y="4379468"/>
                <a:ext cx="4707368" cy="1170432"/>
              </a:xfrm>
              <a:custGeom>
                <a:avLst/>
                <a:gdLst>
                  <a:gd name="connsiteX0" fmla="*/ 25400 w 4707368"/>
                  <a:gd name="connsiteY0" fmla="*/ 1170432 h 1170432"/>
                  <a:gd name="connsiteX1" fmla="*/ 0 w 4707368"/>
                  <a:gd name="connsiteY1" fmla="*/ 1170432 h 1170432"/>
                  <a:gd name="connsiteX2" fmla="*/ 0 w 4707368"/>
                  <a:gd name="connsiteY2" fmla="*/ 491998 h 1170432"/>
                  <a:gd name="connsiteX3" fmla="*/ 491998 w 4707368"/>
                  <a:gd name="connsiteY3" fmla="*/ 0 h 1170432"/>
                  <a:gd name="connsiteX4" fmla="*/ 4707369 w 4707368"/>
                  <a:gd name="connsiteY4" fmla="*/ 0 h 1170432"/>
                  <a:gd name="connsiteX5" fmla="*/ 4707369 w 4707368"/>
                  <a:gd name="connsiteY5" fmla="*/ 25400 h 1170432"/>
                  <a:gd name="connsiteX6" fmla="*/ 491998 w 4707368"/>
                  <a:gd name="connsiteY6" fmla="*/ 25400 h 1170432"/>
                  <a:gd name="connsiteX7" fmla="*/ 25400 w 4707368"/>
                  <a:gd name="connsiteY7" fmla="*/ 491998 h 1170432"/>
                  <a:gd name="connsiteX8" fmla="*/ 25400 w 4707368"/>
                  <a:gd name="connsiteY8" fmla="*/ 1170432 h 117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7368" h="1170432">
                    <a:moveTo>
                      <a:pt x="25400" y="1170432"/>
                    </a:moveTo>
                    <a:lnTo>
                      <a:pt x="0" y="1170432"/>
                    </a:lnTo>
                    <a:lnTo>
                      <a:pt x="0" y="491998"/>
                    </a:lnTo>
                    <a:cubicBezTo>
                      <a:pt x="0" y="220701"/>
                      <a:pt x="220713" y="0"/>
                      <a:pt x="491998" y="0"/>
                    </a:cubicBezTo>
                    <a:lnTo>
                      <a:pt x="4707369" y="0"/>
                    </a:lnTo>
                    <a:lnTo>
                      <a:pt x="4707369" y="25400"/>
                    </a:lnTo>
                    <a:lnTo>
                      <a:pt x="491998" y="25400"/>
                    </a:lnTo>
                    <a:cubicBezTo>
                      <a:pt x="234709" y="25400"/>
                      <a:pt x="25400" y="234721"/>
                      <a:pt x="25400" y="491998"/>
                    </a:cubicBezTo>
                    <a:lnTo>
                      <a:pt x="25400" y="1170432"/>
                    </a:lnTo>
                    <a:close/>
                  </a:path>
                </a:pathLst>
              </a:custGeom>
              <a:solidFill>
                <a:schemeClr val="tx2"/>
              </a:solidFill>
              <a:ln w="12700" cap="flat">
                <a:noFill/>
                <a:prstDash val="solid"/>
                <a:miter/>
              </a:ln>
            </p:spPr>
            <p:txBody>
              <a:bodyPr rtlCol="0" anchor="ctr"/>
              <a:lstStyle/>
              <a:p>
                <a:endParaRPr lang="en-GB" dirty="0"/>
              </a:p>
            </p:txBody>
          </p:sp>
          <p:sp>
            <p:nvSpPr>
              <p:cNvPr id="13" name="Freeform: Shape 12">
                <a:extLst>
                  <a:ext uri="{FF2B5EF4-FFF2-40B4-BE49-F238E27FC236}">
                    <a16:creationId xmlns:a16="http://schemas.microsoft.com/office/drawing/2014/main" id="{223FCECB-7B15-9B70-9676-0FFA11FF45CD}"/>
                  </a:ext>
                </a:extLst>
              </p:cNvPr>
              <p:cNvSpPr/>
              <p:nvPr/>
            </p:nvSpPr>
            <p:spPr>
              <a:xfrm>
                <a:off x="11190892" y="1780236"/>
                <a:ext cx="476884" cy="408762"/>
              </a:xfrm>
              <a:custGeom>
                <a:avLst/>
                <a:gdLst>
                  <a:gd name="connsiteX0" fmla="*/ 103721 w 476884"/>
                  <a:gd name="connsiteY0" fmla="*/ 0 h 408762"/>
                  <a:gd name="connsiteX1" fmla="*/ 254203 w 476884"/>
                  <a:gd name="connsiteY1" fmla="*/ 204381 h 408762"/>
                  <a:gd name="connsiteX2" fmla="*/ 103721 w 476884"/>
                  <a:gd name="connsiteY2" fmla="*/ 408762 h 408762"/>
                  <a:gd name="connsiteX3" fmla="*/ 0 w 476884"/>
                  <a:gd name="connsiteY3" fmla="*/ 408762 h 408762"/>
                  <a:gd name="connsiteX4" fmla="*/ 122022 w 476884"/>
                  <a:gd name="connsiteY4" fmla="*/ 204381 h 408762"/>
                  <a:gd name="connsiteX5" fmla="*/ 0 w 476884"/>
                  <a:gd name="connsiteY5" fmla="*/ 0 h 408762"/>
                  <a:gd name="connsiteX6" fmla="*/ 103721 w 476884"/>
                  <a:gd name="connsiteY6" fmla="*/ 0 h 408762"/>
                  <a:gd name="connsiteX7" fmla="*/ 327419 w 476884"/>
                  <a:gd name="connsiteY7" fmla="*/ 0 h 408762"/>
                  <a:gd name="connsiteX8" fmla="*/ 476885 w 476884"/>
                  <a:gd name="connsiteY8" fmla="*/ 204381 h 408762"/>
                  <a:gd name="connsiteX9" fmla="*/ 327419 w 476884"/>
                  <a:gd name="connsiteY9" fmla="*/ 408762 h 408762"/>
                  <a:gd name="connsiteX10" fmla="*/ 222682 w 476884"/>
                  <a:gd name="connsiteY10" fmla="*/ 408762 h 408762"/>
                  <a:gd name="connsiteX11" fmla="*/ 344703 w 476884"/>
                  <a:gd name="connsiteY11" fmla="*/ 204381 h 408762"/>
                  <a:gd name="connsiteX12" fmla="*/ 222682 w 476884"/>
                  <a:gd name="connsiteY12" fmla="*/ 0 h 408762"/>
                  <a:gd name="connsiteX13" fmla="*/ 327419 w 476884"/>
                  <a:gd name="connsiteY13" fmla="*/ 0 h 40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884" h="408762">
                    <a:moveTo>
                      <a:pt x="103721" y="0"/>
                    </a:moveTo>
                    <a:lnTo>
                      <a:pt x="254203" y="204381"/>
                    </a:lnTo>
                    <a:lnTo>
                      <a:pt x="103721" y="408762"/>
                    </a:lnTo>
                    <a:lnTo>
                      <a:pt x="0" y="408762"/>
                    </a:lnTo>
                    <a:lnTo>
                      <a:pt x="122022" y="204381"/>
                    </a:lnTo>
                    <a:lnTo>
                      <a:pt x="0" y="0"/>
                    </a:lnTo>
                    <a:lnTo>
                      <a:pt x="103721" y="0"/>
                    </a:lnTo>
                    <a:close/>
                    <a:moveTo>
                      <a:pt x="327419" y="0"/>
                    </a:moveTo>
                    <a:lnTo>
                      <a:pt x="476885" y="204381"/>
                    </a:lnTo>
                    <a:lnTo>
                      <a:pt x="327419" y="408762"/>
                    </a:lnTo>
                    <a:lnTo>
                      <a:pt x="222682" y="408762"/>
                    </a:lnTo>
                    <a:lnTo>
                      <a:pt x="344703" y="204381"/>
                    </a:lnTo>
                    <a:lnTo>
                      <a:pt x="222682" y="0"/>
                    </a:lnTo>
                    <a:lnTo>
                      <a:pt x="327419" y="0"/>
                    </a:lnTo>
                    <a:close/>
                  </a:path>
                </a:pathLst>
              </a:custGeom>
              <a:solidFill>
                <a:srgbClr val="FFFFFF"/>
              </a:solidFill>
              <a:ln w="12700" cap="flat">
                <a:noFill/>
                <a:prstDash val="solid"/>
                <a:miter/>
              </a:ln>
            </p:spPr>
            <p:txBody>
              <a:bodyPr rtlCol="0" anchor="ctr"/>
              <a:lstStyle/>
              <a:p>
                <a:endParaRPr lang="en-GB" dirty="0"/>
              </a:p>
            </p:txBody>
          </p:sp>
        </p:grpSp>
      </p:grpSp>
      <p:pic>
        <p:nvPicPr>
          <p:cNvPr id="25" name="Picture 24">
            <a:extLst>
              <a:ext uri="{FF2B5EF4-FFF2-40B4-BE49-F238E27FC236}">
                <a16:creationId xmlns:a16="http://schemas.microsoft.com/office/drawing/2014/main" id="{67DE5826-63BF-CB3A-3002-3B95659E0CEE}"/>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287337" y="1462010"/>
            <a:ext cx="5314950" cy="3543300"/>
          </a:xfrm>
          <a:prstGeom prst="rect">
            <a:avLst/>
          </a:prstGeom>
        </p:spPr>
      </p:pic>
      <p:sp>
        <p:nvSpPr>
          <p:cNvPr id="26" name="TextBox 25">
            <a:extLst>
              <a:ext uri="{FF2B5EF4-FFF2-40B4-BE49-F238E27FC236}">
                <a16:creationId xmlns:a16="http://schemas.microsoft.com/office/drawing/2014/main" id="{678866DF-6230-B3A9-BE4D-2537ABAE3FF8}"/>
              </a:ext>
            </a:extLst>
          </p:cNvPr>
          <p:cNvSpPr txBox="1"/>
          <p:nvPr/>
        </p:nvSpPr>
        <p:spPr>
          <a:xfrm>
            <a:off x="615845" y="6455921"/>
            <a:ext cx="10287000" cy="138499"/>
          </a:xfrm>
          <a:prstGeom prst="rect">
            <a:avLst/>
          </a:prstGeom>
          <a:noFill/>
        </p:spPr>
        <p:txBody>
          <a:bodyPr wrap="square" lIns="0" tIns="0" rIns="0" bIns="0" rtlCol="0">
            <a:spAutoFit/>
          </a:bodyPr>
          <a:lstStyle/>
          <a:p>
            <a:r>
              <a:rPr lang="en-GB" sz="900" b="0" dirty="0">
                <a:hlinkClick r:id="rId4" tooltip="https://medium.com/@andrewng/opening-a-new-chapter-of-my-work-in-ai-c6a4d1595d7b"/>
              </a:rPr>
              <a:t>This Photo</a:t>
            </a:r>
            <a:r>
              <a:rPr lang="en-GB" sz="900" b="0" dirty="0"/>
              <a:t> is licensed under </a:t>
            </a:r>
            <a:r>
              <a:rPr lang="en-GB" sz="900" b="0" dirty="0">
                <a:hlinkClick r:id="rId5" tooltip="https://creativecommons.org/licenses/by/3.0/"/>
              </a:rPr>
              <a:t>CC BY</a:t>
            </a:r>
            <a:endParaRPr lang="en-GB" sz="900" b="0" dirty="0"/>
          </a:p>
        </p:txBody>
      </p:sp>
    </p:spTree>
    <p:extLst>
      <p:ext uri="{BB962C8B-B14F-4D97-AF65-F5344CB8AC3E}">
        <p14:creationId xmlns:p14="http://schemas.microsoft.com/office/powerpoint/2010/main" val="2137044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3ECEEF-96B9-8EB2-5132-DB35BB30B409}"/>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9E650581-D6AD-D178-8191-39FCE675A664}"/>
              </a:ext>
            </a:extLst>
          </p:cNvPr>
          <p:cNvSpPr>
            <a:spLocks noGrp="1"/>
          </p:cNvSpPr>
          <p:nvPr>
            <p:ph type="title"/>
          </p:nvPr>
        </p:nvSpPr>
        <p:spPr/>
        <p:txBody>
          <a:bodyPr/>
          <a:lstStyle/>
          <a:p>
            <a:r>
              <a:rPr lang="es-ES" b="1" dirty="0"/>
              <a:t>¿Cómo pueden las aseguradoras crear valor utilizando la IA?</a:t>
            </a:r>
            <a:br>
              <a:rPr lang="es-ES" dirty="0"/>
            </a:br>
            <a:r>
              <a:rPr lang="es-ES" dirty="0"/>
              <a:t>La IA ya está en acción en los seguros de vida y salud</a:t>
            </a:r>
          </a:p>
        </p:txBody>
      </p:sp>
      <p:sp>
        <p:nvSpPr>
          <p:cNvPr id="6" name="Slide Number Placeholder 5">
            <a:extLst>
              <a:ext uri="{FF2B5EF4-FFF2-40B4-BE49-F238E27FC236}">
                <a16:creationId xmlns:a16="http://schemas.microsoft.com/office/drawing/2014/main" id="{AA7B2EBD-584D-054F-96B1-679DAA4B8599}"/>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fld id="{9A0F3412-00EB-454F-952B-1EB5D3D69307}" type="slidenum">
              <a:rPr kumimoji="0" lang="en-US" sz="900" b="0" i="0" u="none" strike="noStrike" kern="1200" cap="none" spc="0" normalizeH="0" baseline="0" noProof="0" smtClean="0">
                <a:ln>
                  <a:noFill/>
                </a:ln>
                <a:solidFill>
                  <a:srgbClr val="003C70"/>
                </a:solidFill>
                <a:effectLst/>
                <a:uLnTx/>
                <a:uFillTx/>
                <a:latin typeface="Archivo"/>
                <a:ea typeface="+mn-ea"/>
                <a:cs typeface="+mn-cs"/>
              </a:rPr>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t>5</a:t>
            </a:fld>
            <a:endParaRPr kumimoji="0" lang="en-US" sz="900" b="0" i="0" u="none" strike="noStrike" kern="1200" cap="none" spc="0" normalizeH="0" baseline="0" noProof="0" dirty="0">
              <a:ln>
                <a:noFill/>
              </a:ln>
              <a:solidFill>
                <a:srgbClr val="003C70"/>
              </a:solidFill>
              <a:effectLst/>
              <a:uLnTx/>
              <a:uFillTx/>
              <a:latin typeface="Archivo"/>
              <a:ea typeface="+mn-ea"/>
              <a:cs typeface="+mn-cs"/>
            </a:endParaRPr>
          </a:p>
        </p:txBody>
      </p:sp>
      <p:grpSp>
        <p:nvGrpSpPr>
          <p:cNvPr id="4" name="Group 3">
            <a:extLst>
              <a:ext uri="{FF2B5EF4-FFF2-40B4-BE49-F238E27FC236}">
                <a16:creationId xmlns:a16="http://schemas.microsoft.com/office/drawing/2014/main" id="{5C2138BC-7C0C-54EC-788C-802C3033D9E8}"/>
              </a:ext>
            </a:extLst>
          </p:cNvPr>
          <p:cNvGrpSpPr/>
          <p:nvPr/>
        </p:nvGrpSpPr>
        <p:grpSpPr>
          <a:xfrm>
            <a:off x="400050" y="1362076"/>
            <a:ext cx="11382375" cy="2090458"/>
            <a:chOff x="-84064" y="-1999415"/>
            <a:chExt cx="11590135" cy="1739778"/>
          </a:xfrm>
        </p:grpSpPr>
        <p:sp>
          <p:nvSpPr>
            <p:cNvPr id="8" name="Richtungspfeil 9">
              <a:extLst>
                <a:ext uri="{FF2B5EF4-FFF2-40B4-BE49-F238E27FC236}">
                  <a16:creationId xmlns:a16="http://schemas.microsoft.com/office/drawing/2014/main" id="{941E4067-ACD5-F7AE-50FD-0188233D2B14}"/>
                </a:ext>
              </a:extLst>
            </p:cNvPr>
            <p:cNvSpPr/>
            <p:nvPr/>
          </p:nvSpPr>
          <p:spPr bwMode="auto">
            <a:xfrm>
              <a:off x="349021" y="-1279903"/>
              <a:ext cx="2205456" cy="859235"/>
            </a:xfrm>
            <a:prstGeom prst="homePlate">
              <a:avLst>
                <a:gd name="adj" fmla="val 19447"/>
              </a:avLst>
            </a:prstGeom>
            <a:solidFill>
              <a:srgbClr val="003C70"/>
            </a:solidFill>
            <a:ln w="9525">
              <a:noFill/>
              <a:prstDash val="solid"/>
              <a:miter lim="800000"/>
              <a:headEnd/>
              <a:tailEnd/>
            </a:ln>
            <a:effectLst/>
          </p:spPr>
          <p:txBody>
            <a:bodyPr lIns="90021" tIns="46811" rIns="90021" bIns="46811" anchor="ctr"/>
            <a:lstStyle/>
            <a:p>
              <a:pPr marL="0" marR="0" lvl="0" indent="0" algn="ctr" defTabSz="914400" rtl="0" eaLnBrk="1" fontAlgn="base" latinLnBrk="0" hangingPunct="1">
                <a:lnSpc>
                  <a:spcPct val="116000"/>
                </a:lnSpc>
                <a:spcBef>
                  <a:spcPts val="0"/>
                </a:spcBef>
                <a:spcAft>
                  <a:spcPts val="800"/>
                </a:spcAft>
                <a:buClrTx/>
                <a:buSzTx/>
                <a:buFont typeface="Arial" panose="020B0604020202020204" pitchFamily="34" charset="0"/>
                <a:buNone/>
                <a:tabLst/>
                <a:defRPr/>
              </a:pPr>
              <a:r>
                <a:rPr kumimoji="0" lang="es-ES" sz="1600" b="1" i="0" u="none" strike="noStrike" kern="1200" cap="none" spc="0" normalizeH="0" baseline="0" dirty="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rPr>
                <a:t>Nuevos productos</a:t>
              </a:r>
              <a:endParaRPr kumimoji="0" lang="es-ES" sz="1600" b="1" i="0" u="none" strike="noStrike" kern="1200" cap="none" spc="0" normalizeH="0" baseline="0" dirty="0">
                <a:ln>
                  <a:noFill/>
                </a:ln>
                <a:solidFill>
                  <a:srgbClr val="003C70"/>
                </a:solidFill>
                <a:effectLst/>
                <a:uLnTx/>
                <a:uFillTx/>
                <a:latin typeface="Aptos" panose="020B0004020202020204" pitchFamily="34" charset="0"/>
                <a:ea typeface="Times New Roman" panose="02020603050405020304" pitchFamily="18" charset="0"/>
                <a:cs typeface="Times New Roman" panose="02020603050405020304" pitchFamily="18" charset="0"/>
              </a:endParaRPr>
            </a:p>
          </p:txBody>
        </p:sp>
        <p:sp>
          <p:nvSpPr>
            <p:cNvPr id="11" name="Eingekerbter Richtungspfeil 10">
              <a:extLst>
                <a:ext uri="{FF2B5EF4-FFF2-40B4-BE49-F238E27FC236}">
                  <a16:creationId xmlns:a16="http://schemas.microsoft.com/office/drawing/2014/main" id="{3512F019-F584-37BC-5DED-D69273E5F780}"/>
                </a:ext>
              </a:extLst>
            </p:cNvPr>
            <p:cNvSpPr/>
            <p:nvPr/>
          </p:nvSpPr>
          <p:spPr bwMode="auto">
            <a:xfrm>
              <a:off x="9088179" y="-1279903"/>
              <a:ext cx="2195187" cy="859235"/>
            </a:xfrm>
            <a:prstGeom prst="chevron">
              <a:avLst>
                <a:gd name="adj" fmla="val 19447"/>
              </a:avLst>
            </a:prstGeom>
            <a:solidFill>
              <a:srgbClr val="5FA04D"/>
            </a:solidFill>
            <a:ln w="9525">
              <a:noFill/>
              <a:prstDash val="solid"/>
              <a:miter lim="800000"/>
              <a:headEnd/>
              <a:tailEnd/>
            </a:ln>
            <a:effectLst/>
          </p:spPr>
          <p:txBody>
            <a:bodyPr anchor="ctr"/>
            <a:lstStyle/>
            <a:p>
              <a:pPr marL="0" marR="0" lvl="0" indent="0" algn="ctr" defTabSz="914400" rtl="0" eaLnBrk="1" fontAlgn="base" latinLnBrk="0" hangingPunct="1">
                <a:lnSpc>
                  <a:spcPct val="116000"/>
                </a:lnSpc>
                <a:spcBef>
                  <a:spcPts val="0"/>
                </a:spcBef>
                <a:spcAft>
                  <a:spcPts val="800"/>
                </a:spcAft>
                <a:buClrTx/>
                <a:buSzTx/>
                <a:buFont typeface="Arial" panose="020B0604020202020204" pitchFamily="34" charset="0"/>
                <a:buNone/>
                <a:tabLst/>
                <a:defRPr/>
              </a:pPr>
              <a:r>
                <a:rPr kumimoji="0" lang="es-ES" sz="1600" b="1" i="0" u="none" strike="noStrike" kern="1200" cap="none" spc="0" normalizeH="0" baseline="0" dirty="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rPr>
                <a:t>Reclamaciones</a:t>
              </a:r>
              <a:endParaRPr kumimoji="0" lang="es-ES" sz="1600" b="1" i="0" u="none" strike="noStrike" kern="1200" cap="none" spc="0" normalizeH="0" baseline="0" dirty="0">
                <a:ln>
                  <a:noFill/>
                </a:ln>
                <a:solidFill>
                  <a:srgbClr val="003C70"/>
                </a:solidFill>
                <a:effectLst/>
                <a:uLnTx/>
                <a:uFillTx/>
                <a:latin typeface="Aptos" panose="020B0004020202020204" pitchFamily="34" charset="0"/>
                <a:ea typeface="Times New Roman" panose="02020603050405020304" pitchFamily="18" charset="0"/>
                <a:cs typeface="Times New Roman" panose="02020603050405020304" pitchFamily="18" charset="0"/>
              </a:endParaRPr>
            </a:p>
          </p:txBody>
        </p:sp>
        <p:sp>
          <p:nvSpPr>
            <p:cNvPr id="12" name="Eingekerbter Richtungspfeil 11">
              <a:extLst>
                <a:ext uri="{FF2B5EF4-FFF2-40B4-BE49-F238E27FC236}">
                  <a16:creationId xmlns:a16="http://schemas.microsoft.com/office/drawing/2014/main" id="{512619BF-4264-D010-00D2-897600B76C77}"/>
                </a:ext>
              </a:extLst>
            </p:cNvPr>
            <p:cNvSpPr/>
            <p:nvPr/>
          </p:nvSpPr>
          <p:spPr bwMode="auto">
            <a:xfrm>
              <a:off x="4719414" y="-1279903"/>
              <a:ext cx="2203832" cy="859235"/>
            </a:xfrm>
            <a:prstGeom prst="chevron">
              <a:avLst>
                <a:gd name="adj" fmla="val 19447"/>
              </a:avLst>
            </a:prstGeom>
            <a:solidFill>
              <a:srgbClr val="0077D4"/>
            </a:solidFill>
            <a:ln w="9525">
              <a:noFill/>
              <a:prstDash val="solid"/>
              <a:miter lim="800000"/>
              <a:headEnd/>
              <a:tailEnd/>
            </a:ln>
            <a:effectLst/>
          </p:spPr>
          <p:txBody>
            <a:bodyPr anchor="ctr"/>
            <a:lstStyle/>
            <a:p>
              <a:pPr marL="0" marR="0" lvl="0" indent="0" algn="ctr" defTabSz="914400" rtl="0" eaLnBrk="1" fontAlgn="auto" latinLnBrk="0" hangingPunct="1">
                <a:lnSpc>
                  <a:spcPct val="116000"/>
                </a:lnSpc>
                <a:spcBef>
                  <a:spcPts val="0"/>
                </a:spcBef>
                <a:spcAft>
                  <a:spcPts val="800"/>
                </a:spcAft>
                <a:buClrTx/>
                <a:buSzTx/>
                <a:buFont typeface="Arial" panose="020B0604020202020204" pitchFamily="34" charset="0"/>
                <a:buNone/>
                <a:tabLst/>
                <a:defRPr/>
              </a:pPr>
              <a:r>
                <a:rPr kumimoji="0" lang="es-ES" sz="1600" b="1" i="0" u="none" strike="noStrike" kern="1200" cap="none" spc="0" normalizeH="0" baseline="0" dirty="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rPr>
                <a:t>Evaluación </a:t>
              </a:r>
              <a:br>
                <a:rPr kumimoji="0" lang="es-ES" sz="1600" b="1" i="0" u="none" strike="noStrike" kern="1200" cap="none" spc="0" normalizeH="0" baseline="0" dirty="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s-ES" sz="1600" b="1" i="0" u="none" strike="noStrike" kern="1200" cap="none" spc="0" normalizeH="0" baseline="0" dirty="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rPr>
                <a:t>de riesgos</a:t>
              </a:r>
              <a:endParaRPr kumimoji="0" lang="es-ES" sz="1600" b="1" i="0" u="none" strike="noStrike" kern="1200" cap="none" spc="0" normalizeH="0" baseline="0" dirty="0">
                <a:ln>
                  <a:noFill/>
                </a:ln>
                <a:solidFill>
                  <a:srgbClr val="003C70"/>
                </a:solidFill>
                <a:effectLst/>
                <a:uLnTx/>
                <a:uFillTx/>
                <a:latin typeface="Aptos" panose="020B0004020202020204" pitchFamily="34" charset="0"/>
                <a:ea typeface="Times New Roman" panose="02020603050405020304" pitchFamily="18" charset="0"/>
                <a:cs typeface="Times New Roman" panose="02020603050405020304" pitchFamily="18" charset="0"/>
              </a:endParaRPr>
            </a:p>
          </p:txBody>
        </p:sp>
        <p:sp>
          <p:nvSpPr>
            <p:cNvPr id="13" name="Eingekerbter Richtungspfeil 12">
              <a:extLst>
                <a:ext uri="{FF2B5EF4-FFF2-40B4-BE49-F238E27FC236}">
                  <a16:creationId xmlns:a16="http://schemas.microsoft.com/office/drawing/2014/main" id="{6350D230-DB0E-DDE2-8A47-1AF65684CB76}"/>
                </a:ext>
              </a:extLst>
            </p:cNvPr>
            <p:cNvSpPr/>
            <p:nvPr/>
          </p:nvSpPr>
          <p:spPr bwMode="auto">
            <a:xfrm>
              <a:off x="2534219" y="-1279903"/>
              <a:ext cx="2205454" cy="859235"/>
            </a:xfrm>
            <a:prstGeom prst="chevron">
              <a:avLst>
                <a:gd name="adj" fmla="val 19447"/>
              </a:avLst>
            </a:prstGeom>
            <a:gradFill>
              <a:gsLst>
                <a:gs pos="37000">
                  <a:srgbClr val="003C70"/>
                </a:gs>
                <a:gs pos="100000">
                  <a:srgbClr val="0077D4"/>
                </a:gs>
              </a:gsLst>
              <a:lin ang="0" scaled="1"/>
            </a:gradFill>
            <a:ln w="9525">
              <a:noFill/>
              <a:prstDash val="solid"/>
              <a:miter lim="800000"/>
              <a:headEnd/>
              <a:tailEnd/>
            </a:ln>
            <a:effectLst/>
          </p:spPr>
          <p:txBody>
            <a:bodyPr anchor="ctr"/>
            <a:lstStyle/>
            <a:p>
              <a:pPr marL="0" marR="0" lvl="0" indent="0" algn="ctr" defTabSz="914400" rtl="0" eaLnBrk="1" fontAlgn="base" latinLnBrk="0" hangingPunct="1">
                <a:lnSpc>
                  <a:spcPct val="116000"/>
                </a:lnSpc>
                <a:spcBef>
                  <a:spcPts val="0"/>
                </a:spcBef>
                <a:spcAft>
                  <a:spcPts val="800"/>
                </a:spcAft>
                <a:buClrTx/>
                <a:buSzTx/>
                <a:buFont typeface="Arial" panose="020B0604020202020204" pitchFamily="34" charset="0"/>
                <a:buNone/>
                <a:tabLst/>
                <a:defRPr/>
              </a:pPr>
              <a:r>
                <a:rPr kumimoji="0" lang="es-ES" sz="1600" b="1" i="0" u="none" strike="noStrike" kern="1200" cap="none" spc="0" normalizeH="0" baseline="0" dirty="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rPr>
                <a:t>Distribución </a:t>
              </a:r>
              <a:endParaRPr kumimoji="0" lang="es-ES" sz="1600" b="1" i="0" u="none" strike="noStrike" kern="1200" cap="none" spc="0" normalizeH="0" baseline="0" dirty="0">
                <a:ln>
                  <a:noFill/>
                </a:ln>
                <a:solidFill>
                  <a:srgbClr val="003C70"/>
                </a:solidFill>
                <a:effectLst/>
                <a:uLnTx/>
                <a:uFillTx/>
                <a:latin typeface="Aptos" panose="020B0004020202020204" pitchFamily="34" charset="0"/>
                <a:ea typeface="Times New Roman" panose="02020603050405020304" pitchFamily="18" charset="0"/>
                <a:cs typeface="Times New Roman" panose="02020603050405020304" pitchFamily="18" charset="0"/>
              </a:endParaRPr>
            </a:p>
          </p:txBody>
        </p:sp>
        <p:grpSp>
          <p:nvGrpSpPr>
            <p:cNvPr id="14" name="Group 13">
              <a:extLst>
                <a:ext uri="{FF2B5EF4-FFF2-40B4-BE49-F238E27FC236}">
                  <a16:creationId xmlns:a16="http://schemas.microsoft.com/office/drawing/2014/main" id="{F16C2C4F-78C8-3975-5947-59DC3351098C}"/>
                </a:ext>
              </a:extLst>
            </p:cNvPr>
            <p:cNvGrpSpPr/>
            <p:nvPr/>
          </p:nvGrpSpPr>
          <p:grpSpPr>
            <a:xfrm>
              <a:off x="344830" y="-1999415"/>
              <a:ext cx="10938536" cy="432303"/>
              <a:chOff x="344830" y="-1999415"/>
              <a:chExt cx="10938536" cy="432303"/>
            </a:xfrm>
          </p:grpSpPr>
          <p:sp>
            <p:nvSpPr>
              <p:cNvPr id="112" name="Richtungspfeil 9">
                <a:extLst>
                  <a:ext uri="{FF2B5EF4-FFF2-40B4-BE49-F238E27FC236}">
                    <a16:creationId xmlns:a16="http://schemas.microsoft.com/office/drawing/2014/main" id="{D90BF23E-5E78-0EA9-EC38-6E5188DF8C78}"/>
                  </a:ext>
                </a:extLst>
              </p:cNvPr>
              <p:cNvSpPr/>
              <p:nvPr/>
            </p:nvSpPr>
            <p:spPr bwMode="auto">
              <a:xfrm>
                <a:off x="344830" y="-1999411"/>
                <a:ext cx="3419499" cy="432299"/>
              </a:xfrm>
              <a:prstGeom prst="homePlate">
                <a:avLst>
                  <a:gd name="adj" fmla="val 19447"/>
                </a:avLst>
              </a:prstGeom>
              <a:solidFill>
                <a:srgbClr val="003C70"/>
              </a:solidFill>
              <a:ln w="9525">
                <a:noFill/>
                <a:prstDash val="solid"/>
                <a:miter lim="800000"/>
                <a:headEnd/>
                <a:tailEnd/>
              </a:ln>
              <a:effectLst/>
            </p:spPr>
            <p:txBody>
              <a:bodyPr lIns="90021" tIns="46811" rIns="90021" bIns="46811" anchor="ctr"/>
              <a:lstStyle/>
              <a:p>
                <a:pPr marL="0" marR="0" lvl="0" indent="0" algn="ctr" defTabSz="914400" rtl="0" eaLnBrk="1" fontAlgn="base" latinLnBrk="0" hangingPunct="1">
                  <a:lnSpc>
                    <a:spcPct val="116000"/>
                  </a:lnSpc>
                  <a:spcBef>
                    <a:spcPts val="0"/>
                  </a:spcBef>
                  <a:spcAft>
                    <a:spcPts val="800"/>
                  </a:spcAft>
                  <a:buClrTx/>
                  <a:buSzTx/>
                  <a:buFont typeface="Arial" panose="020B0604020202020204" pitchFamily="34" charset="0"/>
                  <a:buNone/>
                  <a:tabLst/>
                  <a:defRPr/>
                </a:pPr>
                <a:r>
                  <a:rPr kumimoji="0" lang="es-ES" sz="1600" b="1" i="0" u="none" strike="noStrike" kern="1200" cap="none" spc="0" normalizeH="0" baseline="0" dirty="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rPr>
                  <a:t>Aplicación a la póliza</a:t>
                </a:r>
                <a:endParaRPr kumimoji="0" lang="es-ES" sz="1200" b="1" i="0" u="none" strike="noStrike" kern="1200" cap="none" spc="0" normalizeH="0" baseline="0" dirty="0">
                  <a:ln>
                    <a:noFill/>
                  </a:ln>
                  <a:solidFill>
                    <a:srgbClr val="003C70"/>
                  </a:solidFill>
                  <a:effectLst/>
                  <a:uLnTx/>
                  <a:uFillTx/>
                  <a:latin typeface="Aptos" panose="020B0004020202020204" pitchFamily="34" charset="0"/>
                  <a:ea typeface="Times New Roman" panose="02020603050405020304" pitchFamily="18" charset="0"/>
                  <a:cs typeface="Times New Roman" panose="02020603050405020304" pitchFamily="18" charset="0"/>
                </a:endParaRPr>
              </a:p>
            </p:txBody>
          </p:sp>
          <p:sp>
            <p:nvSpPr>
              <p:cNvPr id="113" name="Eingekerbter Richtungspfeil 10">
                <a:extLst>
                  <a:ext uri="{FF2B5EF4-FFF2-40B4-BE49-F238E27FC236}">
                    <a16:creationId xmlns:a16="http://schemas.microsoft.com/office/drawing/2014/main" id="{93A440E0-50A6-2F46-F378-C76D6F3D87AA}"/>
                  </a:ext>
                </a:extLst>
              </p:cNvPr>
              <p:cNvSpPr/>
              <p:nvPr/>
            </p:nvSpPr>
            <p:spPr bwMode="auto">
              <a:xfrm>
                <a:off x="7879789" y="-1999412"/>
                <a:ext cx="3403577" cy="432299"/>
              </a:xfrm>
              <a:prstGeom prst="chevron">
                <a:avLst>
                  <a:gd name="adj" fmla="val 19447"/>
                </a:avLst>
              </a:prstGeom>
              <a:solidFill>
                <a:srgbClr val="5FA04D"/>
              </a:solidFill>
              <a:ln w="9525">
                <a:noFill/>
                <a:prstDash val="solid"/>
                <a:miter lim="800000"/>
                <a:headEnd/>
                <a:tailEnd/>
              </a:ln>
              <a:effectLst/>
            </p:spPr>
            <p:txBody>
              <a:bodyPr anchor="ctr"/>
              <a:lstStyle/>
              <a:p>
                <a:pPr marL="0" marR="0" lvl="0" indent="0" algn="ctr" defTabSz="914400" rtl="0" eaLnBrk="1" fontAlgn="base" latinLnBrk="0" hangingPunct="1">
                  <a:lnSpc>
                    <a:spcPct val="116000"/>
                  </a:lnSpc>
                  <a:spcBef>
                    <a:spcPts val="0"/>
                  </a:spcBef>
                  <a:spcAft>
                    <a:spcPts val="800"/>
                  </a:spcAft>
                  <a:buClrTx/>
                  <a:buSzTx/>
                  <a:buFont typeface="Arial" panose="020B0604020202020204" pitchFamily="34" charset="0"/>
                  <a:buNone/>
                  <a:tabLst/>
                  <a:defRPr/>
                </a:pPr>
                <a:r>
                  <a:rPr kumimoji="0" lang="es-ES" sz="1600" b="1" i="0" u="none" strike="noStrike" kern="1200" cap="none" spc="0" normalizeH="0" baseline="0" dirty="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rPr>
                  <a:t>Reclamaciones</a:t>
                </a:r>
                <a:endParaRPr kumimoji="0" lang="es-ES" sz="1200" b="1" i="0" u="none" strike="noStrike" kern="1200" cap="none" spc="0" normalizeH="0" baseline="0" dirty="0">
                  <a:ln>
                    <a:noFill/>
                  </a:ln>
                  <a:solidFill>
                    <a:srgbClr val="003C70"/>
                  </a:solidFill>
                  <a:effectLst/>
                  <a:uLnTx/>
                  <a:uFillTx/>
                  <a:latin typeface="Aptos" panose="020B0004020202020204" pitchFamily="34" charset="0"/>
                  <a:ea typeface="Times New Roman" panose="02020603050405020304" pitchFamily="18" charset="0"/>
                  <a:cs typeface="Times New Roman" panose="02020603050405020304" pitchFamily="18" charset="0"/>
                </a:endParaRPr>
              </a:p>
            </p:txBody>
          </p:sp>
          <p:sp>
            <p:nvSpPr>
              <p:cNvPr id="114" name="Eingekerbter Richtungspfeil 12">
                <a:extLst>
                  <a:ext uri="{FF2B5EF4-FFF2-40B4-BE49-F238E27FC236}">
                    <a16:creationId xmlns:a16="http://schemas.microsoft.com/office/drawing/2014/main" id="{8502E4DD-CDB8-8307-11C3-CD55CDA58912}"/>
                  </a:ext>
                </a:extLst>
              </p:cNvPr>
              <p:cNvSpPr/>
              <p:nvPr/>
            </p:nvSpPr>
            <p:spPr bwMode="auto">
              <a:xfrm>
                <a:off x="4112309" y="-1999414"/>
                <a:ext cx="3419499" cy="432299"/>
              </a:xfrm>
              <a:prstGeom prst="chevron">
                <a:avLst>
                  <a:gd name="adj" fmla="val 19447"/>
                </a:avLst>
              </a:prstGeom>
              <a:solidFill>
                <a:srgbClr val="0077D4"/>
              </a:solidFill>
              <a:ln w="9525">
                <a:noFill/>
                <a:prstDash val="solid"/>
                <a:miter lim="800000"/>
                <a:headEnd/>
                <a:tailEnd/>
              </a:ln>
              <a:effectLst/>
            </p:spPr>
            <p:txBody>
              <a:bodyPr anchor="ctr"/>
              <a:lstStyle/>
              <a:p>
                <a:pPr marL="0" marR="0" lvl="0" indent="0" algn="ctr" defTabSz="914400" rtl="0" eaLnBrk="1" fontAlgn="base" latinLnBrk="0" hangingPunct="1">
                  <a:lnSpc>
                    <a:spcPct val="116000"/>
                  </a:lnSpc>
                  <a:spcBef>
                    <a:spcPts val="0"/>
                  </a:spcBef>
                  <a:spcAft>
                    <a:spcPts val="800"/>
                  </a:spcAft>
                  <a:buClrTx/>
                  <a:buSzTx/>
                  <a:buFont typeface="Arial" panose="020B0604020202020204" pitchFamily="34" charset="0"/>
                  <a:buNone/>
                  <a:tabLst/>
                  <a:defRPr/>
                </a:pPr>
                <a:r>
                  <a:rPr kumimoji="0" lang="es-ES" sz="1600" b="1" i="0" u="none" strike="noStrike" kern="1200" cap="none" spc="0" normalizeH="0" baseline="0" dirty="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rPr>
                  <a:t>Gestión de clientes</a:t>
                </a:r>
                <a:endParaRPr kumimoji="0" lang="es-ES" sz="1200" b="1" i="0" u="none" strike="noStrike" kern="1200" cap="none" spc="0" normalizeH="0" baseline="0" dirty="0">
                  <a:ln>
                    <a:noFill/>
                  </a:ln>
                  <a:solidFill>
                    <a:srgbClr val="003C70"/>
                  </a:solidFill>
                  <a:effectLst/>
                  <a:uLnTx/>
                  <a:uFillTx/>
                  <a:latin typeface="Aptos" panose="020B0004020202020204" pitchFamily="34" charset="0"/>
                  <a:ea typeface="Times New Roman" panose="02020603050405020304" pitchFamily="18" charset="0"/>
                  <a:cs typeface="Times New Roman" panose="02020603050405020304" pitchFamily="18" charset="0"/>
                </a:endParaRPr>
              </a:p>
            </p:txBody>
          </p:sp>
          <p:sp>
            <p:nvSpPr>
              <p:cNvPr id="115" name="Eingekerbter Richtungspfeil 12">
                <a:extLst>
                  <a:ext uri="{FF2B5EF4-FFF2-40B4-BE49-F238E27FC236}">
                    <a16:creationId xmlns:a16="http://schemas.microsoft.com/office/drawing/2014/main" id="{25FEFB0E-E6C1-3D1B-076C-B56AE9A96FAE}"/>
                  </a:ext>
                </a:extLst>
              </p:cNvPr>
              <p:cNvSpPr/>
              <p:nvPr/>
            </p:nvSpPr>
            <p:spPr bwMode="auto">
              <a:xfrm>
                <a:off x="3764327" y="-1999415"/>
                <a:ext cx="170889" cy="430351"/>
              </a:xfrm>
              <a:prstGeom prst="chevron">
                <a:avLst>
                  <a:gd name="adj" fmla="val 47123"/>
                </a:avLst>
              </a:prstGeom>
              <a:gradFill flip="none" rotWithShape="1">
                <a:gsLst>
                  <a:gs pos="30000">
                    <a:srgbClr val="003C70"/>
                  </a:gs>
                  <a:gs pos="100000">
                    <a:srgbClr val="0077D4"/>
                  </a:gs>
                </a:gsLst>
                <a:lin ang="0" scaled="1"/>
                <a:tileRect/>
              </a:gradFill>
              <a:ln w="9525">
                <a:noFill/>
                <a:prstDash val="solid"/>
                <a:miter lim="800000"/>
                <a:headEnd/>
                <a:tailEnd/>
              </a:ln>
              <a:effectLst/>
            </p:spPr>
            <p:txBody>
              <a:bodyPr anchor="ct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16" name="Eingekerbter Richtungspfeil 12">
                <a:extLst>
                  <a:ext uri="{FF2B5EF4-FFF2-40B4-BE49-F238E27FC236}">
                    <a16:creationId xmlns:a16="http://schemas.microsoft.com/office/drawing/2014/main" id="{46D261A0-1BCD-C481-0122-D4D4345BB305}"/>
                  </a:ext>
                </a:extLst>
              </p:cNvPr>
              <p:cNvSpPr/>
              <p:nvPr/>
            </p:nvSpPr>
            <p:spPr bwMode="auto">
              <a:xfrm>
                <a:off x="3936278" y="-1999415"/>
                <a:ext cx="170889" cy="430351"/>
              </a:xfrm>
              <a:prstGeom prst="chevron">
                <a:avLst>
                  <a:gd name="adj" fmla="val 47123"/>
                </a:avLst>
              </a:prstGeom>
              <a:gradFill flip="none" rotWithShape="1">
                <a:gsLst>
                  <a:gs pos="0">
                    <a:srgbClr val="003C70"/>
                  </a:gs>
                  <a:gs pos="50000">
                    <a:srgbClr val="0077D4"/>
                  </a:gs>
                </a:gsLst>
                <a:lin ang="0" scaled="1"/>
                <a:tileRect/>
              </a:gradFill>
              <a:ln w="9525">
                <a:noFill/>
                <a:prstDash val="solid"/>
                <a:miter lim="800000"/>
                <a:headEnd/>
                <a:tailEnd/>
              </a:ln>
              <a:effectLst/>
            </p:spPr>
            <p:txBody>
              <a:bodyPr anchor="ct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17" name="Eingekerbter Richtungspfeil 12">
                <a:extLst>
                  <a:ext uri="{FF2B5EF4-FFF2-40B4-BE49-F238E27FC236}">
                    <a16:creationId xmlns:a16="http://schemas.microsoft.com/office/drawing/2014/main" id="{83B6379D-9E9C-8507-C8C6-70F3AB075731}"/>
                  </a:ext>
                </a:extLst>
              </p:cNvPr>
              <p:cNvSpPr/>
              <p:nvPr/>
            </p:nvSpPr>
            <p:spPr bwMode="auto">
              <a:xfrm>
                <a:off x="7536947" y="-1999415"/>
                <a:ext cx="170889" cy="430351"/>
              </a:xfrm>
              <a:prstGeom prst="chevron">
                <a:avLst>
                  <a:gd name="adj" fmla="val 47123"/>
                </a:avLst>
              </a:prstGeom>
              <a:gradFill flip="none" rotWithShape="1">
                <a:gsLst>
                  <a:gs pos="35000">
                    <a:srgbClr val="0077D4"/>
                  </a:gs>
                  <a:gs pos="100000">
                    <a:srgbClr val="5FA04D"/>
                  </a:gs>
                </a:gsLst>
                <a:lin ang="0" scaled="1"/>
                <a:tileRect/>
              </a:gradFill>
              <a:ln w="9525">
                <a:noFill/>
                <a:prstDash val="solid"/>
                <a:miter lim="800000"/>
                <a:headEnd/>
                <a:tailEnd/>
              </a:ln>
              <a:effectLst/>
            </p:spPr>
            <p:txBody>
              <a:bodyPr anchor="ct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18" name="Eingekerbter Richtungspfeil 12">
                <a:extLst>
                  <a:ext uri="{FF2B5EF4-FFF2-40B4-BE49-F238E27FC236}">
                    <a16:creationId xmlns:a16="http://schemas.microsoft.com/office/drawing/2014/main" id="{7FACD35A-DB7F-CE00-B3A5-270317A778BD}"/>
                  </a:ext>
                </a:extLst>
              </p:cNvPr>
              <p:cNvSpPr/>
              <p:nvPr/>
            </p:nvSpPr>
            <p:spPr bwMode="auto">
              <a:xfrm>
                <a:off x="7708900" y="-1999415"/>
                <a:ext cx="170889" cy="430351"/>
              </a:xfrm>
              <a:prstGeom prst="chevron">
                <a:avLst>
                  <a:gd name="adj" fmla="val 47123"/>
                </a:avLst>
              </a:prstGeom>
              <a:gradFill flip="none" rotWithShape="1">
                <a:gsLst>
                  <a:gs pos="0">
                    <a:srgbClr val="0077D4"/>
                  </a:gs>
                  <a:gs pos="54000">
                    <a:srgbClr val="5FA04D"/>
                  </a:gs>
                </a:gsLst>
                <a:lin ang="0" scaled="1"/>
                <a:tileRect/>
              </a:gradFill>
              <a:ln w="9525">
                <a:noFill/>
                <a:prstDash val="solid"/>
                <a:miter lim="800000"/>
                <a:headEnd/>
                <a:tailEnd/>
              </a:ln>
              <a:effectLst/>
            </p:spPr>
            <p:txBody>
              <a:bodyPr anchor="ct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grpSp>
        <p:sp>
          <p:nvSpPr>
            <p:cNvPr id="15" name="Eingekerbter Richtungspfeil 12">
              <a:extLst>
                <a:ext uri="{FF2B5EF4-FFF2-40B4-BE49-F238E27FC236}">
                  <a16:creationId xmlns:a16="http://schemas.microsoft.com/office/drawing/2014/main" id="{40201152-76C2-D466-BCB5-AD8D8B969D52}"/>
                </a:ext>
              </a:extLst>
            </p:cNvPr>
            <p:cNvSpPr/>
            <p:nvPr/>
          </p:nvSpPr>
          <p:spPr bwMode="auto">
            <a:xfrm>
              <a:off x="6902985" y="-1279903"/>
              <a:ext cx="2205454" cy="859235"/>
            </a:xfrm>
            <a:prstGeom prst="chevron">
              <a:avLst>
                <a:gd name="adj" fmla="val 19447"/>
              </a:avLst>
            </a:prstGeom>
            <a:gradFill>
              <a:gsLst>
                <a:gs pos="0">
                  <a:srgbClr val="0077D4"/>
                </a:gs>
                <a:gs pos="100000">
                  <a:srgbClr val="5FA04D"/>
                </a:gs>
              </a:gsLst>
              <a:lin ang="0" scaled="1"/>
            </a:gradFill>
            <a:ln w="9525">
              <a:noFill/>
              <a:prstDash val="solid"/>
              <a:miter lim="800000"/>
              <a:headEnd/>
              <a:tailEnd/>
            </a:ln>
            <a:effectLst/>
          </p:spPr>
          <p:txBody>
            <a:bodyPr anchor="ctr"/>
            <a:lstStyle/>
            <a:p>
              <a:pPr marL="0" marR="0" lvl="0" indent="0" algn="ctr" defTabSz="914400" rtl="0" eaLnBrk="1" fontAlgn="auto" latinLnBrk="0" hangingPunct="1">
                <a:lnSpc>
                  <a:spcPct val="116000"/>
                </a:lnSpc>
                <a:spcBef>
                  <a:spcPts val="0"/>
                </a:spcBef>
                <a:spcAft>
                  <a:spcPts val="800"/>
                </a:spcAft>
                <a:buClrTx/>
                <a:buSzTx/>
                <a:buFont typeface="Arial" panose="020B0604020202020204" pitchFamily="34" charset="0"/>
                <a:buNone/>
                <a:tabLst/>
                <a:defRPr/>
              </a:pPr>
              <a:r>
                <a:rPr kumimoji="0" lang="es-ES" sz="1600" b="1" i="0" u="none" strike="noStrike" kern="1200" cap="none" spc="0" normalizeH="0" baseline="0" dirty="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rPr>
                <a:t>Servicio </a:t>
              </a:r>
              <a:br>
                <a:rPr kumimoji="0" lang="es-ES" sz="1600" b="1" i="0" u="none" strike="noStrike" kern="1200" cap="none" spc="0" normalizeH="0" baseline="0" dirty="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s-ES" sz="1600" b="1" i="0" u="none" strike="noStrike" kern="1200" cap="none" spc="0" normalizeH="0" baseline="0" dirty="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rPr>
                <a:t>al cliente</a:t>
              </a:r>
              <a:endParaRPr kumimoji="0" lang="es-ES" sz="1600" b="1" i="0" u="none" strike="noStrike" kern="1200" cap="none" spc="0" normalizeH="0" baseline="0" dirty="0">
                <a:ln>
                  <a:noFill/>
                </a:ln>
                <a:solidFill>
                  <a:srgbClr val="003C70"/>
                </a:solidFill>
                <a:effectLst/>
                <a:uLnTx/>
                <a:uFillTx/>
                <a:latin typeface="Aptos" panose="020B0004020202020204" pitchFamily="34" charset="0"/>
                <a:ea typeface="Times New Roman" panose="02020603050405020304" pitchFamily="18" charset="0"/>
                <a:cs typeface="Times New Roman" panose="02020603050405020304" pitchFamily="18" charset="0"/>
              </a:endParaRPr>
            </a:p>
          </p:txBody>
        </p:sp>
        <p:sp>
          <p:nvSpPr>
            <p:cNvPr id="28" name="Richtungspfeil 9">
              <a:extLst>
                <a:ext uri="{FF2B5EF4-FFF2-40B4-BE49-F238E27FC236}">
                  <a16:creationId xmlns:a16="http://schemas.microsoft.com/office/drawing/2014/main" id="{6A4A798F-40C2-A747-CC13-B4927F43D728}"/>
                </a:ext>
              </a:extLst>
            </p:cNvPr>
            <p:cNvSpPr/>
            <p:nvPr/>
          </p:nvSpPr>
          <p:spPr bwMode="auto">
            <a:xfrm>
              <a:off x="272822" y="-1422019"/>
              <a:ext cx="11233249" cy="1162382"/>
            </a:xfrm>
            <a:prstGeom prst="homePlate">
              <a:avLst>
                <a:gd name="adj" fmla="val 19447"/>
              </a:avLst>
            </a:prstGeom>
            <a:noFill/>
            <a:ln w="19050">
              <a:solidFill>
                <a:srgbClr val="003C70"/>
              </a:solidFill>
              <a:prstDash val="solid"/>
              <a:miter lim="800000"/>
              <a:headEnd/>
              <a:tailEnd/>
            </a:ln>
            <a:effectLst/>
          </p:spPr>
          <p:txBody>
            <a:bodyPr lIns="90021" tIns="46811" rIns="90021" bIns="46811" anchor="ct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29" name="Rectangle 28">
              <a:extLst>
                <a:ext uri="{FF2B5EF4-FFF2-40B4-BE49-F238E27FC236}">
                  <a16:creationId xmlns:a16="http://schemas.microsoft.com/office/drawing/2014/main" id="{DCE702FD-6A94-8F48-9919-A0674DDD8939}"/>
                </a:ext>
              </a:extLst>
            </p:cNvPr>
            <p:cNvSpPr/>
            <p:nvPr/>
          </p:nvSpPr>
          <p:spPr bwMode="gray">
            <a:xfrm rot="16200000">
              <a:off x="-486773" y="-1022347"/>
              <a:ext cx="1165418" cy="360000"/>
            </a:xfrm>
            <a:prstGeom prst="rect">
              <a:avLst/>
            </a:prstGeom>
            <a:solidFill>
              <a:srgbClr val="003C70"/>
            </a:solidFill>
            <a:ln w="9525" cap="flat" cmpd="sng" algn="ctr">
              <a:solidFill>
                <a:srgbClr val="003C7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16000"/>
                </a:lnSpc>
                <a:spcBef>
                  <a:spcPts val="0"/>
                </a:spcBef>
                <a:spcAft>
                  <a:spcPts val="800"/>
                </a:spcAft>
                <a:buClrTx/>
                <a:buSzTx/>
                <a:buFont typeface="Arial" panose="020B0604020202020204" pitchFamily="34" charset="0"/>
                <a:buNone/>
                <a:tabLst/>
                <a:defRPr/>
              </a:pPr>
              <a:r>
                <a:rPr kumimoji="0" lang="es-ES" b="1" i="0" u="none" strike="noStrike" kern="1200" cap="none" spc="0" normalizeH="0" baseline="0" dirty="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rPr>
                <a:t>Aseguradora</a:t>
              </a:r>
              <a:endParaRPr kumimoji="0" lang="es-ES" b="1" i="0" u="none" strike="noStrike" kern="1200" cap="none" spc="0" normalizeH="0" baseline="0" dirty="0">
                <a:ln>
                  <a:noFill/>
                </a:ln>
                <a:solidFill>
                  <a:srgbClr val="003C70"/>
                </a:solidFill>
                <a:effectLst/>
                <a:uLnTx/>
                <a:uFillTx/>
                <a:latin typeface="Aptos" panose="020B0004020202020204" pitchFamily="34" charset="0"/>
                <a:ea typeface="Times New Roman" panose="02020603050405020304" pitchFamily="18" charset="0"/>
                <a:cs typeface="Times New Roman" panose="02020603050405020304" pitchFamily="18" charset="0"/>
              </a:endParaRPr>
            </a:p>
          </p:txBody>
        </p:sp>
      </p:grpSp>
      <p:sp>
        <p:nvSpPr>
          <p:cNvPr id="3" name="TextBox 112">
            <a:extLst>
              <a:ext uri="{FF2B5EF4-FFF2-40B4-BE49-F238E27FC236}">
                <a16:creationId xmlns:a16="http://schemas.microsoft.com/office/drawing/2014/main" id="{94BA1EA6-4DB6-CA7B-ABA6-6061A06378EF}"/>
              </a:ext>
            </a:extLst>
          </p:cNvPr>
          <p:cNvSpPr txBox="1"/>
          <p:nvPr/>
        </p:nvSpPr>
        <p:spPr>
          <a:xfrm>
            <a:off x="494595" y="3547478"/>
            <a:ext cx="2617925" cy="492651"/>
          </a:xfrm>
          <a:prstGeom prst="rect">
            <a:avLst/>
          </a:prstGeom>
          <a:noFill/>
        </p:spPr>
        <p:txBody>
          <a:bodyPr wrap="square" lIns="0" tIns="0" rIns="0" bIns="0" rtlCol="0">
            <a:noAutofit/>
          </a:bodyPr>
          <a:lstStyle/>
          <a:p>
            <a:pPr marL="0" marR="0" lvl="0" indent="0" algn="ctr" defTabSz="914400" rtl="0" eaLnBrk="1" fontAlgn="auto" latinLnBrk="0" hangingPunct="1">
              <a:lnSpc>
                <a:spcPct val="116000"/>
              </a:lnSpc>
              <a:spcBef>
                <a:spcPts val="0"/>
              </a:spcBef>
              <a:spcAft>
                <a:spcPts val="800"/>
              </a:spcAft>
              <a:buClrTx/>
              <a:buSzTx/>
              <a:buFont typeface="Arial" panose="020B0604020202020204" pitchFamily="34" charset="0"/>
              <a:buNone/>
              <a:tabLst/>
              <a:defRPr/>
            </a:pPr>
            <a:r>
              <a:rPr kumimoji="0" lang="es-ES" sz="1800" b="0" i="0" u="none" strike="noStrike" kern="1200" cap="none" spc="0" normalizeH="0" baseline="0" dirty="0">
                <a:ln>
                  <a:noFill/>
                </a:ln>
                <a:solidFill>
                  <a:srgbClr val="000000"/>
                </a:solidFill>
                <a:effectLst/>
                <a:uLnTx/>
                <a:uFillTx/>
                <a:latin typeface="Archivo" pitchFamily="2" charset="0"/>
                <a:ea typeface="Times New Roman" panose="02020603050405020304" pitchFamily="18" charset="0"/>
                <a:cs typeface="Times New Roman" panose="02020603050405020304" pitchFamily="18" charset="0"/>
              </a:rPr>
              <a:t>Acceso a tratamientos</a:t>
            </a:r>
            <a:br>
              <a:rPr kumimoji="0" lang="es-ES" sz="1800" b="0" i="0" u="none" strike="noStrike" kern="1200" cap="none" spc="0" normalizeH="0" baseline="0" dirty="0">
                <a:ln>
                  <a:noFill/>
                </a:ln>
                <a:solidFill>
                  <a:srgbClr val="000000"/>
                </a:solidFill>
                <a:effectLst/>
                <a:uLnTx/>
                <a:uFillTx/>
                <a:latin typeface="Archivo" pitchFamily="2" charset="0"/>
                <a:ea typeface="Times New Roman" panose="02020603050405020304" pitchFamily="18" charset="0"/>
                <a:cs typeface="Times New Roman" panose="02020603050405020304" pitchFamily="18" charset="0"/>
              </a:rPr>
            </a:br>
            <a:r>
              <a:rPr kumimoji="0" lang="es-ES" sz="1800" b="0" i="0" u="none" strike="noStrike" kern="1200" cap="none" spc="0" normalizeH="0" baseline="0" dirty="0">
                <a:ln>
                  <a:noFill/>
                </a:ln>
                <a:solidFill>
                  <a:srgbClr val="000000"/>
                </a:solidFill>
                <a:effectLst/>
                <a:uLnTx/>
                <a:uFillTx/>
                <a:latin typeface="Archivo" pitchFamily="2" charset="0"/>
                <a:ea typeface="Times New Roman" panose="02020603050405020304" pitchFamily="18" charset="0"/>
                <a:cs typeface="Times New Roman" panose="02020603050405020304" pitchFamily="18" charset="0"/>
              </a:rPr>
              <a:t>personalizados</a:t>
            </a:r>
          </a:p>
        </p:txBody>
      </p:sp>
      <p:grpSp>
        <p:nvGrpSpPr>
          <p:cNvPr id="2" name="Group 1">
            <a:extLst>
              <a:ext uri="{FF2B5EF4-FFF2-40B4-BE49-F238E27FC236}">
                <a16:creationId xmlns:a16="http://schemas.microsoft.com/office/drawing/2014/main" id="{78E28172-AE39-FAAC-0F31-7A7268380873}"/>
              </a:ext>
            </a:extLst>
          </p:cNvPr>
          <p:cNvGrpSpPr/>
          <p:nvPr/>
        </p:nvGrpSpPr>
        <p:grpSpPr>
          <a:xfrm>
            <a:off x="750538" y="4435183"/>
            <a:ext cx="10813173" cy="1396681"/>
            <a:chOff x="475042" y="549626"/>
            <a:chExt cx="10727624" cy="1431085"/>
          </a:xfrm>
        </p:grpSpPr>
        <p:grpSp>
          <p:nvGrpSpPr>
            <p:cNvPr id="5" name="Group 4">
              <a:extLst>
                <a:ext uri="{FF2B5EF4-FFF2-40B4-BE49-F238E27FC236}">
                  <a16:creationId xmlns:a16="http://schemas.microsoft.com/office/drawing/2014/main" id="{753314C1-B030-DB65-E438-4342A11B767D}"/>
                </a:ext>
              </a:extLst>
            </p:cNvPr>
            <p:cNvGrpSpPr>
              <a:grpSpLocks noChangeAspect="1"/>
            </p:cNvGrpSpPr>
            <p:nvPr/>
          </p:nvGrpSpPr>
          <p:grpSpPr bwMode="auto">
            <a:xfrm>
              <a:off x="6473082" y="1151653"/>
              <a:ext cx="889592" cy="829058"/>
              <a:chOff x="6500168" y="1148950"/>
              <a:chExt cx="480" cy="425"/>
            </a:xfrm>
            <a:solidFill>
              <a:srgbClr val="0077D4"/>
            </a:solidFill>
          </p:grpSpPr>
          <p:sp>
            <p:nvSpPr>
              <p:cNvPr id="197" name="Freeform 5">
                <a:extLst>
                  <a:ext uri="{FF2B5EF4-FFF2-40B4-BE49-F238E27FC236}">
                    <a16:creationId xmlns:a16="http://schemas.microsoft.com/office/drawing/2014/main" id="{76D0BA0E-1345-CEFA-0412-F8B42BE9F1F9}"/>
                  </a:ext>
                </a:extLst>
              </p:cNvPr>
              <p:cNvSpPr>
                <a:spLocks/>
              </p:cNvSpPr>
              <p:nvPr/>
            </p:nvSpPr>
            <p:spPr bwMode="auto">
              <a:xfrm>
                <a:off x="6500239" y="1149009"/>
                <a:ext cx="409" cy="253"/>
              </a:xfrm>
              <a:custGeom>
                <a:avLst/>
                <a:gdLst>
                  <a:gd name="T0" fmla="*/ 243 w 409"/>
                  <a:gd name="T1" fmla="*/ 253 h 253"/>
                  <a:gd name="T2" fmla="*/ 243 w 409"/>
                  <a:gd name="T3" fmla="*/ 253 h 253"/>
                  <a:gd name="T4" fmla="*/ 239 w 409"/>
                  <a:gd name="T5" fmla="*/ 252 h 253"/>
                  <a:gd name="T6" fmla="*/ 237 w 409"/>
                  <a:gd name="T7" fmla="*/ 248 h 253"/>
                  <a:gd name="T8" fmla="*/ 198 w 409"/>
                  <a:gd name="T9" fmla="*/ 192 h 253"/>
                  <a:gd name="T10" fmla="*/ 196 w 409"/>
                  <a:gd name="T11" fmla="*/ 194 h 253"/>
                  <a:gd name="T12" fmla="*/ 193 w 409"/>
                  <a:gd name="T13" fmla="*/ 197 h 253"/>
                  <a:gd name="T14" fmla="*/ 191 w 409"/>
                  <a:gd name="T15" fmla="*/ 197 h 253"/>
                  <a:gd name="T16" fmla="*/ 191 w 409"/>
                  <a:gd name="T17" fmla="*/ 197 h 253"/>
                  <a:gd name="T18" fmla="*/ 187 w 409"/>
                  <a:gd name="T19" fmla="*/ 196 h 253"/>
                  <a:gd name="T20" fmla="*/ 185 w 409"/>
                  <a:gd name="T21" fmla="*/ 192 h 253"/>
                  <a:gd name="T22" fmla="*/ 168 w 409"/>
                  <a:gd name="T23" fmla="*/ 149 h 253"/>
                  <a:gd name="T24" fmla="*/ 167 w 409"/>
                  <a:gd name="T25" fmla="*/ 151 h 253"/>
                  <a:gd name="T26" fmla="*/ 164 w 409"/>
                  <a:gd name="T27" fmla="*/ 154 h 253"/>
                  <a:gd name="T28" fmla="*/ 0 w 409"/>
                  <a:gd name="T29" fmla="*/ 154 h 253"/>
                  <a:gd name="T30" fmla="*/ 156 w 409"/>
                  <a:gd name="T31" fmla="*/ 141 h 253"/>
                  <a:gd name="T32" fmla="*/ 167 w 409"/>
                  <a:gd name="T33" fmla="*/ 79 h 253"/>
                  <a:gd name="T34" fmla="*/ 169 w 409"/>
                  <a:gd name="T35" fmla="*/ 75 h 253"/>
                  <a:gd name="T36" fmla="*/ 173 w 409"/>
                  <a:gd name="T37" fmla="*/ 74 h 253"/>
                  <a:gd name="T38" fmla="*/ 173 w 409"/>
                  <a:gd name="T39" fmla="*/ 74 h 253"/>
                  <a:gd name="T40" fmla="*/ 175 w 409"/>
                  <a:gd name="T41" fmla="*/ 74 h 253"/>
                  <a:gd name="T42" fmla="*/ 179 w 409"/>
                  <a:gd name="T43" fmla="*/ 77 h 253"/>
                  <a:gd name="T44" fmla="*/ 191 w 409"/>
                  <a:gd name="T45" fmla="*/ 153 h 253"/>
                  <a:gd name="T46" fmla="*/ 217 w 409"/>
                  <a:gd name="T47" fmla="*/ 5 h 253"/>
                  <a:gd name="T48" fmla="*/ 219 w 409"/>
                  <a:gd name="T49" fmla="*/ 1 h 253"/>
                  <a:gd name="T50" fmla="*/ 223 w 409"/>
                  <a:gd name="T51" fmla="*/ 0 h 253"/>
                  <a:gd name="T52" fmla="*/ 226 w 409"/>
                  <a:gd name="T53" fmla="*/ 0 h 253"/>
                  <a:gd name="T54" fmla="*/ 229 w 409"/>
                  <a:gd name="T55" fmla="*/ 3 h 253"/>
                  <a:gd name="T56" fmla="*/ 245 w 409"/>
                  <a:gd name="T57" fmla="*/ 188 h 253"/>
                  <a:gd name="T58" fmla="*/ 263 w 409"/>
                  <a:gd name="T59" fmla="*/ 48 h 253"/>
                  <a:gd name="T60" fmla="*/ 265 w 409"/>
                  <a:gd name="T61" fmla="*/ 44 h 253"/>
                  <a:gd name="T62" fmla="*/ 269 w 409"/>
                  <a:gd name="T63" fmla="*/ 42 h 253"/>
                  <a:gd name="T64" fmla="*/ 269 w 409"/>
                  <a:gd name="T65" fmla="*/ 42 h 253"/>
                  <a:gd name="T66" fmla="*/ 272 w 409"/>
                  <a:gd name="T67" fmla="*/ 43 h 253"/>
                  <a:gd name="T68" fmla="*/ 275 w 409"/>
                  <a:gd name="T69" fmla="*/ 45 h 253"/>
                  <a:gd name="T70" fmla="*/ 292 w 409"/>
                  <a:gd name="T71" fmla="*/ 160 h 253"/>
                  <a:gd name="T72" fmla="*/ 299 w 409"/>
                  <a:gd name="T73" fmla="*/ 145 h 253"/>
                  <a:gd name="T74" fmla="*/ 305 w 409"/>
                  <a:gd name="T75" fmla="*/ 141 h 253"/>
                  <a:gd name="T76" fmla="*/ 409 w 409"/>
                  <a:gd name="T77" fmla="*/ 154 h 253"/>
                  <a:gd name="T78" fmla="*/ 295 w 409"/>
                  <a:gd name="T79" fmla="*/ 185 h 253"/>
                  <a:gd name="T80" fmla="*/ 294 w 409"/>
                  <a:gd name="T81" fmla="*/ 187 h 253"/>
                  <a:gd name="T82" fmla="*/ 290 w 409"/>
                  <a:gd name="T83" fmla="*/ 188 h 253"/>
                  <a:gd name="T84" fmla="*/ 287 w 409"/>
                  <a:gd name="T85" fmla="*/ 188 h 253"/>
                  <a:gd name="T86" fmla="*/ 284 w 409"/>
                  <a:gd name="T87" fmla="*/ 187 h 253"/>
                  <a:gd name="T88" fmla="*/ 282 w 409"/>
                  <a:gd name="T89" fmla="*/ 183 h 253"/>
                  <a:gd name="T90" fmla="*/ 249 w 409"/>
                  <a:gd name="T91" fmla="*/ 248 h 253"/>
                  <a:gd name="T92" fmla="*/ 249 w 409"/>
                  <a:gd name="T93" fmla="*/ 250 h 253"/>
                  <a:gd name="T94" fmla="*/ 245 w 409"/>
                  <a:gd name="T95" fmla="*/ 253 h 253"/>
                  <a:gd name="T96" fmla="*/ 243 w 409"/>
                  <a:gd name="T9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9" h="253">
                    <a:moveTo>
                      <a:pt x="243" y="253"/>
                    </a:moveTo>
                    <a:lnTo>
                      <a:pt x="243" y="253"/>
                    </a:lnTo>
                    <a:lnTo>
                      <a:pt x="243" y="253"/>
                    </a:lnTo>
                    <a:lnTo>
                      <a:pt x="243" y="253"/>
                    </a:lnTo>
                    <a:lnTo>
                      <a:pt x="241" y="253"/>
                    </a:lnTo>
                    <a:lnTo>
                      <a:pt x="239" y="252"/>
                    </a:lnTo>
                    <a:lnTo>
                      <a:pt x="238" y="250"/>
                    </a:lnTo>
                    <a:lnTo>
                      <a:pt x="237" y="248"/>
                    </a:lnTo>
                    <a:lnTo>
                      <a:pt x="221" y="56"/>
                    </a:lnTo>
                    <a:lnTo>
                      <a:pt x="198" y="192"/>
                    </a:lnTo>
                    <a:lnTo>
                      <a:pt x="198" y="192"/>
                    </a:lnTo>
                    <a:lnTo>
                      <a:pt x="196" y="194"/>
                    </a:lnTo>
                    <a:lnTo>
                      <a:pt x="195" y="196"/>
                    </a:lnTo>
                    <a:lnTo>
                      <a:pt x="193" y="197"/>
                    </a:lnTo>
                    <a:lnTo>
                      <a:pt x="191" y="197"/>
                    </a:lnTo>
                    <a:lnTo>
                      <a:pt x="191" y="197"/>
                    </a:lnTo>
                    <a:lnTo>
                      <a:pt x="191" y="197"/>
                    </a:lnTo>
                    <a:lnTo>
                      <a:pt x="191" y="197"/>
                    </a:lnTo>
                    <a:lnTo>
                      <a:pt x="189" y="197"/>
                    </a:lnTo>
                    <a:lnTo>
                      <a:pt x="187" y="196"/>
                    </a:lnTo>
                    <a:lnTo>
                      <a:pt x="186" y="194"/>
                    </a:lnTo>
                    <a:lnTo>
                      <a:pt x="185" y="192"/>
                    </a:lnTo>
                    <a:lnTo>
                      <a:pt x="173" y="119"/>
                    </a:lnTo>
                    <a:lnTo>
                      <a:pt x="168" y="149"/>
                    </a:lnTo>
                    <a:lnTo>
                      <a:pt x="168" y="149"/>
                    </a:lnTo>
                    <a:lnTo>
                      <a:pt x="167" y="151"/>
                    </a:lnTo>
                    <a:lnTo>
                      <a:pt x="166" y="153"/>
                    </a:lnTo>
                    <a:lnTo>
                      <a:pt x="164" y="154"/>
                    </a:lnTo>
                    <a:lnTo>
                      <a:pt x="162" y="154"/>
                    </a:lnTo>
                    <a:lnTo>
                      <a:pt x="0" y="154"/>
                    </a:lnTo>
                    <a:lnTo>
                      <a:pt x="0" y="141"/>
                    </a:lnTo>
                    <a:lnTo>
                      <a:pt x="156" y="141"/>
                    </a:lnTo>
                    <a:lnTo>
                      <a:pt x="167" y="79"/>
                    </a:lnTo>
                    <a:lnTo>
                      <a:pt x="167" y="79"/>
                    </a:lnTo>
                    <a:lnTo>
                      <a:pt x="168" y="77"/>
                    </a:lnTo>
                    <a:lnTo>
                      <a:pt x="169" y="75"/>
                    </a:lnTo>
                    <a:lnTo>
                      <a:pt x="171" y="74"/>
                    </a:lnTo>
                    <a:lnTo>
                      <a:pt x="173" y="74"/>
                    </a:lnTo>
                    <a:lnTo>
                      <a:pt x="173" y="74"/>
                    </a:lnTo>
                    <a:lnTo>
                      <a:pt x="173" y="74"/>
                    </a:lnTo>
                    <a:lnTo>
                      <a:pt x="173" y="74"/>
                    </a:lnTo>
                    <a:lnTo>
                      <a:pt x="175" y="74"/>
                    </a:lnTo>
                    <a:lnTo>
                      <a:pt x="177" y="75"/>
                    </a:lnTo>
                    <a:lnTo>
                      <a:pt x="179" y="77"/>
                    </a:lnTo>
                    <a:lnTo>
                      <a:pt x="180" y="79"/>
                    </a:lnTo>
                    <a:lnTo>
                      <a:pt x="191" y="153"/>
                    </a:lnTo>
                    <a:lnTo>
                      <a:pt x="217" y="5"/>
                    </a:lnTo>
                    <a:lnTo>
                      <a:pt x="217" y="5"/>
                    </a:lnTo>
                    <a:lnTo>
                      <a:pt x="218" y="3"/>
                    </a:lnTo>
                    <a:lnTo>
                      <a:pt x="219" y="1"/>
                    </a:lnTo>
                    <a:lnTo>
                      <a:pt x="221" y="0"/>
                    </a:lnTo>
                    <a:lnTo>
                      <a:pt x="223" y="0"/>
                    </a:lnTo>
                    <a:lnTo>
                      <a:pt x="223" y="0"/>
                    </a:lnTo>
                    <a:lnTo>
                      <a:pt x="226" y="0"/>
                    </a:lnTo>
                    <a:lnTo>
                      <a:pt x="227" y="1"/>
                    </a:lnTo>
                    <a:lnTo>
                      <a:pt x="229" y="3"/>
                    </a:lnTo>
                    <a:lnTo>
                      <a:pt x="229" y="5"/>
                    </a:lnTo>
                    <a:lnTo>
                      <a:pt x="245" y="188"/>
                    </a:lnTo>
                    <a:lnTo>
                      <a:pt x="263" y="48"/>
                    </a:lnTo>
                    <a:lnTo>
                      <a:pt x="263" y="48"/>
                    </a:lnTo>
                    <a:lnTo>
                      <a:pt x="264" y="45"/>
                    </a:lnTo>
                    <a:lnTo>
                      <a:pt x="265" y="44"/>
                    </a:lnTo>
                    <a:lnTo>
                      <a:pt x="267" y="43"/>
                    </a:lnTo>
                    <a:lnTo>
                      <a:pt x="269" y="42"/>
                    </a:lnTo>
                    <a:lnTo>
                      <a:pt x="269" y="42"/>
                    </a:lnTo>
                    <a:lnTo>
                      <a:pt x="269" y="42"/>
                    </a:lnTo>
                    <a:lnTo>
                      <a:pt x="269" y="42"/>
                    </a:lnTo>
                    <a:lnTo>
                      <a:pt x="272" y="43"/>
                    </a:lnTo>
                    <a:lnTo>
                      <a:pt x="274" y="44"/>
                    </a:lnTo>
                    <a:lnTo>
                      <a:pt x="275" y="45"/>
                    </a:lnTo>
                    <a:lnTo>
                      <a:pt x="276" y="48"/>
                    </a:lnTo>
                    <a:lnTo>
                      <a:pt x="292" y="160"/>
                    </a:lnTo>
                    <a:lnTo>
                      <a:pt x="299" y="145"/>
                    </a:lnTo>
                    <a:lnTo>
                      <a:pt x="299" y="145"/>
                    </a:lnTo>
                    <a:lnTo>
                      <a:pt x="301" y="142"/>
                    </a:lnTo>
                    <a:lnTo>
                      <a:pt x="305" y="141"/>
                    </a:lnTo>
                    <a:lnTo>
                      <a:pt x="409" y="141"/>
                    </a:lnTo>
                    <a:lnTo>
                      <a:pt x="409" y="154"/>
                    </a:lnTo>
                    <a:lnTo>
                      <a:pt x="309" y="154"/>
                    </a:lnTo>
                    <a:lnTo>
                      <a:pt x="295" y="185"/>
                    </a:lnTo>
                    <a:lnTo>
                      <a:pt x="295" y="185"/>
                    </a:lnTo>
                    <a:lnTo>
                      <a:pt x="294" y="187"/>
                    </a:lnTo>
                    <a:lnTo>
                      <a:pt x="292" y="188"/>
                    </a:lnTo>
                    <a:lnTo>
                      <a:pt x="290" y="188"/>
                    </a:lnTo>
                    <a:lnTo>
                      <a:pt x="287" y="188"/>
                    </a:lnTo>
                    <a:lnTo>
                      <a:pt x="287" y="188"/>
                    </a:lnTo>
                    <a:lnTo>
                      <a:pt x="286" y="188"/>
                    </a:lnTo>
                    <a:lnTo>
                      <a:pt x="284" y="187"/>
                    </a:lnTo>
                    <a:lnTo>
                      <a:pt x="283" y="185"/>
                    </a:lnTo>
                    <a:lnTo>
                      <a:pt x="282" y="183"/>
                    </a:lnTo>
                    <a:lnTo>
                      <a:pt x="269" y="95"/>
                    </a:lnTo>
                    <a:lnTo>
                      <a:pt x="249" y="248"/>
                    </a:lnTo>
                    <a:lnTo>
                      <a:pt x="249" y="248"/>
                    </a:lnTo>
                    <a:lnTo>
                      <a:pt x="249" y="250"/>
                    </a:lnTo>
                    <a:lnTo>
                      <a:pt x="247" y="252"/>
                    </a:lnTo>
                    <a:lnTo>
                      <a:pt x="245" y="253"/>
                    </a:lnTo>
                    <a:lnTo>
                      <a:pt x="243" y="253"/>
                    </a:lnTo>
                    <a:lnTo>
                      <a:pt x="243" y="2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98" name="Freeform 6">
                <a:extLst>
                  <a:ext uri="{FF2B5EF4-FFF2-40B4-BE49-F238E27FC236}">
                    <a16:creationId xmlns:a16="http://schemas.microsoft.com/office/drawing/2014/main" id="{C088E2DE-B264-590A-E0D4-3CDCE95C4C45}"/>
                  </a:ext>
                </a:extLst>
              </p:cNvPr>
              <p:cNvSpPr>
                <a:spLocks/>
              </p:cNvSpPr>
              <p:nvPr/>
            </p:nvSpPr>
            <p:spPr bwMode="auto">
              <a:xfrm>
                <a:off x="6500169" y="1149126"/>
                <a:ext cx="259" cy="249"/>
              </a:xfrm>
              <a:custGeom>
                <a:avLst/>
                <a:gdLst>
                  <a:gd name="T0" fmla="*/ 259 w 259"/>
                  <a:gd name="T1" fmla="*/ 165 h 249"/>
                  <a:gd name="T2" fmla="*/ 255 w 259"/>
                  <a:gd name="T3" fmla="*/ 131 h 249"/>
                  <a:gd name="T4" fmla="*/ 246 w 259"/>
                  <a:gd name="T5" fmla="*/ 100 h 249"/>
                  <a:gd name="T6" fmla="*/ 232 w 259"/>
                  <a:gd name="T7" fmla="*/ 73 h 249"/>
                  <a:gd name="T8" fmla="*/ 214 w 259"/>
                  <a:gd name="T9" fmla="*/ 48 h 249"/>
                  <a:gd name="T10" fmla="*/ 191 w 259"/>
                  <a:gd name="T11" fmla="*/ 28 h 249"/>
                  <a:gd name="T12" fmla="*/ 166 w 259"/>
                  <a:gd name="T13" fmla="*/ 13 h 249"/>
                  <a:gd name="T14" fmla="*/ 139 w 259"/>
                  <a:gd name="T15" fmla="*/ 3 h 249"/>
                  <a:gd name="T16" fmla="*/ 109 w 259"/>
                  <a:gd name="T17" fmla="*/ 0 h 249"/>
                  <a:gd name="T18" fmla="*/ 93 w 259"/>
                  <a:gd name="T19" fmla="*/ 1 h 249"/>
                  <a:gd name="T20" fmla="*/ 63 w 259"/>
                  <a:gd name="T21" fmla="*/ 7 h 249"/>
                  <a:gd name="T22" fmla="*/ 48 w 259"/>
                  <a:gd name="T23" fmla="*/ 13 h 249"/>
                  <a:gd name="T24" fmla="*/ 30 w 259"/>
                  <a:gd name="T25" fmla="*/ 26 h 249"/>
                  <a:gd name="T26" fmla="*/ 15 w 259"/>
                  <a:gd name="T27" fmla="*/ 48 h 249"/>
                  <a:gd name="T28" fmla="*/ 4 w 259"/>
                  <a:gd name="T29" fmla="*/ 76 h 249"/>
                  <a:gd name="T30" fmla="*/ 0 w 259"/>
                  <a:gd name="T31" fmla="*/ 108 h 249"/>
                  <a:gd name="T32" fmla="*/ 0 w 259"/>
                  <a:gd name="T33" fmla="*/ 125 h 249"/>
                  <a:gd name="T34" fmla="*/ 5 w 259"/>
                  <a:gd name="T35" fmla="*/ 155 h 249"/>
                  <a:gd name="T36" fmla="*/ 18 w 259"/>
                  <a:gd name="T37" fmla="*/ 182 h 249"/>
                  <a:gd name="T38" fmla="*/ 36 w 259"/>
                  <a:gd name="T39" fmla="*/ 200 h 249"/>
                  <a:gd name="T40" fmla="*/ 47 w 259"/>
                  <a:gd name="T41" fmla="*/ 208 h 249"/>
                  <a:gd name="T42" fmla="*/ 61 w 259"/>
                  <a:gd name="T43" fmla="*/ 213 h 249"/>
                  <a:gd name="T44" fmla="*/ 98 w 259"/>
                  <a:gd name="T45" fmla="*/ 221 h 249"/>
                  <a:gd name="T46" fmla="*/ 117 w 259"/>
                  <a:gd name="T47" fmla="*/ 223 h 249"/>
                  <a:gd name="T48" fmla="*/ 157 w 259"/>
                  <a:gd name="T49" fmla="*/ 229 h 249"/>
                  <a:gd name="T50" fmla="*/ 167 w 259"/>
                  <a:gd name="T51" fmla="*/ 231 h 249"/>
                  <a:gd name="T52" fmla="*/ 184 w 259"/>
                  <a:gd name="T53" fmla="*/ 237 h 249"/>
                  <a:gd name="T54" fmla="*/ 217 w 259"/>
                  <a:gd name="T55" fmla="*/ 248 h 249"/>
                  <a:gd name="T56" fmla="*/ 226 w 259"/>
                  <a:gd name="T57" fmla="*/ 249 h 249"/>
                  <a:gd name="T58" fmla="*/ 236 w 259"/>
                  <a:gd name="T59" fmla="*/ 247 h 249"/>
                  <a:gd name="T60" fmla="*/ 239 w 259"/>
                  <a:gd name="T61" fmla="*/ 245 h 249"/>
                  <a:gd name="T62" fmla="*/ 247 w 259"/>
                  <a:gd name="T63" fmla="*/ 233 h 249"/>
                  <a:gd name="T64" fmla="*/ 254 w 259"/>
                  <a:gd name="T65" fmla="*/ 215 h 249"/>
                  <a:gd name="T66" fmla="*/ 258 w 259"/>
                  <a:gd name="T67" fmla="*/ 192 h 249"/>
                  <a:gd name="T68" fmla="*/ 259 w 259"/>
                  <a:gd name="T69" fmla="*/ 16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9" h="249">
                    <a:moveTo>
                      <a:pt x="259" y="165"/>
                    </a:moveTo>
                    <a:lnTo>
                      <a:pt x="259" y="165"/>
                    </a:lnTo>
                    <a:lnTo>
                      <a:pt x="258" y="148"/>
                    </a:lnTo>
                    <a:lnTo>
                      <a:pt x="255" y="131"/>
                    </a:lnTo>
                    <a:lnTo>
                      <a:pt x="252" y="115"/>
                    </a:lnTo>
                    <a:lnTo>
                      <a:pt x="246" y="100"/>
                    </a:lnTo>
                    <a:lnTo>
                      <a:pt x="240" y="86"/>
                    </a:lnTo>
                    <a:lnTo>
                      <a:pt x="232" y="73"/>
                    </a:lnTo>
                    <a:lnTo>
                      <a:pt x="223" y="60"/>
                    </a:lnTo>
                    <a:lnTo>
                      <a:pt x="214" y="48"/>
                    </a:lnTo>
                    <a:lnTo>
                      <a:pt x="203" y="37"/>
                    </a:lnTo>
                    <a:lnTo>
                      <a:pt x="191" y="28"/>
                    </a:lnTo>
                    <a:lnTo>
                      <a:pt x="179" y="20"/>
                    </a:lnTo>
                    <a:lnTo>
                      <a:pt x="166" y="13"/>
                    </a:lnTo>
                    <a:lnTo>
                      <a:pt x="152" y="7"/>
                    </a:lnTo>
                    <a:lnTo>
                      <a:pt x="139" y="3"/>
                    </a:lnTo>
                    <a:lnTo>
                      <a:pt x="124" y="1"/>
                    </a:lnTo>
                    <a:lnTo>
                      <a:pt x="109" y="0"/>
                    </a:lnTo>
                    <a:lnTo>
                      <a:pt x="109" y="0"/>
                    </a:lnTo>
                    <a:lnTo>
                      <a:pt x="93" y="1"/>
                    </a:lnTo>
                    <a:lnTo>
                      <a:pt x="78" y="3"/>
                    </a:lnTo>
                    <a:lnTo>
                      <a:pt x="63" y="7"/>
                    </a:lnTo>
                    <a:lnTo>
                      <a:pt x="48" y="13"/>
                    </a:lnTo>
                    <a:lnTo>
                      <a:pt x="48" y="13"/>
                    </a:lnTo>
                    <a:lnTo>
                      <a:pt x="38" y="18"/>
                    </a:lnTo>
                    <a:lnTo>
                      <a:pt x="30" y="26"/>
                    </a:lnTo>
                    <a:lnTo>
                      <a:pt x="21" y="36"/>
                    </a:lnTo>
                    <a:lnTo>
                      <a:pt x="15" y="48"/>
                    </a:lnTo>
                    <a:lnTo>
                      <a:pt x="9" y="61"/>
                    </a:lnTo>
                    <a:lnTo>
                      <a:pt x="4" y="76"/>
                    </a:lnTo>
                    <a:lnTo>
                      <a:pt x="1" y="92"/>
                    </a:lnTo>
                    <a:lnTo>
                      <a:pt x="0" y="108"/>
                    </a:lnTo>
                    <a:lnTo>
                      <a:pt x="0" y="108"/>
                    </a:lnTo>
                    <a:lnTo>
                      <a:pt x="0" y="125"/>
                    </a:lnTo>
                    <a:lnTo>
                      <a:pt x="2" y="140"/>
                    </a:lnTo>
                    <a:lnTo>
                      <a:pt x="5" y="155"/>
                    </a:lnTo>
                    <a:lnTo>
                      <a:pt x="11" y="169"/>
                    </a:lnTo>
                    <a:lnTo>
                      <a:pt x="18" y="182"/>
                    </a:lnTo>
                    <a:lnTo>
                      <a:pt x="25" y="192"/>
                    </a:lnTo>
                    <a:lnTo>
                      <a:pt x="36" y="200"/>
                    </a:lnTo>
                    <a:lnTo>
                      <a:pt x="47" y="208"/>
                    </a:lnTo>
                    <a:lnTo>
                      <a:pt x="47" y="208"/>
                    </a:lnTo>
                    <a:lnTo>
                      <a:pt x="54" y="211"/>
                    </a:lnTo>
                    <a:lnTo>
                      <a:pt x="61" y="213"/>
                    </a:lnTo>
                    <a:lnTo>
                      <a:pt x="79" y="217"/>
                    </a:lnTo>
                    <a:lnTo>
                      <a:pt x="98" y="221"/>
                    </a:lnTo>
                    <a:lnTo>
                      <a:pt x="117" y="223"/>
                    </a:lnTo>
                    <a:lnTo>
                      <a:pt x="117" y="223"/>
                    </a:lnTo>
                    <a:lnTo>
                      <a:pt x="145" y="226"/>
                    </a:lnTo>
                    <a:lnTo>
                      <a:pt x="157" y="229"/>
                    </a:lnTo>
                    <a:lnTo>
                      <a:pt x="167" y="231"/>
                    </a:lnTo>
                    <a:lnTo>
                      <a:pt x="167" y="231"/>
                    </a:lnTo>
                    <a:lnTo>
                      <a:pt x="184" y="237"/>
                    </a:lnTo>
                    <a:lnTo>
                      <a:pt x="184" y="237"/>
                    </a:lnTo>
                    <a:lnTo>
                      <a:pt x="207" y="245"/>
                    </a:lnTo>
                    <a:lnTo>
                      <a:pt x="217" y="248"/>
                    </a:lnTo>
                    <a:lnTo>
                      <a:pt x="226" y="249"/>
                    </a:lnTo>
                    <a:lnTo>
                      <a:pt x="226" y="249"/>
                    </a:lnTo>
                    <a:lnTo>
                      <a:pt x="234" y="248"/>
                    </a:lnTo>
                    <a:lnTo>
                      <a:pt x="236" y="247"/>
                    </a:lnTo>
                    <a:lnTo>
                      <a:pt x="239" y="245"/>
                    </a:lnTo>
                    <a:lnTo>
                      <a:pt x="239" y="245"/>
                    </a:lnTo>
                    <a:lnTo>
                      <a:pt x="243" y="240"/>
                    </a:lnTo>
                    <a:lnTo>
                      <a:pt x="247" y="233"/>
                    </a:lnTo>
                    <a:lnTo>
                      <a:pt x="252" y="225"/>
                    </a:lnTo>
                    <a:lnTo>
                      <a:pt x="254" y="215"/>
                    </a:lnTo>
                    <a:lnTo>
                      <a:pt x="257" y="205"/>
                    </a:lnTo>
                    <a:lnTo>
                      <a:pt x="258" y="192"/>
                    </a:lnTo>
                    <a:lnTo>
                      <a:pt x="259" y="179"/>
                    </a:lnTo>
                    <a:lnTo>
                      <a:pt x="259" y="165"/>
                    </a:lnTo>
                    <a:lnTo>
                      <a:pt x="259"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99" name="Freeform 7">
                <a:extLst>
                  <a:ext uri="{FF2B5EF4-FFF2-40B4-BE49-F238E27FC236}">
                    <a16:creationId xmlns:a16="http://schemas.microsoft.com/office/drawing/2014/main" id="{21DE349E-7703-816F-8A47-B90C2B6240A0}"/>
                  </a:ext>
                </a:extLst>
              </p:cNvPr>
              <p:cNvSpPr>
                <a:spLocks/>
              </p:cNvSpPr>
              <p:nvPr/>
            </p:nvSpPr>
            <p:spPr bwMode="auto">
              <a:xfrm>
                <a:off x="6500302" y="1149071"/>
                <a:ext cx="65" cy="47"/>
              </a:xfrm>
              <a:custGeom>
                <a:avLst/>
                <a:gdLst>
                  <a:gd name="T0" fmla="*/ 36 w 65"/>
                  <a:gd name="T1" fmla="*/ 47 h 47"/>
                  <a:gd name="T2" fmla="*/ 36 w 65"/>
                  <a:gd name="T3" fmla="*/ 47 h 47"/>
                  <a:gd name="T4" fmla="*/ 36 w 65"/>
                  <a:gd name="T5" fmla="*/ 46 h 47"/>
                  <a:gd name="T6" fmla="*/ 36 w 65"/>
                  <a:gd name="T7" fmla="*/ 46 h 47"/>
                  <a:gd name="T8" fmla="*/ 37 w 65"/>
                  <a:gd name="T9" fmla="*/ 40 h 47"/>
                  <a:gd name="T10" fmla="*/ 40 w 65"/>
                  <a:gd name="T11" fmla="*/ 37 h 47"/>
                  <a:gd name="T12" fmla="*/ 44 w 65"/>
                  <a:gd name="T13" fmla="*/ 35 h 47"/>
                  <a:gd name="T14" fmla="*/ 49 w 65"/>
                  <a:gd name="T15" fmla="*/ 33 h 47"/>
                  <a:gd name="T16" fmla="*/ 57 w 65"/>
                  <a:gd name="T17" fmla="*/ 31 h 47"/>
                  <a:gd name="T18" fmla="*/ 62 w 65"/>
                  <a:gd name="T19" fmla="*/ 31 h 47"/>
                  <a:gd name="T20" fmla="*/ 64 w 65"/>
                  <a:gd name="T21" fmla="*/ 29 h 47"/>
                  <a:gd name="T22" fmla="*/ 64 w 65"/>
                  <a:gd name="T23" fmla="*/ 29 h 47"/>
                  <a:gd name="T24" fmla="*/ 64 w 65"/>
                  <a:gd name="T25" fmla="*/ 28 h 47"/>
                  <a:gd name="T26" fmla="*/ 65 w 65"/>
                  <a:gd name="T27" fmla="*/ 25 h 47"/>
                  <a:gd name="T28" fmla="*/ 64 w 65"/>
                  <a:gd name="T29" fmla="*/ 17 h 47"/>
                  <a:gd name="T30" fmla="*/ 62 w 65"/>
                  <a:gd name="T31" fmla="*/ 9 h 47"/>
                  <a:gd name="T32" fmla="*/ 58 w 65"/>
                  <a:gd name="T33" fmla="*/ 1 h 47"/>
                  <a:gd name="T34" fmla="*/ 57 w 65"/>
                  <a:gd name="T35" fmla="*/ 1 h 47"/>
                  <a:gd name="T36" fmla="*/ 57 w 65"/>
                  <a:gd name="T37" fmla="*/ 1 h 47"/>
                  <a:gd name="T38" fmla="*/ 51 w 65"/>
                  <a:gd name="T39" fmla="*/ 2 h 47"/>
                  <a:gd name="T40" fmla="*/ 51 w 65"/>
                  <a:gd name="T41" fmla="*/ 2 h 47"/>
                  <a:gd name="T42" fmla="*/ 42 w 65"/>
                  <a:gd name="T43" fmla="*/ 1 h 47"/>
                  <a:gd name="T44" fmla="*/ 40 w 65"/>
                  <a:gd name="T45" fmla="*/ 1 h 47"/>
                  <a:gd name="T46" fmla="*/ 40 w 65"/>
                  <a:gd name="T47" fmla="*/ 1 h 47"/>
                  <a:gd name="T48" fmla="*/ 29 w 65"/>
                  <a:gd name="T49" fmla="*/ 0 h 47"/>
                  <a:gd name="T50" fmla="*/ 29 w 65"/>
                  <a:gd name="T51" fmla="*/ 0 h 47"/>
                  <a:gd name="T52" fmla="*/ 21 w 65"/>
                  <a:gd name="T53" fmla="*/ 1 h 47"/>
                  <a:gd name="T54" fmla="*/ 15 w 65"/>
                  <a:gd name="T55" fmla="*/ 3 h 47"/>
                  <a:gd name="T56" fmla="*/ 11 w 65"/>
                  <a:gd name="T57" fmla="*/ 7 h 47"/>
                  <a:gd name="T58" fmla="*/ 7 w 65"/>
                  <a:gd name="T59" fmla="*/ 13 h 47"/>
                  <a:gd name="T60" fmla="*/ 7 w 65"/>
                  <a:gd name="T61" fmla="*/ 13 h 47"/>
                  <a:gd name="T62" fmla="*/ 2 w 65"/>
                  <a:gd name="T63" fmla="*/ 23 h 47"/>
                  <a:gd name="T64" fmla="*/ 0 w 65"/>
                  <a:gd name="T65" fmla="*/ 36 h 47"/>
                  <a:gd name="T66" fmla="*/ 0 w 65"/>
                  <a:gd name="T67" fmla="*/ 36 h 47"/>
                  <a:gd name="T68" fmla="*/ 18 w 65"/>
                  <a:gd name="T69" fmla="*/ 40 h 47"/>
                  <a:gd name="T70" fmla="*/ 36 w 65"/>
                  <a:gd name="T71" fmla="*/ 47 h 47"/>
                  <a:gd name="T72" fmla="*/ 36 w 65"/>
                  <a:gd name="T7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 h="47">
                    <a:moveTo>
                      <a:pt x="36" y="47"/>
                    </a:moveTo>
                    <a:lnTo>
                      <a:pt x="36" y="47"/>
                    </a:lnTo>
                    <a:lnTo>
                      <a:pt x="36" y="46"/>
                    </a:lnTo>
                    <a:lnTo>
                      <a:pt x="36" y="46"/>
                    </a:lnTo>
                    <a:lnTo>
                      <a:pt x="37" y="40"/>
                    </a:lnTo>
                    <a:lnTo>
                      <a:pt x="40" y="37"/>
                    </a:lnTo>
                    <a:lnTo>
                      <a:pt x="44" y="35"/>
                    </a:lnTo>
                    <a:lnTo>
                      <a:pt x="49" y="33"/>
                    </a:lnTo>
                    <a:lnTo>
                      <a:pt x="57" y="31"/>
                    </a:lnTo>
                    <a:lnTo>
                      <a:pt x="62" y="31"/>
                    </a:lnTo>
                    <a:lnTo>
                      <a:pt x="64" y="29"/>
                    </a:lnTo>
                    <a:lnTo>
                      <a:pt x="64" y="29"/>
                    </a:lnTo>
                    <a:lnTo>
                      <a:pt x="64" y="28"/>
                    </a:lnTo>
                    <a:lnTo>
                      <a:pt x="65" y="25"/>
                    </a:lnTo>
                    <a:lnTo>
                      <a:pt x="64" y="17"/>
                    </a:lnTo>
                    <a:lnTo>
                      <a:pt x="62" y="9"/>
                    </a:lnTo>
                    <a:lnTo>
                      <a:pt x="58" y="1"/>
                    </a:lnTo>
                    <a:lnTo>
                      <a:pt x="57" y="1"/>
                    </a:lnTo>
                    <a:lnTo>
                      <a:pt x="57" y="1"/>
                    </a:lnTo>
                    <a:lnTo>
                      <a:pt x="51" y="2"/>
                    </a:lnTo>
                    <a:lnTo>
                      <a:pt x="51" y="2"/>
                    </a:lnTo>
                    <a:lnTo>
                      <a:pt x="42" y="1"/>
                    </a:lnTo>
                    <a:lnTo>
                      <a:pt x="40" y="1"/>
                    </a:lnTo>
                    <a:lnTo>
                      <a:pt x="40" y="1"/>
                    </a:lnTo>
                    <a:lnTo>
                      <a:pt x="29" y="0"/>
                    </a:lnTo>
                    <a:lnTo>
                      <a:pt x="29" y="0"/>
                    </a:lnTo>
                    <a:lnTo>
                      <a:pt x="21" y="1"/>
                    </a:lnTo>
                    <a:lnTo>
                      <a:pt x="15" y="3"/>
                    </a:lnTo>
                    <a:lnTo>
                      <a:pt x="11" y="7"/>
                    </a:lnTo>
                    <a:lnTo>
                      <a:pt x="7" y="13"/>
                    </a:lnTo>
                    <a:lnTo>
                      <a:pt x="7" y="13"/>
                    </a:lnTo>
                    <a:lnTo>
                      <a:pt x="2" y="23"/>
                    </a:lnTo>
                    <a:lnTo>
                      <a:pt x="0" y="36"/>
                    </a:lnTo>
                    <a:lnTo>
                      <a:pt x="0" y="36"/>
                    </a:lnTo>
                    <a:lnTo>
                      <a:pt x="18" y="40"/>
                    </a:lnTo>
                    <a:lnTo>
                      <a:pt x="36" y="47"/>
                    </a:lnTo>
                    <a:lnTo>
                      <a:pt x="36"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200" name="Freeform 8">
                <a:extLst>
                  <a:ext uri="{FF2B5EF4-FFF2-40B4-BE49-F238E27FC236}">
                    <a16:creationId xmlns:a16="http://schemas.microsoft.com/office/drawing/2014/main" id="{E94628D1-C5D1-9363-315A-DE1AEB9BC36E}"/>
                  </a:ext>
                </a:extLst>
              </p:cNvPr>
              <p:cNvSpPr>
                <a:spLocks/>
              </p:cNvSpPr>
              <p:nvPr/>
            </p:nvSpPr>
            <p:spPr bwMode="auto">
              <a:xfrm>
                <a:off x="6500231" y="1148950"/>
                <a:ext cx="138" cy="158"/>
              </a:xfrm>
              <a:custGeom>
                <a:avLst/>
                <a:gdLst>
                  <a:gd name="T0" fmla="*/ 29 w 138"/>
                  <a:gd name="T1" fmla="*/ 59 h 158"/>
                  <a:gd name="T2" fmla="*/ 35 w 138"/>
                  <a:gd name="T3" fmla="*/ 60 h 158"/>
                  <a:gd name="T4" fmla="*/ 50 w 138"/>
                  <a:gd name="T5" fmla="*/ 77 h 158"/>
                  <a:gd name="T6" fmla="*/ 53 w 138"/>
                  <a:gd name="T7" fmla="*/ 96 h 158"/>
                  <a:gd name="T8" fmla="*/ 45 w 138"/>
                  <a:gd name="T9" fmla="*/ 110 h 158"/>
                  <a:gd name="T10" fmla="*/ 32 w 138"/>
                  <a:gd name="T11" fmla="*/ 114 h 158"/>
                  <a:gd name="T12" fmla="*/ 12 w 138"/>
                  <a:gd name="T13" fmla="*/ 136 h 158"/>
                  <a:gd name="T14" fmla="*/ 11 w 138"/>
                  <a:gd name="T15" fmla="*/ 158 h 158"/>
                  <a:gd name="T16" fmla="*/ 59 w 138"/>
                  <a:gd name="T17" fmla="*/ 155 h 158"/>
                  <a:gd name="T18" fmla="*/ 66 w 138"/>
                  <a:gd name="T19" fmla="*/ 129 h 158"/>
                  <a:gd name="T20" fmla="*/ 69 w 138"/>
                  <a:gd name="T21" fmla="*/ 123 h 158"/>
                  <a:gd name="T22" fmla="*/ 71 w 138"/>
                  <a:gd name="T23" fmla="*/ 121 h 158"/>
                  <a:gd name="T24" fmla="*/ 73 w 138"/>
                  <a:gd name="T25" fmla="*/ 118 h 158"/>
                  <a:gd name="T26" fmla="*/ 77 w 138"/>
                  <a:gd name="T27" fmla="*/ 115 h 158"/>
                  <a:gd name="T28" fmla="*/ 79 w 138"/>
                  <a:gd name="T29" fmla="*/ 114 h 158"/>
                  <a:gd name="T30" fmla="*/ 83 w 138"/>
                  <a:gd name="T31" fmla="*/ 112 h 158"/>
                  <a:gd name="T32" fmla="*/ 85 w 138"/>
                  <a:gd name="T33" fmla="*/ 111 h 158"/>
                  <a:gd name="T34" fmla="*/ 88 w 138"/>
                  <a:gd name="T35" fmla="*/ 110 h 158"/>
                  <a:gd name="T36" fmla="*/ 91 w 138"/>
                  <a:gd name="T37" fmla="*/ 110 h 158"/>
                  <a:gd name="T38" fmla="*/ 95 w 138"/>
                  <a:gd name="T39" fmla="*/ 109 h 158"/>
                  <a:gd name="T40" fmla="*/ 99 w 138"/>
                  <a:gd name="T41" fmla="*/ 109 h 158"/>
                  <a:gd name="T42" fmla="*/ 100 w 138"/>
                  <a:gd name="T43" fmla="*/ 109 h 158"/>
                  <a:gd name="T44" fmla="*/ 106 w 138"/>
                  <a:gd name="T45" fmla="*/ 109 h 158"/>
                  <a:gd name="T46" fmla="*/ 116 w 138"/>
                  <a:gd name="T47" fmla="*/ 110 h 158"/>
                  <a:gd name="T48" fmla="*/ 119 w 138"/>
                  <a:gd name="T49" fmla="*/ 111 h 158"/>
                  <a:gd name="T50" fmla="*/ 122 w 138"/>
                  <a:gd name="T51" fmla="*/ 111 h 158"/>
                  <a:gd name="T52" fmla="*/ 124 w 138"/>
                  <a:gd name="T53" fmla="*/ 111 h 158"/>
                  <a:gd name="T54" fmla="*/ 122 w 138"/>
                  <a:gd name="T55" fmla="*/ 93 h 158"/>
                  <a:gd name="T56" fmla="*/ 113 w 138"/>
                  <a:gd name="T57" fmla="*/ 77 h 158"/>
                  <a:gd name="T58" fmla="*/ 134 w 138"/>
                  <a:gd name="T59" fmla="*/ 40 h 158"/>
                  <a:gd name="T60" fmla="*/ 138 w 138"/>
                  <a:gd name="T61" fmla="*/ 32 h 158"/>
                  <a:gd name="T62" fmla="*/ 137 w 138"/>
                  <a:gd name="T63" fmla="*/ 31 h 158"/>
                  <a:gd name="T64" fmla="*/ 135 w 138"/>
                  <a:gd name="T65" fmla="*/ 28 h 158"/>
                  <a:gd name="T66" fmla="*/ 134 w 138"/>
                  <a:gd name="T67" fmla="*/ 27 h 158"/>
                  <a:gd name="T68" fmla="*/ 132 w 138"/>
                  <a:gd name="T69" fmla="*/ 25 h 158"/>
                  <a:gd name="T70" fmla="*/ 128 w 138"/>
                  <a:gd name="T71" fmla="*/ 24 h 158"/>
                  <a:gd name="T72" fmla="*/ 125 w 138"/>
                  <a:gd name="T73" fmla="*/ 24 h 158"/>
                  <a:gd name="T74" fmla="*/ 122 w 138"/>
                  <a:gd name="T75" fmla="*/ 25 h 158"/>
                  <a:gd name="T76" fmla="*/ 95 w 138"/>
                  <a:gd name="T77" fmla="*/ 69 h 158"/>
                  <a:gd name="T78" fmla="*/ 92 w 138"/>
                  <a:gd name="T79" fmla="*/ 70 h 158"/>
                  <a:gd name="T80" fmla="*/ 91 w 138"/>
                  <a:gd name="T81" fmla="*/ 71 h 158"/>
                  <a:gd name="T82" fmla="*/ 90 w 138"/>
                  <a:gd name="T83" fmla="*/ 71 h 158"/>
                  <a:gd name="T84" fmla="*/ 89 w 138"/>
                  <a:gd name="T85" fmla="*/ 70 h 158"/>
                  <a:gd name="T86" fmla="*/ 88 w 138"/>
                  <a:gd name="T87" fmla="*/ 69 h 158"/>
                  <a:gd name="T88" fmla="*/ 87 w 138"/>
                  <a:gd name="T89" fmla="*/ 67 h 158"/>
                  <a:gd name="T90" fmla="*/ 92 w 138"/>
                  <a:gd name="T91" fmla="*/ 34 h 158"/>
                  <a:gd name="T92" fmla="*/ 96 w 138"/>
                  <a:gd name="T93" fmla="*/ 1 h 158"/>
                  <a:gd name="T94" fmla="*/ 89 w 138"/>
                  <a:gd name="T95" fmla="*/ 0 h 158"/>
                  <a:gd name="T96" fmla="*/ 76 w 138"/>
                  <a:gd name="T97" fmla="*/ 4 h 158"/>
                  <a:gd name="T98" fmla="*/ 65 w 138"/>
                  <a:gd name="T99" fmla="*/ 56 h 158"/>
                  <a:gd name="T100" fmla="*/ 62 w 138"/>
                  <a:gd name="T101" fmla="*/ 61 h 158"/>
                  <a:gd name="T102" fmla="*/ 61 w 138"/>
                  <a:gd name="T103" fmla="*/ 61 h 158"/>
                  <a:gd name="T104" fmla="*/ 61 w 138"/>
                  <a:gd name="T105" fmla="*/ 62 h 158"/>
                  <a:gd name="T106" fmla="*/ 60 w 138"/>
                  <a:gd name="T107" fmla="*/ 62 h 158"/>
                  <a:gd name="T108" fmla="*/ 59 w 138"/>
                  <a:gd name="T109" fmla="*/ 62 h 158"/>
                  <a:gd name="T110" fmla="*/ 58 w 138"/>
                  <a:gd name="T111" fmla="*/ 61 h 158"/>
                  <a:gd name="T112" fmla="*/ 58 w 138"/>
                  <a:gd name="T113" fmla="*/ 60 h 158"/>
                  <a:gd name="T114" fmla="*/ 29 w 138"/>
                  <a:gd name="T115" fmla="*/ 15 h 158"/>
                  <a:gd name="T116" fmla="*/ 16 w 138"/>
                  <a:gd name="T117" fmla="*/ 8 h 158"/>
                  <a:gd name="T118" fmla="*/ 0 w 138"/>
                  <a:gd name="T119" fmla="*/ 22 h 158"/>
                  <a:gd name="T120" fmla="*/ 17 w 138"/>
                  <a:gd name="T121" fmla="*/ 6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58">
                    <a:moveTo>
                      <a:pt x="17" y="61"/>
                    </a:moveTo>
                    <a:lnTo>
                      <a:pt x="17" y="61"/>
                    </a:lnTo>
                    <a:lnTo>
                      <a:pt x="23" y="60"/>
                    </a:lnTo>
                    <a:lnTo>
                      <a:pt x="29" y="59"/>
                    </a:lnTo>
                    <a:lnTo>
                      <a:pt x="29" y="59"/>
                    </a:lnTo>
                    <a:lnTo>
                      <a:pt x="30" y="59"/>
                    </a:lnTo>
                    <a:lnTo>
                      <a:pt x="30" y="59"/>
                    </a:lnTo>
                    <a:lnTo>
                      <a:pt x="35" y="60"/>
                    </a:lnTo>
                    <a:lnTo>
                      <a:pt x="41" y="62"/>
                    </a:lnTo>
                    <a:lnTo>
                      <a:pt x="45" y="66"/>
                    </a:lnTo>
                    <a:lnTo>
                      <a:pt x="48" y="72"/>
                    </a:lnTo>
                    <a:lnTo>
                      <a:pt x="50" y="77"/>
                    </a:lnTo>
                    <a:lnTo>
                      <a:pt x="52" y="82"/>
                    </a:lnTo>
                    <a:lnTo>
                      <a:pt x="53" y="92"/>
                    </a:lnTo>
                    <a:lnTo>
                      <a:pt x="53" y="92"/>
                    </a:lnTo>
                    <a:lnTo>
                      <a:pt x="53" y="96"/>
                    </a:lnTo>
                    <a:lnTo>
                      <a:pt x="53" y="100"/>
                    </a:lnTo>
                    <a:lnTo>
                      <a:pt x="51" y="103"/>
                    </a:lnTo>
                    <a:lnTo>
                      <a:pt x="50" y="107"/>
                    </a:lnTo>
                    <a:lnTo>
                      <a:pt x="45" y="110"/>
                    </a:lnTo>
                    <a:lnTo>
                      <a:pt x="40" y="111"/>
                    </a:lnTo>
                    <a:lnTo>
                      <a:pt x="40" y="111"/>
                    </a:lnTo>
                    <a:lnTo>
                      <a:pt x="36" y="112"/>
                    </a:lnTo>
                    <a:lnTo>
                      <a:pt x="32" y="114"/>
                    </a:lnTo>
                    <a:lnTo>
                      <a:pt x="24" y="121"/>
                    </a:lnTo>
                    <a:lnTo>
                      <a:pt x="16" y="129"/>
                    </a:lnTo>
                    <a:lnTo>
                      <a:pt x="14" y="132"/>
                    </a:lnTo>
                    <a:lnTo>
                      <a:pt x="12" y="136"/>
                    </a:lnTo>
                    <a:lnTo>
                      <a:pt x="12" y="136"/>
                    </a:lnTo>
                    <a:lnTo>
                      <a:pt x="11" y="147"/>
                    </a:lnTo>
                    <a:lnTo>
                      <a:pt x="11" y="158"/>
                    </a:lnTo>
                    <a:lnTo>
                      <a:pt x="11" y="158"/>
                    </a:lnTo>
                    <a:lnTo>
                      <a:pt x="29" y="156"/>
                    </a:lnTo>
                    <a:lnTo>
                      <a:pt x="47" y="155"/>
                    </a:lnTo>
                    <a:lnTo>
                      <a:pt x="47" y="155"/>
                    </a:lnTo>
                    <a:lnTo>
                      <a:pt x="59" y="155"/>
                    </a:lnTo>
                    <a:lnTo>
                      <a:pt x="59" y="155"/>
                    </a:lnTo>
                    <a:lnTo>
                      <a:pt x="62" y="142"/>
                    </a:lnTo>
                    <a:lnTo>
                      <a:pt x="64" y="135"/>
                    </a:lnTo>
                    <a:lnTo>
                      <a:pt x="66" y="129"/>
                    </a:lnTo>
                    <a:lnTo>
                      <a:pt x="66" y="129"/>
                    </a:lnTo>
                    <a:lnTo>
                      <a:pt x="68" y="124"/>
                    </a:lnTo>
                    <a:lnTo>
                      <a:pt x="68" y="124"/>
                    </a:lnTo>
                    <a:lnTo>
                      <a:pt x="69" y="123"/>
                    </a:lnTo>
                    <a:lnTo>
                      <a:pt x="69" y="123"/>
                    </a:lnTo>
                    <a:lnTo>
                      <a:pt x="70" y="121"/>
                    </a:lnTo>
                    <a:lnTo>
                      <a:pt x="70" y="121"/>
                    </a:lnTo>
                    <a:lnTo>
                      <a:pt x="71" y="121"/>
                    </a:lnTo>
                    <a:lnTo>
                      <a:pt x="71" y="121"/>
                    </a:lnTo>
                    <a:lnTo>
                      <a:pt x="73" y="118"/>
                    </a:lnTo>
                    <a:lnTo>
                      <a:pt x="73" y="118"/>
                    </a:lnTo>
                    <a:lnTo>
                      <a:pt x="73" y="118"/>
                    </a:lnTo>
                    <a:lnTo>
                      <a:pt x="73" y="118"/>
                    </a:lnTo>
                    <a:lnTo>
                      <a:pt x="76" y="116"/>
                    </a:lnTo>
                    <a:lnTo>
                      <a:pt x="76" y="116"/>
                    </a:lnTo>
                    <a:lnTo>
                      <a:pt x="77" y="115"/>
                    </a:lnTo>
                    <a:lnTo>
                      <a:pt x="77" y="115"/>
                    </a:lnTo>
                    <a:lnTo>
                      <a:pt x="79" y="114"/>
                    </a:lnTo>
                    <a:lnTo>
                      <a:pt x="79" y="114"/>
                    </a:lnTo>
                    <a:lnTo>
                      <a:pt x="79" y="114"/>
                    </a:lnTo>
                    <a:lnTo>
                      <a:pt x="79" y="114"/>
                    </a:lnTo>
                    <a:lnTo>
                      <a:pt x="82" y="112"/>
                    </a:lnTo>
                    <a:lnTo>
                      <a:pt x="82" y="112"/>
                    </a:lnTo>
                    <a:lnTo>
                      <a:pt x="83" y="112"/>
                    </a:lnTo>
                    <a:lnTo>
                      <a:pt x="83" y="112"/>
                    </a:lnTo>
                    <a:lnTo>
                      <a:pt x="84" y="111"/>
                    </a:lnTo>
                    <a:lnTo>
                      <a:pt x="84" y="111"/>
                    </a:lnTo>
                    <a:lnTo>
                      <a:pt x="85" y="111"/>
                    </a:lnTo>
                    <a:lnTo>
                      <a:pt x="85" y="111"/>
                    </a:lnTo>
                    <a:lnTo>
                      <a:pt x="88" y="110"/>
                    </a:lnTo>
                    <a:lnTo>
                      <a:pt x="88" y="110"/>
                    </a:lnTo>
                    <a:lnTo>
                      <a:pt x="88" y="110"/>
                    </a:lnTo>
                    <a:lnTo>
                      <a:pt x="88" y="110"/>
                    </a:lnTo>
                    <a:lnTo>
                      <a:pt x="91" y="110"/>
                    </a:lnTo>
                    <a:lnTo>
                      <a:pt x="91" y="110"/>
                    </a:lnTo>
                    <a:lnTo>
                      <a:pt x="91" y="110"/>
                    </a:lnTo>
                    <a:lnTo>
                      <a:pt x="91" y="110"/>
                    </a:lnTo>
                    <a:lnTo>
                      <a:pt x="93" y="109"/>
                    </a:lnTo>
                    <a:lnTo>
                      <a:pt x="93" y="109"/>
                    </a:lnTo>
                    <a:lnTo>
                      <a:pt x="95" y="109"/>
                    </a:lnTo>
                    <a:lnTo>
                      <a:pt x="95" y="109"/>
                    </a:lnTo>
                    <a:lnTo>
                      <a:pt x="98" y="109"/>
                    </a:lnTo>
                    <a:lnTo>
                      <a:pt x="98" y="109"/>
                    </a:lnTo>
                    <a:lnTo>
                      <a:pt x="99" y="109"/>
                    </a:lnTo>
                    <a:lnTo>
                      <a:pt x="99" y="109"/>
                    </a:lnTo>
                    <a:lnTo>
                      <a:pt x="100" y="109"/>
                    </a:lnTo>
                    <a:lnTo>
                      <a:pt x="100" y="109"/>
                    </a:lnTo>
                    <a:lnTo>
                      <a:pt x="100" y="109"/>
                    </a:lnTo>
                    <a:lnTo>
                      <a:pt x="100" y="109"/>
                    </a:lnTo>
                    <a:lnTo>
                      <a:pt x="106" y="109"/>
                    </a:lnTo>
                    <a:lnTo>
                      <a:pt x="106" y="109"/>
                    </a:lnTo>
                    <a:lnTo>
                      <a:pt x="106" y="109"/>
                    </a:lnTo>
                    <a:lnTo>
                      <a:pt x="106" y="109"/>
                    </a:lnTo>
                    <a:lnTo>
                      <a:pt x="113" y="110"/>
                    </a:lnTo>
                    <a:lnTo>
                      <a:pt x="113" y="110"/>
                    </a:lnTo>
                    <a:lnTo>
                      <a:pt x="116" y="110"/>
                    </a:lnTo>
                    <a:lnTo>
                      <a:pt x="116" y="110"/>
                    </a:lnTo>
                    <a:lnTo>
                      <a:pt x="117" y="110"/>
                    </a:lnTo>
                    <a:lnTo>
                      <a:pt x="117" y="110"/>
                    </a:lnTo>
                    <a:lnTo>
                      <a:pt x="119" y="111"/>
                    </a:lnTo>
                    <a:lnTo>
                      <a:pt x="119" y="111"/>
                    </a:lnTo>
                    <a:lnTo>
                      <a:pt x="120" y="111"/>
                    </a:lnTo>
                    <a:lnTo>
                      <a:pt x="120" y="111"/>
                    </a:lnTo>
                    <a:lnTo>
                      <a:pt x="122" y="111"/>
                    </a:lnTo>
                    <a:lnTo>
                      <a:pt x="122" y="111"/>
                    </a:lnTo>
                    <a:lnTo>
                      <a:pt x="123" y="111"/>
                    </a:lnTo>
                    <a:lnTo>
                      <a:pt x="123" y="111"/>
                    </a:lnTo>
                    <a:lnTo>
                      <a:pt x="124" y="111"/>
                    </a:lnTo>
                    <a:lnTo>
                      <a:pt x="124" y="111"/>
                    </a:lnTo>
                    <a:lnTo>
                      <a:pt x="125" y="108"/>
                    </a:lnTo>
                    <a:lnTo>
                      <a:pt x="125" y="103"/>
                    </a:lnTo>
                    <a:lnTo>
                      <a:pt x="122" y="93"/>
                    </a:lnTo>
                    <a:lnTo>
                      <a:pt x="118" y="83"/>
                    </a:lnTo>
                    <a:lnTo>
                      <a:pt x="116" y="80"/>
                    </a:lnTo>
                    <a:lnTo>
                      <a:pt x="113" y="77"/>
                    </a:lnTo>
                    <a:lnTo>
                      <a:pt x="113" y="77"/>
                    </a:lnTo>
                    <a:lnTo>
                      <a:pt x="114" y="74"/>
                    </a:lnTo>
                    <a:lnTo>
                      <a:pt x="116" y="67"/>
                    </a:lnTo>
                    <a:lnTo>
                      <a:pt x="125" y="54"/>
                    </a:lnTo>
                    <a:lnTo>
                      <a:pt x="134" y="40"/>
                    </a:lnTo>
                    <a:lnTo>
                      <a:pt x="138" y="33"/>
                    </a:lnTo>
                    <a:lnTo>
                      <a:pt x="138" y="33"/>
                    </a:lnTo>
                    <a:lnTo>
                      <a:pt x="138" y="32"/>
                    </a:lnTo>
                    <a:lnTo>
                      <a:pt x="138" y="32"/>
                    </a:lnTo>
                    <a:lnTo>
                      <a:pt x="137" y="32"/>
                    </a:lnTo>
                    <a:lnTo>
                      <a:pt x="137" y="32"/>
                    </a:lnTo>
                    <a:lnTo>
                      <a:pt x="137" y="31"/>
                    </a:lnTo>
                    <a:lnTo>
                      <a:pt x="137" y="31"/>
                    </a:lnTo>
                    <a:lnTo>
                      <a:pt x="136" y="30"/>
                    </a:lnTo>
                    <a:lnTo>
                      <a:pt x="136" y="30"/>
                    </a:lnTo>
                    <a:lnTo>
                      <a:pt x="135" y="28"/>
                    </a:lnTo>
                    <a:lnTo>
                      <a:pt x="135" y="28"/>
                    </a:lnTo>
                    <a:lnTo>
                      <a:pt x="135" y="28"/>
                    </a:lnTo>
                    <a:lnTo>
                      <a:pt x="135" y="28"/>
                    </a:lnTo>
                    <a:lnTo>
                      <a:pt x="134" y="27"/>
                    </a:lnTo>
                    <a:lnTo>
                      <a:pt x="134" y="27"/>
                    </a:lnTo>
                    <a:lnTo>
                      <a:pt x="133" y="26"/>
                    </a:lnTo>
                    <a:lnTo>
                      <a:pt x="133" y="26"/>
                    </a:lnTo>
                    <a:lnTo>
                      <a:pt x="132" y="25"/>
                    </a:lnTo>
                    <a:lnTo>
                      <a:pt x="132" y="25"/>
                    </a:lnTo>
                    <a:lnTo>
                      <a:pt x="130" y="25"/>
                    </a:lnTo>
                    <a:lnTo>
                      <a:pt x="130" y="25"/>
                    </a:lnTo>
                    <a:lnTo>
                      <a:pt x="128" y="24"/>
                    </a:lnTo>
                    <a:lnTo>
                      <a:pt x="128" y="24"/>
                    </a:lnTo>
                    <a:lnTo>
                      <a:pt x="127" y="24"/>
                    </a:lnTo>
                    <a:lnTo>
                      <a:pt x="127" y="24"/>
                    </a:lnTo>
                    <a:lnTo>
                      <a:pt x="125" y="24"/>
                    </a:lnTo>
                    <a:lnTo>
                      <a:pt x="125" y="24"/>
                    </a:lnTo>
                    <a:lnTo>
                      <a:pt x="125" y="24"/>
                    </a:lnTo>
                    <a:lnTo>
                      <a:pt x="125" y="24"/>
                    </a:lnTo>
                    <a:lnTo>
                      <a:pt x="122" y="25"/>
                    </a:lnTo>
                    <a:lnTo>
                      <a:pt x="122" y="25"/>
                    </a:lnTo>
                    <a:lnTo>
                      <a:pt x="119" y="27"/>
                    </a:lnTo>
                    <a:lnTo>
                      <a:pt x="115" y="33"/>
                    </a:lnTo>
                    <a:lnTo>
                      <a:pt x="106" y="46"/>
                    </a:lnTo>
                    <a:lnTo>
                      <a:pt x="95" y="69"/>
                    </a:lnTo>
                    <a:lnTo>
                      <a:pt x="95" y="69"/>
                    </a:lnTo>
                    <a:lnTo>
                      <a:pt x="92" y="70"/>
                    </a:lnTo>
                    <a:lnTo>
                      <a:pt x="92" y="70"/>
                    </a:lnTo>
                    <a:lnTo>
                      <a:pt x="92" y="70"/>
                    </a:lnTo>
                    <a:lnTo>
                      <a:pt x="92" y="70"/>
                    </a:lnTo>
                    <a:lnTo>
                      <a:pt x="91" y="71"/>
                    </a:lnTo>
                    <a:lnTo>
                      <a:pt x="91" y="71"/>
                    </a:lnTo>
                    <a:lnTo>
                      <a:pt x="91" y="71"/>
                    </a:lnTo>
                    <a:lnTo>
                      <a:pt x="91" y="71"/>
                    </a:lnTo>
                    <a:lnTo>
                      <a:pt x="90" y="71"/>
                    </a:lnTo>
                    <a:lnTo>
                      <a:pt x="90" y="71"/>
                    </a:lnTo>
                    <a:lnTo>
                      <a:pt x="90" y="71"/>
                    </a:lnTo>
                    <a:lnTo>
                      <a:pt x="90" y="71"/>
                    </a:lnTo>
                    <a:lnTo>
                      <a:pt x="89" y="71"/>
                    </a:lnTo>
                    <a:lnTo>
                      <a:pt x="89" y="71"/>
                    </a:lnTo>
                    <a:lnTo>
                      <a:pt x="89" y="70"/>
                    </a:lnTo>
                    <a:lnTo>
                      <a:pt x="89" y="70"/>
                    </a:lnTo>
                    <a:lnTo>
                      <a:pt x="88" y="70"/>
                    </a:lnTo>
                    <a:lnTo>
                      <a:pt x="88" y="70"/>
                    </a:lnTo>
                    <a:lnTo>
                      <a:pt x="88" y="69"/>
                    </a:lnTo>
                    <a:lnTo>
                      <a:pt x="88" y="69"/>
                    </a:lnTo>
                    <a:lnTo>
                      <a:pt x="87" y="69"/>
                    </a:lnTo>
                    <a:lnTo>
                      <a:pt x="87" y="69"/>
                    </a:lnTo>
                    <a:lnTo>
                      <a:pt x="87" y="67"/>
                    </a:lnTo>
                    <a:lnTo>
                      <a:pt x="87" y="67"/>
                    </a:lnTo>
                    <a:lnTo>
                      <a:pt x="87" y="63"/>
                    </a:lnTo>
                    <a:lnTo>
                      <a:pt x="88" y="56"/>
                    </a:lnTo>
                    <a:lnTo>
                      <a:pt x="92" y="34"/>
                    </a:lnTo>
                    <a:lnTo>
                      <a:pt x="96" y="13"/>
                    </a:lnTo>
                    <a:lnTo>
                      <a:pt x="97" y="5"/>
                    </a:lnTo>
                    <a:lnTo>
                      <a:pt x="96" y="3"/>
                    </a:lnTo>
                    <a:lnTo>
                      <a:pt x="96" y="1"/>
                    </a:lnTo>
                    <a:lnTo>
                      <a:pt x="96" y="1"/>
                    </a:lnTo>
                    <a:lnTo>
                      <a:pt x="92" y="1"/>
                    </a:lnTo>
                    <a:lnTo>
                      <a:pt x="89" y="0"/>
                    </a:lnTo>
                    <a:lnTo>
                      <a:pt x="89" y="0"/>
                    </a:lnTo>
                    <a:lnTo>
                      <a:pt x="85" y="1"/>
                    </a:lnTo>
                    <a:lnTo>
                      <a:pt x="81" y="2"/>
                    </a:lnTo>
                    <a:lnTo>
                      <a:pt x="77" y="3"/>
                    </a:lnTo>
                    <a:lnTo>
                      <a:pt x="76" y="4"/>
                    </a:lnTo>
                    <a:lnTo>
                      <a:pt x="76" y="4"/>
                    </a:lnTo>
                    <a:lnTo>
                      <a:pt x="70" y="32"/>
                    </a:lnTo>
                    <a:lnTo>
                      <a:pt x="66" y="50"/>
                    </a:lnTo>
                    <a:lnTo>
                      <a:pt x="65" y="56"/>
                    </a:lnTo>
                    <a:lnTo>
                      <a:pt x="64" y="59"/>
                    </a:lnTo>
                    <a:lnTo>
                      <a:pt x="64" y="59"/>
                    </a:lnTo>
                    <a:lnTo>
                      <a:pt x="62" y="61"/>
                    </a:lnTo>
                    <a:lnTo>
                      <a:pt x="62" y="61"/>
                    </a:lnTo>
                    <a:lnTo>
                      <a:pt x="62" y="61"/>
                    </a:lnTo>
                    <a:lnTo>
                      <a:pt x="62" y="61"/>
                    </a:lnTo>
                    <a:lnTo>
                      <a:pt x="61" y="61"/>
                    </a:lnTo>
                    <a:lnTo>
                      <a:pt x="61" y="61"/>
                    </a:lnTo>
                    <a:lnTo>
                      <a:pt x="61" y="62"/>
                    </a:lnTo>
                    <a:lnTo>
                      <a:pt x="61" y="62"/>
                    </a:lnTo>
                    <a:lnTo>
                      <a:pt x="61" y="62"/>
                    </a:lnTo>
                    <a:lnTo>
                      <a:pt x="61" y="62"/>
                    </a:lnTo>
                    <a:lnTo>
                      <a:pt x="60" y="62"/>
                    </a:lnTo>
                    <a:lnTo>
                      <a:pt x="60" y="62"/>
                    </a:lnTo>
                    <a:lnTo>
                      <a:pt x="60" y="62"/>
                    </a:lnTo>
                    <a:lnTo>
                      <a:pt x="60" y="62"/>
                    </a:lnTo>
                    <a:lnTo>
                      <a:pt x="60" y="62"/>
                    </a:lnTo>
                    <a:lnTo>
                      <a:pt x="60" y="62"/>
                    </a:lnTo>
                    <a:lnTo>
                      <a:pt x="59" y="62"/>
                    </a:lnTo>
                    <a:lnTo>
                      <a:pt x="59" y="62"/>
                    </a:lnTo>
                    <a:lnTo>
                      <a:pt x="59" y="61"/>
                    </a:lnTo>
                    <a:lnTo>
                      <a:pt x="59" y="61"/>
                    </a:lnTo>
                    <a:lnTo>
                      <a:pt x="58" y="61"/>
                    </a:lnTo>
                    <a:lnTo>
                      <a:pt x="58" y="61"/>
                    </a:lnTo>
                    <a:lnTo>
                      <a:pt x="58" y="61"/>
                    </a:lnTo>
                    <a:lnTo>
                      <a:pt x="58" y="61"/>
                    </a:lnTo>
                    <a:lnTo>
                      <a:pt x="58" y="60"/>
                    </a:lnTo>
                    <a:lnTo>
                      <a:pt x="58" y="60"/>
                    </a:lnTo>
                    <a:lnTo>
                      <a:pt x="56" y="59"/>
                    </a:lnTo>
                    <a:lnTo>
                      <a:pt x="56" y="59"/>
                    </a:lnTo>
                    <a:lnTo>
                      <a:pt x="40" y="32"/>
                    </a:lnTo>
                    <a:lnTo>
                      <a:pt x="29" y="15"/>
                    </a:lnTo>
                    <a:lnTo>
                      <a:pt x="25" y="9"/>
                    </a:lnTo>
                    <a:lnTo>
                      <a:pt x="22" y="7"/>
                    </a:lnTo>
                    <a:lnTo>
                      <a:pt x="22" y="7"/>
                    </a:lnTo>
                    <a:lnTo>
                      <a:pt x="16" y="8"/>
                    </a:lnTo>
                    <a:lnTo>
                      <a:pt x="9" y="13"/>
                    </a:lnTo>
                    <a:lnTo>
                      <a:pt x="3" y="17"/>
                    </a:lnTo>
                    <a:lnTo>
                      <a:pt x="0" y="19"/>
                    </a:lnTo>
                    <a:lnTo>
                      <a:pt x="0" y="22"/>
                    </a:lnTo>
                    <a:lnTo>
                      <a:pt x="0" y="22"/>
                    </a:lnTo>
                    <a:lnTo>
                      <a:pt x="7" y="37"/>
                    </a:lnTo>
                    <a:lnTo>
                      <a:pt x="17" y="61"/>
                    </a:lnTo>
                    <a:lnTo>
                      <a:pt x="1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201" name="Freeform 9">
                <a:extLst>
                  <a:ext uri="{FF2B5EF4-FFF2-40B4-BE49-F238E27FC236}">
                    <a16:creationId xmlns:a16="http://schemas.microsoft.com/office/drawing/2014/main" id="{892A31BF-E4F7-BED5-EB7E-3A550640DDA2}"/>
                  </a:ext>
                </a:extLst>
              </p:cNvPr>
              <p:cNvSpPr>
                <a:spLocks/>
              </p:cNvSpPr>
              <p:nvPr/>
            </p:nvSpPr>
            <p:spPr bwMode="auto">
              <a:xfrm>
                <a:off x="6500168" y="1148963"/>
                <a:ext cx="104" cy="176"/>
              </a:xfrm>
              <a:custGeom>
                <a:avLst/>
                <a:gdLst>
                  <a:gd name="T0" fmla="*/ 15 w 104"/>
                  <a:gd name="T1" fmla="*/ 176 h 176"/>
                  <a:gd name="T2" fmla="*/ 27 w 104"/>
                  <a:gd name="T3" fmla="*/ 164 h 176"/>
                  <a:gd name="T4" fmla="*/ 41 w 104"/>
                  <a:gd name="T5" fmla="*/ 157 h 176"/>
                  <a:gd name="T6" fmla="*/ 51 w 104"/>
                  <a:gd name="T7" fmla="*/ 153 h 176"/>
                  <a:gd name="T8" fmla="*/ 61 w 104"/>
                  <a:gd name="T9" fmla="*/ 149 h 176"/>
                  <a:gd name="T10" fmla="*/ 62 w 104"/>
                  <a:gd name="T11" fmla="*/ 126 h 176"/>
                  <a:gd name="T12" fmla="*/ 63 w 104"/>
                  <a:gd name="T13" fmla="*/ 120 h 176"/>
                  <a:gd name="T14" fmla="*/ 69 w 104"/>
                  <a:gd name="T15" fmla="*/ 109 h 176"/>
                  <a:gd name="T16" fmla="*/ 78 w 104"/>
                  <a:gd name="T17" fmla="*/ 98 h 176"/>
                  <a:gd name="T18" fmla="*/ 91 w 104"/>
                  <a:gd name="T19" fmla="*/ 89 h 176"/>
                  <a:gd name="T20" fmla="*/ 101 w 104"/>
                  <a:gd name="T21" fmla="*/ 86 h 176"/>
                  <a:gd name="T22" fmla="*/ 103 w 104"/>
                  <a:gd name="T23" fmla="*/ 85 h 176"/>
                  <a:gd name="T24" fmla="*/ 103 w 104"/>
                  <a:gd name="T25" fmla="*/ 85 h 176"/>
                  <a:gd name="T26" fmla="*/ 104 w 104"/>
                  <a:gd name="T27" fmla="*/ 84 h 176"/>
                  <a:gd name="T28" fmla="*/ 104 w 104"/>
                  <a:gd name="T29" fmla="*/ 84 h 176"/>
                  <a:gd name="T30" fmla="*/ 104 w 104"/>
                  <a:gd name="T31" fmla="*/ 83 h 176"/>
                  <a:gd name="T32" fmla="*/ 104 w 104"/>
                  <a:gd name="T33" fmla="*/ 82 h 176"/>
                  <a:gd name="T34" fmla="*/ 104 w 104"/>
                  <a:gd name="T35" fmla="*/ 81 h 176"/>
                  <a:gd name="T36" fmla="*/ 104 w 104"/>
                  <a:gd name="T37" fmla="*/ 80 h 176"/>
                  <a:gd name="T38" fmla="*/ 104 w 104"/>
                  <a:gd name="T39" fmla="*/ 79 h 176"/>
                  <a:gd name="T40" fmla="*/ 104 w 104"/>
                  <a:gd name="T41" fmla="*/ 78 h 176"/>
                  <a:gd name="T42" fmla="*/ 104 w 104"/>
                  <a:gd name="T43" fmla="*/ 77 h 176"/>
                  <a:gd name="T44" fmla="*/ 104 w 104"/>
                  <a:gd name="T45" fmla="*/ 76 h 176"/>
                  <a:gd name="T46" fmla="*/ 104 w 104"/>
                  <a:gd name="T47" fmla="*/ 75 h 176"/>
                  <a:gd name="T48" fmla="*/ 103 w 104"/>
                  <a:gd name="T49" fmla="*/ 72 h 176"/>
                  <a:gd name="T50" fmla="*/ 103 w 104"/>
                  <a:gd name="T51" fmla="*/ 71 h 176"/>
                  <a:gd name="T52" fmla="*/ 103 w 104"/>
                  <a:gd name="T53" fmla="*/ 70 h 176"/>
                  <a:gd name="T54" fmla="*/ 101 w 104"/>
                  <a:gd name="T55" fmla="*/ 69 h 176"/>
                  <a:gd name="T56" fmla="*/ 101 w 104"/>
                  <a:gd name="T57" fmla="*/ 68 h 176"/>
                  <a:gd name="T58" fmla="*/ 101 w 104"/>
                  <a:gd name="T59" fmla="*/ 67 h 176"/>
                  <a:gd name="T60" fmla="*/ 100 w 104"/>
                  <a:gd name="T61" fmla="*/ 66 h 176"/>
                  <a:gd name="T62" fmla="*/ 99 w 104"/>
                  <a:gd name="T63" fmla="*/ 65 h 176"/>
                  <a:gd name="T64" fmla="*/ 99 w 104"/>
                  <a:gd name="T65" fmla="*/ 64 h 176"/>
                  <a:gd name="T66" fmla="*/ 98 w 104"/>
                  <a:gd name="T67" fmla="*/ 63 h 176"/>
                  <a:gd name="T68" fmla="*/ 98 w 104"/>
                  <a:gd name="T69" fmla="*/ 62 h 176"/>
                  <a:gd name="T70" fmla="*/ 97 w 104"/>
                  <a:gd name="T71" fmla="*/ 61 h 176"/>
                  <a:gd name="T72" fmla="*/ 96 w 104"/>
                  <a:gd name="T73" fmla="*/ 61 h 176"/>
                  <a:gd name="T74" fmla="*/ 96 w 104"/>
                  <a:gd name="T75" fmla="*/ 60 h 176"/>
                  <a:gd name="T76" fmla="*/ 95 w 104"/>
                  <a:gd name="T77" fmla="*/ 60 h 176"/>
                  <a:gd name="T78" fmla="*/ 94 w 104"/>
                  <a:gd name="T79" fmla="*/ 59 h 176"/>
                  <a:gd name="T80" fmla="*/ 94 w 104"/>
                  <a:gd name="T81" fmla="*/ 59 h 176"/>
                  <a:gd name="T82" fmla="*/ 93 w 104"/>
                  <a:gd name="T83" fmla="*/ 59 h 176"/>
                  <a:gd name="T84" fmla="*/ 85 w 104"/>
                  <a:gd name="T85" fmla="*/ 60 h 176"/>
                  <a:gd name="T86" fmla="*/ 69 w 104"/>
                  <a:gd name="T87" fmla="*/ 67 h 176"/>
                  <a:gd name="T88" fmla="*/ 56 w 104"/>
                  <a:gd name="T89" fmla="*/ 39 h 176"/>
                  <a:gd name="T90" fmla="*/ 40 w 104"/>
                  <a:gd name="T91" fmla="*/ 9 h 176"/>
                  <a:gd name="T92" fmla="*/ 36 w 104"/>
                  <a:gd name="T93" fmla="*/ 4 h 176"/>
                  <a:gd name="T94" fmla="*/ 25 w 104"/>
                  <a:gd name="T95" fmla="*/ 0 h 176"/>
                  <a:gd name="T96" fmla="*/ 17 w 104"/>
                  <a:gd name="T97" fmla="*/ 2 h 176"/>
                  <a:gd name="T98" fmla="*/ 5 w 104"/>
                  <a:gd name="T99" fmla="*/ 7 h 176"/>
                  <a:gd name="T100" fmla="*/ 1 w 104"/>
                  <a:gd name="T101" fmla="*/ 13 h 176"/>
                  <a:gd name="T102" fmla="*/ 0 w 104"/>
                  <a:gd name="T103" fmla="*/ 17 h 176"/>
                  <a:gd name="T104" fmla="*/ 13 w 104"/>
                  <a:gd name="T105" fmla="*/ 54 h 176"/>
                  <a:gd name="T106" fmla="*/ 22 w 104"/>
                  <a:gd name="T107" fmla="*/ 86 h 176"/>
                  <a:gd name="T108" fmla="*/ 24 w 104"/>
                  <a:gd name="T109" fmla="*/ 92 h 176"/>
                  <a:gd name="T110" fmla="*/ 22 w 104"/>
                  <a:gd name="T111" fmla="*/ 109 h 176"/>
                  <a:gd name="T112" fmla="*/ 15 w 104"/>
                  <a:gd name="T113" fmla="*/ 150 h 176"/>
                  <a:gd name="T114" fmla="*/ 15 w 104"/>
                  <a:gd name="T115"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 h="176">
                    <a:moveTo>
                      <a:pt x="15" y="176"/>
                    </a:moveTo>
                    <a:lnTo>
                      <a:pt x="15" y="176"/>
                    </a:lnTo>
                    <a:lnTo>
                      <a:pt x="21" y="169"/>
                    </a:lnTo>
                    <a:lnTo>
                      <a:pt x="27" y="164"/>
                    </a:lnTo>
                    <a:lnTo>
                      <a:pt x="34" y="160"/>
                    </a:lnTo>
                    <a:lnTo>
                      <a:pt x="41" y="157"/>
                    </a:lnTo>
                    <a:lnTo>
                      <a:pt x="41" y="157"/>
                    </a:lnTo>
                    <a:lnTo>
                      <a:pt x="51" y="153"/>
                    </a:lnTo>
                    <a:lnTo>
                      <a:pt x="61" y="149"/>
                    </a:lnTo>
                    <a:lnTo>
                      <a:pt x="61" y="149"/>
                    </a:lnTo>
                    <a:lnTo>
                      <a:pt x="61" y="134"/>
                    </a:lnTo>
                    <a:lnTo>
                      <a:pt x="62" y="126"/>
                    </a:lnTo>
                    <a:lnTo>
                      <a:pt x="63" y="120"/>
                    </a:lnTo>
                    <a:lnTo>
                      <a:pt x="63" y="120"/>
                    </a:lnTo>
                    <a:lnTo>
                      <a:pt x="66" y="115"/>
                    </a:lnTo>
                    <a:lnTo>
                      <a:pt x="69" y="109"/>
                    </a:lnTo>
                    <a:lnTo>
                      <a:pt x="73" y="103"/>
                    </a:lnTo>
                    <a:lnTo>
                      <a:pt x="78" y="98"/>
                    </a:lnTo>
                    <a:lnTo>
                      <a:pt x="85" y="94"/>
                    </a:lnTo>
                    <a:lnTo>
                      <a:pt x="91" y="89"/>
                    </a:lnTo>
                    <a:lnTo>
                      <a:pt x="96" y="87"/>
                    </a:lnTo>
                    <a:lnTo>
                      <a:pt x="101" y="86"/>
                    </a:lnTo>
                    <a:lnTo>
                      <a:pt x="101" y="86"/>
                    </a:lnTo>
                    <a:lnTo>
                      <a:pt x="103" y="85"/>
                    </a:lnTo>
                    <a:lnTo>
                      <a:pt x="103" y="85"/>
                    </a:lnTo>
                    <a:lnTo>
                      <a:pt x="103" y="85"/>
                    </a:lnTo>
                    <a:lnTo>
                      <a:pt x="103" y="85"/>
                    </a:lnTo>
                    <a:lnTo>
                      <a:pt x="104" y="84"/>
                    </a:lnTo>
                    <a:lnTo>
                      <a:pt x="104" y="84"/>
                    </a:lnTo>
                    <a:lnTo>
                      <a:pt x="104" y="84"/>
                    </a:lnTo>
                    <a:lnTo>
                      <a:pt x="104" y="84"/>
                    </a:lnTo>
                    <a:lnTo>
                      <a:pt x="104" y="83"/>
                    </a:lnTo>
                    <a:lnTo>
                      <a:pt x="104" y="83"/>
                    </a:lnTo>
                    <a:lnTo>
                      <a:pt x="104" y="82"/>
                    </a:lnTo>
                    <a:lnTo>
                      <a:pt x="104" y="82"/>
                    </a:lnTo>
                    <a:lnTo>
                      <a:pt x="104" y="81"/>
                    </a:lnTo>
                    <a:lnTo>
                      <a:pt x="104" y="81"/>
                    </a:lnTo>
                    <a:lnTo>
                      <a:pt x="104" y="80"/>
                    </a:lnTo>
                    <a:lnTo>
                      <a:pt x="104" y="80"/>
                    </a:lnTo>
                    <a:lnTo>
                      <a:pt x="104" y="79"/>
                    </a:lnTo>
                    <a:lnTo>
                      <a:pt x="104" y="79"/>
                    </a:lnTo>
                    <a:lnTo>
                      <a:pt x="104" y="78"/>
                    </a:lnTo>
                    <a:lnTo>
                      <a:pt x="104" y="78"/>
                    </a:lnTo>
                    <a:lnTo>
                      <a:pt x="104" y="77"/>
                    </a:lnTo>
                    <a:lnTo>
                      <a:pt x="104" y="77"/>
                    </a:lnTo>
                    <a:lnTo>
                      <a:pt x="104" y="76"/>
                    </a:lnTo>
                    <a:lnTo>
                      <a:pt x="104" y="76"/>
                    </a:lnTo>
                    <a:lnTo>
                      <a:pt x="104" y="75"/>
                    </a:lnTo>
                    <a:lnTo>
                      <a:pt x="104" y="75"/>
                    </a:lnTo>
                    <a:lnTo>
                      <a:pt x="103" y="72"/>
                    </a:lnTo>
                    <a:lnTo>
                      <a:pt x="103" y="72"/>
                    </a:lnTo>
                    <a:lnTo>
                      <a:pt x="103" y="71"/>
                    </a:lnTo>
                    <a:lnTo>
                      <a:pt x="103" y="71"/>
                    </a:lnTo>
                    <a:lnTo>
                      <a:pt x="103" y="70"/>
                    </a:lnTo>
                    <a:lnTo>
                      <a:pt x="103" y="70"/>
                    </a:lnTo>
                    <a:lnTo>
                      <a:pt x="101" y="69"/>
                    </a:lnTo>
                    <a:lnTo>
                      <a:pt x="101" y="69"/>
                    </a:lnTo>
                    <a:lnTo>
                      <a:pt x="101" y="68"/>
                    </a:lnTo>
                    <a:lnTo>
                      <a:pt x="101" y="68"/>
                    </a:lnTo>
                    <a:lnTo>
                      <a:pt x="101" y="67"/>
                    </a:lnTo>
                    <a:lnTo>
                      <a:pt x="101" y="67"/>
                    </a:lnTo>
                    <a:lnTo>
                      <a:pt x="100" y="66"/>
                    </a:lnTo>
                    <a:lnTo>
                      <a:pt x="100" y="66"/>
                    </a:lnTo>
                    <a:lnTo>
                      <a:pt x="99" y="65"/>
                    </a:lnTo>
                    <a:lnTo>
                      <a:pt x="99" y="65"/>
                    </a:lnTo>
                    <a:lnTo>
                      <a:pt x="99" y="64"/>
                    </a:lnTo>
                    <a:lnTo>
                      <a:pt x="99" y="64"/>
                    </a:lnTo>
                    <a:lnTo>
                      <a:pt x="98" y="63"/>
                    </a:lnTo>
                    <a:lnTo>
                      <a:pt x="98" y="63"/>
                    </a:lnTo>
                    <a:lnTo>
                      <a:pt x="98" y="62"/>
                    </a:lnTo>
                    <a:lnTo>
                      <a:pt x="98" y="62"/>
                    </a:lnTo>
                    <a:lnTo>
                      <a:pt x="97" y="61"/>
                    </a:lnTo>
                    <a:lnTo>
                      <a:pt x="97" y="61"/>
                    </a:lnTo>
                    <a:lnTo>
                      <a:pt x="96" y="61"/>
                    </a:lnTo>
                    <a:lnTo>
                      <a:pt x="96" y="61"/>
                    </a:lnTo>
                    <a:lnTo>
                      <a:pt x="96" y="60"/>
                    </a:lnTo>
                    <a:lnTo>
                      <a:pt x="96" y="60"/>
                    </a:lnTo>
                    <a:lnTo>
                      <a:pt x="95" y="60"/>
                    </a:lnTo>
                    <a:lnTo>
                      <a:pt x="95" y="60"/>
                    </a:lnTo>
                    <a:lnTo>
                      <a:pt x="94" y="59"/>
                    </a:lnTo>
                    <a:lnTo>
                      <a:pt x="94" y="59"/>
                    </a:lnTo>
                    <a:lnTo>
                      <a:pt x="94" y="59"/>
                    </a:lnTo>
                    <a:lnTo>
                      <a:pt x="94" y="59"/>
                    </a:lnTo>
                    <a:lnTo>
                      <a:pt x="93" y="59"/>
                    </a:lnTo>
                    <a:lnTo>
                      <a:pt x="93" y="59"/>
                    </a:lnTo>
                    <a:lnTo>
                      <a:pt x="85" y="60"/>
                    </a:lnTo>
                    <a:lnTo>
                      <a:pt x="76" y="63"/>
                    </a:lnTo>
                    <a:lnTo>
                      <a:pt x="69" y="67"/>
                    </a:lnTo>
                    <a:lnTo>
                      <a:pt x="69" y="67"/>
                    </a:lnTo>
                    <a:lnTo>
                      <a:pt x="56" y="39"/>
                    </a:lnTo>
                    <a:lnTo>
                      <a:pt x="45" y="18"/>
                    </a:lnTo>
                    <a:lnTo>
                      <a:pt x="40" y="9"/>
                    </a:lnTo>
                    <a:lnTo>
                      <a:pt x="36" y="4"/>
                    </a:lnTo>
                    <a:lnTo>
                      <a:pt x="36" y="4"/>
                    </a:lnTo>
                    <a:lnTo>
                      <a:pt x="32" y="1"/>
                    </a:lnTo>
                    <a:lnTo>
                      <a:pt x="25" y="0"/>
                    </a:lnTo>
                    <a:lnTo>
                      <a:pt x="25" y="0"/>
                    </a:lnTo>
                    <a:lnTo>
                      <a:pt x="17" y="2"/>
                    </a:lnTo>
                    <a:lnTo>
                      <a:pt x="8" y="5"/>
                    </a:lnTo>
                    <a:lnTo>
                      <a:pt x="5" y="7"/>
                    </a:lnTo>
                    <a:lnTo>
                      <a:pt x="3" y="10"/>
                    </a:lnTo>
                    <a:lnTo>
                      <a:pt x="1" y="13"/>
                    </a:lnTo>
                    <a:lnTo>
                      <a:pt x="0" y="17"/>
                    </a:lnTo>
                    <a:lnTo>
                      <a:pt x="0" y="17"/>
                    </a:lnTo>
                    <a:lnTo>
                      <a:pt x="4" y="32"/>
                    </a:lnTo>
                    <a:lnTo>
                      <a:pt x="13" y="54"/>
                    </a:lnTo>
                    <a:lnTo>
                      <a:pt x="20" y="78"/>
                    </a:lnTo>
                    <a:lnTo>
                      <a:pt x="22" y="86"/>
                    </a:lnTo>
                    <a:lnTo>
                      <a:pt x="24" y="92"/>
                    </a:lnTo>
                    <a:lnTo>
                      <a:pt x="24" y="92"/>
                    </a:lnTo>
                    <a:lnTo>
                      <a:pt x="23" y="101"/>
                    </a:lnTo>
                    <a:lnTo>
                      <a:pt x="22" y="109"/>
                    </a:lnTo>
                    <a:lnTo>
                      <a:pt x="19" y="128"/>
                    </a:lnTo>
                    <a:lnTo>
                      <a:pt x="15" y="150"/>
                    </a:lnTo>
                    <a:lnTo>
                      <a:pt x="15" y="163"/>
                    </a:lnTo>
                    <a:lnTo>
                      <a:pt x="15" y="176"/>
                    </a:lnTo>
                    <a:lnTo>
                      <a:pt x="15" y="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grpSp>
        <p:grpSp>
          <p:nvGrpSpPr>
            <p:cNvPr id="10" name="Group 9">
              <a:extLst>
                <a:ext uri="{FF2B5EF4-FFF2-40B4-BE49-F238E27FC236}">
                  <a16:creationId xmlns:a16="http://schemas.microsoft.com/office/drawing/2014/main" id="{A8963F60-D454-8A2B-4DD5-D753312872BB}"/>
                </a:ext>
              </a:extLst>
            </p:cNvPr>
            <p:cNvGrpSpPr>
              <a:grpSpLocks noChangeAspect="1"/>
            </p:cNvGrpSpPr>
            <p:nvPr/>
          </p:nvGrpSpPr>
          <p:grpSpPr bwMode="auto">
            <a:xfrm>
              <a:off x="7592966" y="706928"/>
              <a:ext cx="723953" cy="757238"/>
              <a:chOff x="7592966" y="706928"/>
              <a:chExt cx="480" cy="477"/>
            </a:xfrm>
            <a:gradFill>
              <a:gsLst>
                <a:gs pos="0">
                  <a:srgbClr val="0077D4"/>
                </a:gs>
                <a:gs pos="100000">
                  <a:srgbClr val="5FA04D"/>
                </a:gs>
              </a:gsLst>
              <a:lin ang="0" scaled="1"/>
            </a:gradFill>
          </p:grpSpPr>
          <p:sp>
            <p:nvSpPr>
              <p:cNvPr id="190" name="Freeform 5">
                <a:extLst>
                  <a:ext uri="{FF2B5EF4-FFF2-40B4-BE49-F238E27FC236}">
                    <a16:creationId xmlns:a16="http://schemas.microsoft.com/office/drawing/2014/main" id="{0AFA3243-A12F-ACD7-2906-D9CD9E5890DF}"/>
                  </a:ext>
                </a:extLst>
              </p:cNvPr>
              <p:cNvSpPr>
                <a:spLocks noEditPoints="1"/>
              </p:cNvSpPr>
              <p:nvPr/>
            </p:nvSpPr>
            <p:spPr bwMode="auto">
              <a:xfrm>
                <a:off x="7592966" y="706996"/>
                <a:ext cx="301" cy="342"/>
              </a:xfrm>
              <a:custGeom>
                <a:avLst/>
                <a:gdLst>
                  <a:gd name="T0" fmla="*/ 58 w 301"/>
                  <a:gd name="T1" fmla="*/ 0 h 342"/>
                  <a:gd name="T2" fmla="*/ 25 w 301"/>
                  <a:gd name="T3" fmla="*/ 10 h 342"/>
                  <a:gd name="T4" fmla="*/ 4 w 301"/>
                  <a:gd name="T5" fmla="*/ 35 h 342"/>
                  <a:gd name="T6" fmla="*/ 0 w 301"/>
                  <a:gd name="T7" fmla="*/ 284 h 342"/>
                  <a:gd name="T8" fmla="*/ 4 w 301"/>
                  <a:gd name="T9" fmla="*/ 306 h 342"/>
                  <a:gd name="T10" fmla="*/ 25 w 301"/>
                  <a:gd name="T11" fmla="*/ 331 h 342"/>
                  <a:gd name="T12" fmla="*/ 58 w 301"/>
                  <a:gd name="T13" fmla="*/ 342 h 342"/>
                  <a:gd name="T14" fmla="*/ 255 w 301"/>
                  <a:gd name="T15" fmla="*/ 341 h 342"/>
                  <a:gd name="T16" fmla="*/ 284 w 301"/>
                  <a:gd name="T17" fmla="*/ 325 h 342"/>
                  <a:gd name="T18" fmla="*/ 300 w 301"/>
                  <a:gd name="T19" fmla="*/ 295 h 342"/>
                  <a:gd name="T20" fmla="*/ 301 w 301"/>
                  <a:gd name="T21" fmla="*/ 57 h 342"/>
                  <a:gd name="T22" fmla="*/ 292 w 301"/>
                  <a:gd name="T23" fmla="*/ 26 h 342"/>
                  <a:gd name="T24" fmla="*/ 265 w 301"/>
                  <a:gd name="T25" fmla="*/ 5 h 342"/>
                  <a:gd name="T26" fmla="*/ 243 w 301"/>
                  <a:gd name="T27" fmla="*/ 0 h 342"/>
                  <a:gd name="T28" fmla="*/ 279 w 301"/>
                  <a:gd name="T29" fmla="*/ 291 h 342"/>
                  <a:gd name="T30" fmla="*/ 270 w 301"/>
                  <a:gd name="T31" fmla="*/ 310 h 342"/>
                  <a:gd name="T32" fmla="*/ 251 w 301"/>
                  <a:gd name="T33" fmla="*/ 319 h 342"/>
                  <a:gd name="T34" fmla="*/ 58 w 301"/>
                  <a:gd name="T35" fmla="*/ 321 h 342"/>
                  <a:gd name="T36" fmla="*/ 37 w 301"/>
                  <a:gd name="T37" fmla="*/ 314 h 342"/>
                  <a:gd name="T38" fmla="*/ 24 w 301"/>
                  <a:gd name="T39" fmla="*/ 298 h 342"/>
                  <a:gd name="T40" fmla="*/ 21 w 301"/>
                  <a:gd name="T41" fmla="*/ 194 h 342"/>
                  <a:gd name="T42" fmla="*/ 68 w 301"/>
                  <a:gd name="T43" fmla="*/ 193 h 342"/>
                  <a:gd name="T44" fmla="*/ 72 w 301"/>
                  <a:gd name="T45" fmla="*/ 189 h 342"/>
                  <a:gd name="T46" fmla="*/ 85 w 301"/>
                  <a:gd name="T47" fmla="*/ 222 h 342"/>
                  <a:gd name="T48" fmla="*/ 89 w 301"/>
                  <a:gd name="T49" fmla="*/ 226 h 342"/>
                  <a:gd name="T50" fmla="*/ 91 w 301"/>
                  <a:gd name="T51" fmla="*/ 227 h 342"/>
                  <a:gd name="T52" fmla="*/ 95 w 301"/>
                  <a:gd name="T53" fmla="*/ 225 h 342"/>
                  <a:gd name="T54" fmla="*/ 115 w 301"/>
                  <a:gd name="T55" fmla="*/ 117 h 342"/>
                  <a:gd name="T56" fmla="*/ 130 w 301"/>
                  <a:gd name="T57" fmla="*/ 273 h 342"/>
                  <a:gd name="T58" fmla="*/ 135 w 301"/>
                  <a:gd name="T59" fmla="*/ 276 h 342"/>
                  <a:gd name="T60" fmla="*/ 135 w 301"/>
                  <a:gd name="T61" fmla="*/ 276 h 342"/>
                  <a:gd name="T62" fmla="*/ 141 w 301"/>
                  <a:gd name="T63" fmla="*/ 273 h 342"/>
                  <a:gd name="T64" fmla="*/ 167 w 301"/>
                  <a:gd name="T65" fmla="*/ 215 h 342"/>
                  <a:gd name="T66" fmla="*/ 172 w 301"/>
                  <a:gd name="T67" fmla="*/ 221 h 342"/>
                  <a:gd name="T68" fmla="*/ 178 w 301"/>
                  <a:gd name="T69" fmla="*/ 218 h 342"/>
                  <a:gd name="T70" fmla="*/ 280 w 301"/>
                  <a:gd name="T71" fmla="*/ 194 h 342"/>
                  <a:gd name="T72" fmla="*/ 187 w 301"/>
                  <a:gd name="T73" fmla="*/ 182 h 342"/>
                  <a:gd name="T74" fmla="*/ 182 w 301"/>
                  <a:gd name="T75" fmla="*/ 185 h 342"/>
                  <a:gd name="T76" fmla="*/ 163 w 301"/>
                  <a:gd name="T77" fmla="*/ 105 h 342"/>
                  <a:gd name="T78" fmla="*/ 160 w 301"/>
                  <a:gd name="T79" fmla="*/ 99 h 342"/>
                  <a:gd name="T80" fmla="*/ 154 w 301"/>
                  <a:gd name="T81" fmla="*/ 99 h 342"/>
                  <a:gd name="T82" fmla="*/ 151 w 301"/>
                  <a:gd name="T83" fmla="*/ 105 h 342"/>
                  <a:gd name="T84" fmla="*/ 124 w 301"/>
                  <a:gd name="T85" fmla="*/ 68 h 342"/>
                  <a:gd name="T86" fmla="*/ 119 w 301"/>
                  <a:gd name="T87" fmla="*/ 63 h 342"/>
                  <a:gd name="T88" fmla="*/ 115 w 301"/>
                  <a:gd name="T89" fmla="*/ 63 h 342"/>
                  <a:gd name="T90" fmla="*/ 111 w 301"/>
                  <a:gd name="T91" fmla="*/ 68 h 342"/>
                  <a:gd name="T92" fmla="*/ 82 w 301"/>
                  <a:gd name="T93" fmla="*/ 131 h 342"/>
                  <a:gd name="T94" fmla="*/ 78 w 301"/>
                  <a:gd name="T95" fmla="*/ 127 h 342"/>
                  <a:gd name="T96" fmla="*/ 76 w 301"/>
                  <a:gd name="T97" fmla="*/ 126 h 342"/>
                  <a:gd name="T98" fmla="*/ 72 w 301"/>
                  <a:gd name="T99" fmla="*/ 127 h 342"/>
                  <a:gd name="T100" fmla="*/ 60 w 301"/>
                  <a:gd name="T101" fmla="*/ 182 h 342"/>
                  <a:gd name="T102" fmla="*/ 21 w 301"/>
                  <a:gd name="T103" fmla="*/ 57 h 342"/>
                  <a:gd name="T104" fmla="*/ 27 w 301"/>
                  <a:gd name="T105" fmla="*/ 37 h 342"/>
                  <a:gd name="T106" fmla="*/ 43 w 301"/>
                  <a:gd name="T107" fmla="*/ 24 h 342"/>
                  <a:gd name="T108" fmla="*/ 243 w 301"/>
                  <a:gd name="T109" fmla="*/ 20 h 342"/>
                  <a:gd name="T110" fmla="*/ 258 w 301"/>
                  <a:gd name="T111" fmla="*/ 24 h 342"/>
                  <a:gd name="T112" fmla="*/ 274 w 301"/>
                  <a:gd name="T113" fmla="*/ 37 h 342"/>
                  <a:gd name="T114" fmla="*/ 280 w 301"/>
                  <a:gd name="T115" fmla="*/ 57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1" h="342">
                    <a:moveTo>
                      <a:pt x="243" y="0"/>
                    </a:moveTo>
                    <a:lnTo>
                      <a:pt x="58" y="0"/>
                    </a:lnTo>
                    <a:lnTo>
                      <a:pt x="58" y="0"/>
                    </a:lnTo>
                    <a:lnTo>
                      <a:pt x="47" y="1"/>
                    </a:lnTo>
                    <a:lnTo>
                      <a:pt x="36" y="5"/>
                    </a:lnTo>
                    <a:lnTo>
                      <a:pt x="25" y="10"/>
                    </a:lnTo>
                    <a:lnTo>
                      <a:pt x="17" y="17"/>
                    </a:lnTo>
                    <a:lnTo>
                      <a:pt x="10" y="26"/>
                    </a:lnTo>
                    <a:lnTo>
                      <a:pt x="4" y="35"/>
                    </a:lnTo>
                    <a:lnTo>
                      <a:pt x="1" y="46"/>
                    </a:lnTo>
                    <a:lnTo>
                      <a:pt x="0" y="57"/>
                    </a:lnTo>
                    <a:lnTo>
                      <a:pt x="0" y="284"/>
                    </a:lnTo>
                    <a:lnTo>
                      <a:pt x="0" y="284"/>
                    </a:lnTo>
                    <a:lnTo>
                      <a:pt x="1" y="295"/>
                    </a:lnTo>
                    <a:lnTo>
                      <a:pt x="4" y="306"/>
                    </a:lnTo>
                    <a:lnTo>
                      <a:pt x="10" y="316"/>
                    </a:lnTo>
                    <a:lnTo>
                      <a:pt x="17" y="325"/>
                    </a:lnTo>
                    <a:lnTo>
                      <a:pt x="25" y="331"/>
                    </a:lnTo>
                    <a:lnTo>
                      <a:pt x="36" y="336"/>
                    </a:lnTo>
                    <a:lnTo>
                      <a:pt x="47" y="341"/>
                    </a:lnTo>
                    <a:lnTo>
                      <a:pt x="58" y="342"/>
                    </a:lnTo>
                    <a:lnTo>
                      <a:pt x="243" y="342"/>
                    </a:lnTo>
                    <a:lnTo>
                      <a:pt x="243" y="342"/>
                    </a:lnTo>
                    <a:lnTo>
                      <a:pt x="255" y="341"/>
                    </a:lnTo>
                    <a:lnTo>
                      <a:pt x="265" y="336"/>
                    </a:lnTo>
                    <a:lnTo>
                      <a:pt x="276" y="331"/>
                    </a:lnTo>
                    <a:lnTo>
                      <a:pt x="284" y="325"/>
                    </a:lnTo>
                    <a:lnTo>
                      <a:pt x="292" y="316"/>
                    </a:lnTo>
                    <a:lnTo>
                      <a:pt x="297" y="306"/>
                    </a:lnTo>
                    <a:lnTo>
                      <a:pt x="300" y="295"/>
                    </a:lnTo>
                    <a:lnTo>
                      <a:pt x="301" y="284"/>
                    </a:lnTo>
                    <a:lnTo>
                      <a:pt x="301" y="57"/>
                    </a:lnTo>
                    <a:lnTo>
                      <a:pt x="301" y="57"/>
                    </a:lnTo>
                    <a:lnTo>
                      <a:pt x="300" y="46"/>
                    </a:lnTo>
                    <a:lnTo>
                      <a:pt x="297" y="35"/>
                    </a:lnTo>
                    <a:lnTo>
                      <a:pt x="292" y="26"/>
                    </a:lnTo>
                    <a:lnTo>
                      <a:pt x="284" y="17"/>
                    </a:lnTo>
                    <a:lnTo>
                      <a:pt x="276" y="10"/>
                    </a:lnTo>
                    <a:lnTo>
                      <a:pt x="265" y="5"/>
                    </a:lnTo>
                    <a:lnTo>
                      <a:pt x="255" y="1"/>
                    </a:lnTo>
                    <a:lnTo>
                      <a:pt x="243" y="0"/>
                    </a:lnTo>
                    <a:lnTo>
                      <a:pt x="243" y="0"/>
                    </a:lnTo>
                    <a:close/>
                    <a:moveTo>
                      <a:pt x="280" y="284"/>
                    </a:moveTo>
                    <a:lnTo>
                      <a:pt x="280" y="284"/>
                    </a:lnTo>
                    <a:lnTo>
                      <a:pt x="279" y="291"/>
                    </a:lnTo>
                    <a:lnTo>
                      <a:pt x="277" y="298"/>
                    </a:lnTo>
                    <a:lnTo>
                      <a:pt x="274" y="305"/>
                    </a:lnTo>
                    <a:lnTo>
                      <a:pt x="270" y="310"/>
                    </a:lnTo>
                    <a:lnTo>
                      <a:pt x="264" y="314"/>
                    </a:lnTo>
                    <a:lnTo>
                      <a:pt x="258" y="317"/>
                    </a:lnTo>
                    <a:lnTo>
                      <a:pt x="251" y="319"/>
                    </a:lnTo>
                    <a:lnTo>
                      <a:pt x="243" y="321"/>
                    </a:lnTo>
                    <a:lnTo>
                      <a:pt x="58" y="321"/>
                    </a:lnTo>
                    <a:lnTo>
                      <a:pt x="58" y="321"/>
                    </a:lnTo>
                    <a:lnTo>
                      <a:pt x="51" y="319"/>
                    </a:lnTo>
                    <a:lnTo>
                      <a:pt x="43" y="317"/>
                    </a:lnTo>
                    <a:lnTo>
                      <a:pt x="37" y="314"/>
                    </a:lnTo>
                    <a:lnTo>
                      <a:pt x="32" y="310"/>
                    </a:lnTo>
                    <a:lnTo>
                      <a:pt x="27" y="305"/>
                    </a:lnTo>
                    <a:lnTo>
                      <a:pt x="24" y="298"/>
                    </a:lnTo>
                    <a:lnTo>
                      <a:pt x="22" y="291"/>
                    </a:lnTo>
                    <a:lnTo>
                      <a:pt x="21" y="284"/>
                    </a:lnTo>
                    <a:lnTo>
                      <a:pt x="21" y="194"/>
                    </a:lnTo>
                    <a:lnTo>
                      <a:pt x="66" y="194"/>
                    </a:lnTo>
                    <a:lnTo>
                      <a:pt x="66" y="194"/>
                    </a:lnTo>
                    <a:lnTo>
                      <a:pt x="68" y="193"/>
                    </a:lnTo>
                    <a:lnTo>
                      <a:pt x="70" y="192"/>
                    </a:lnTo>
                    <a:lnTo>
                      <a:pt x="71" y="191"/>
                    </a:lnTo>
                    <a:lnTo>
                      <a:pt x="72" y="189"/>
                    </a:lnTo>
                    <a:lnTo>
                      <a:pt x="76" y="168"/>
                    </a:lnTo>
                    <a:lnTo>
                      <a:pt x="85" y="222"/>
                    </a:lnTo>
                    <a:lnTo>
                      <a:pt x="85" y="222"/>
                    </a:lnTo>
                    <a:lnTo>
                      <a:pt x="86" y="224"/>
                    </a:lnTo>
                    <a:lnTo>
                      <a:pt x="87" y="225"/>
                    </a:lnTo>
                    <a:lnTo>
                      <a:pt x="89" y="226"/>
                    </a:lnTo>
                    <a:lnTo>
                      <a:pt x="91" y="227"/>
                    </a:lnTo>
                    <a:lnTo>
                      <a:pt x="91" y="227"/>
                    </a:lnTo>
                    <a:lnTo>
                      <a:pt x="91" y="227"/>
                    </a:lnTo>
                    <a:lnTo>
                      <a:pt x="91" y="227"/>
                    </a:lnTo>
                    <a:lnTo>
                      <a:pt x="93" y="226"/>
                    </a:lnTo>
                    <a:lnTo>
                      <a:pt x="95" y="225"/>
                    </a:lnTo>
                    <a:lnTo>
                      <a:pt x="96" y="224"/>
                    </a:lnTo>
                    <a:lnTo>
                      <a:pt x="97" y="222"/>
                    </a:lnTo>
                    <a:lnTo>
                      <a:pt x="115" y="117"/>
                    </a:lnTo>
                    <a:lnTo>
                      <a:pt x="129" y="271"/>
                    </a:lnTo>
                    <a:lnTo>
                      <a:pt x="129" y="271"/>
                    </a:lnTo>
                    <a:lnTo>
                      <a:pt x="130" y="273"/>
                    </a:lnTo>
                    <a:lnTo>
                      <a:pt x="131" y="274"/>
                    </a:lnTo>
                    <a:lnTo>
                      <a:pt x="133" y="276"/>
                    </a:lnTo>
                    <a:lnTo>
                      <a:pt x="135" y="276"/>
                    </a:lnTo>
                    <a:lnTo>
                      <a:pt x="135" y="276"/>
                    </a:lnTo>
                    <a:lnTo>
                      <a:pt x="135" y="276"/>
                    </a:lnTo>
                    <a:lnTo>
                      <a:pt x="135" y="276"/>
                    </a:lnTo>
                    <a:lnTo>
                      <a:pt x="137" y="276"/>
                    </a:lnTo>
                    <a:lnTo>
                      <a:pt x="140" y="275"/>
                    </a:lnTo>
                    <a:lnTo>
                      <a:pt x="141" y="273"/>
                    </a:lnTo>
                    <a:lnTo>
                      <a:pt x="142" y="271"/>
                    </a:lnTo>
                    <a:lnTo>
                      <a:pt x="158" y="151"/>
                    </a:lnTo>
                    <a:lnTo>
                      <a:pt x="167" y="215"/>
                    </a:lnTo>
                    <a:lnTo>
                      <a:pt x="167" y="215"/>
                    </a:lnTo>
                    <a:lnTo>
                      <a:pt x="168" y="218"/>
                    </a:lnTo>
                    <a:lnTo>
                      <a:pt x="172" y="221"/>
                    </a:lnTo>
                    <a:lnTo>
                      <a:pt x="172" y="221"/>
                    </a:lnTo>
                    <a:lnTo>
                      <a:pt x="176" y="219"/>
                    </a:lnTo>
                    <a:lnTo>
                      <a:pt x="178" y="218"/>
                    </a:lnTo>
                    <a:lnTo>
                      <a:pt x="179" y="217"/>
                    </a:lnTo>
                    <a:lnTo>
                      <a:pt x="190" y="194"/>
                    </a:lnTo>
                    <a:lnTo>
                      <a:pt x="280" y="194"/>
                    </a:lnTo>
                    <a:lnTo>
                      <a:pt x="280" y="284"/>
                    </a:lnTo>
                    <a:close/>
                    <a:moveTo>
                      <a:pt x="280" y="182"/>
                    </a:moveTo>
                    <a:lnTo>
                      <a:pt x="187" y="182"/>
                    </a:lnTo>
                    <a:lnTo>
                      <a:pt x="187" y="182"/>
                    </a:lnTo>
                    <a:lnTo>
                      <a:pt x="184" y="183"/>
                    </a:lnTo>
                    <a:lnTo>
                      <a:pt x="182" y="185"/>
                    </a:lnTo>
                    <a:lnTo>
                      <a:pt x="177" y="194"/>
                    </a:lnTo>
                    <a:lnTo>
                      <a:pt x="163" y="105"/>
                    </a:lnTo>
                    <a:lnTo>
                      <a:pt x="163" y="105"/>
                    </a:lnTo>
                    <a:lnTo>
                      <a:pt x="163" y="103"/>
                    </a:lnTo>
                    <a:lnTo>
                      <a:pt x="161" y="100"/>
                    </a:lnTo>
                    <a:lnTo>
                      <a:pt x="160" y="99"/>
                    </a:lnTo>
                    <a:lnTo>
                      <a:pt x="156" y="98"/>
                    </a:lnTo>
                    <a:lnTo>
                      <a:pt x="156" y="98"/>
                    </a:lnTo>
                    <a:lnTo>
                      <a:pt x="154" y="99"/>
                    </a:lnTo>
                    <a:lnTo>
                      <a:pt x="153" y="100"/>
                    </a:lnTo>
                    <a:lnTo>
                      <a:pt x="151" y="103"/>
                    </a:lnTo>
                    <a:lnTo>
                      <a:pt x="151" y="105"/>
                    </a:lnTo>
                    <a:lnTo>
                      <a:pt x="136" y="213"/>
                    </a:lnTo>
                    <a:lnTo>
                      <a:pt x="124" y="68"/>
                    </a:lnTo>
                    <a:lnTo>
                      <a:pt x="124" y="68"/>
                    </a:lnTo>
                    <a:lnTo>
                      <a:pt x="123" y="66"/>
                    </a:lnTo>
                    <a:lnTo>
                      <a:pt x="122" y="64"/>
                    </a:lnTo>
                    <a:lnTo>
                      <a:pt x="119" y="63"/>
                    </a:lnTo>
                    <a:lnTo>
                      <a:pt x="117" y="63"/>
                    </a:lnTo>
                    <a:lnTo>
                      <a:pt x="117" y="63"/>
                    </a:lnTo>
                    <a:lnTo>
                      <a:pt x="115" y="63"/>
                    </a:lnTo>
                    <a:lnTo>
                      <a:pt x="113" y="64"/>
                    </a:lnTo>
                    <a:lnTo>
                      <a:pt x="112" y="66"/>
                    </a:lnTo>
                    <a:lnTo>
                      <a:pt x="111" y="68"/>
                    </a:lnTo>
                    <a:lnTo>
                      <a:pt x="91" y="184"/>
                    </a:lnTo>
                    <a:lnTo>
                      <a:pt x="82" y="131"/>
                    </a:lnTo>
                    <a:lnTo>
                      <a:pt x="82" y="131"/>
                    </a:lnTo>
                    <a:lnTo>
                      <a:pt x="81" y="129"/>
                    </a:lnTo>
                    <a:lnTo>
                      <a:pt x="80" y="128"/>
                    </a:lnTo>
                    <a:lnTo>
                      <a:pt x="78" y="127"/>
                    </a:lnTo>
                    <a:lnTo>
                      <a:pt x="76" y="126"/>
                    </a:lnTo>
                    <a:lnTo>
                      <a:pt x="76" y="126"/>
                    </a:lnTo>
                    <a:lnTo>
                      <a:pt x="76" y="126"/>
                    </a:lnTo>
                    <a:lnTo>
                      <a:pt x="76" y="126"/>
                    </a:lnTo>
                    <a:lnTo>
                      <a:pt x="74" y="126"/>
                    </a:lnTo>
                    <a:lnTo>
                      <a:pt x="72" y="127"/>
                    </a:lnTo>
                    <a:lnTo>
                      <a:pt x="71" y="129"/>
                    </a:lnTo>
                    <a:lnTo>
                      <a:pt x="70" y="131"/>
                    </a:lnTo>
                    <a:lnTo>
                      <a:pt x="60" y="182"/>
                    </a:lnTo>
                    <a:lnTo>
                      <a:pt x="21" y="182"/>
                    </a:lnTo>
                    <a:lnTo>
                      <a:pt x="21" y="57"/>
                    </a:lnTo>
                    <a:lnTo>
                      <a:pt x="21" y="57"/>
                    </a:lnTo>
                    <a:lnTo>
                      <a:pt x="22" y="50"/>
                    </a:lnTo>
                    <a:lnTo>
                      <a:pt x="24" y="44"/>
                    </a:lnTo>
                    <a:lnTo>
                      <a:pt x="27" y="37"/>
                    </a:lnTo>
                    <a:lnTo>
                      <a:pt x="32" y="32"/>
                    </a:lnTo>
                    <a:lnTo>
                      <a:pt x="37" y="27"/>
                    </a:lnTo>
                    <a:lnTo>
                      <a:pt x="43" y="24"/>
                    </a:lnTo>
                    <a:lnTo>
                      <a:pt x="51" y="22"/>
                    </a:lnTo>
                    <a:lnTo>
                      <a:pt x="58" y="20"/>
                    </a:lnTo>
                    <a:lnTo>
                      <a:pt x="243" y="20"/>
                    </a:lnTo>
                    <a:lnTo>
                      <a:pt x="243" y="20"/>
                    </a:lnTo>
                    <a:lnTo>
                      <a:pt x="251" y="22"/>
                    </a:lnTo>
                    <a:lnTo>
                      <a:pt x="258" y="24"/>
                    </a:lnTo>
                    <a:lnTo>
                      <a:pt x="264" y="27"/>
                    </a:lnTo>
                    <a:lnTo>
                      <a:pt x="270" y="32"/>
                    </a:lnTo>
                    <a:lnTo>
                      <a:pt x="274" y="37"/>
                    </a:lnTo>
                    <a:lnTo>
                      <a:pt x="277" y="44"/>
                    </a:lnTo>
                    <a:lnTo>
                      <a:pt x="279" y="50"/>
                    </a:lnTo>
                    <a:lnTo>
                      <a:pt x="280" y="57"/>
                    </a:lnTo>
                    <a:lnTo>
                      <a:pt x="280"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91" name="Freeform 6">
                <a:extLst>
                  <a:ext uri="{FF2B5EF4-FFF2-40B4-BE49-F238E27FC236}">
                    <a16:creationId xmlns:a16="http://schemas.microsoft.com/office/drawing/2014/main" id="{B9E4AF4D-92F7-FFB0-4C6D-EA4C270E9C47}"/>
                  </a:ext>
                </a:extLst>
              </p:cNvPr>
              <p:cNvSpPr>
                <a:spLocks/>
              </p:cNvSpPr>
              <p:nvPr/>
            </p:nvSpPr>
            <p:spPr bwMode="auto">
              <a:xfrm>
                <a:off x="7593017" y="706928"/>
                <a:ext cx="201" cy="56"/>
              </a:xfrm>
              <a:custGeom>
                <a:avLst/>
                <a:gdLst>
                  <a:gd name="T0" fmla="*/ 173 w 201"/>
                  <a:gd name="T1" fmla="*/ 0 h 56"/>
                  <a:gd name="T2" fmla="*/ 27 w 201"/>
                  <a:gd name="T3" fmla="*/ 0 h 56"/>
                  <a:gd name="T4" fmla="*/ 0 w 201"/>
                  <a:gd name="T5" fmla="*/ 56 h 56"/>
                  <a:gd name="T6" fmla="*/ 201 w 201"/>
                  <a:gd name="T7" fmla="*/ 56 h 56"/>
                  <a:gd name="T8" fmla="*/ 173 w 201"/>
                  <a:gd name="T9" fmla="*/ 0 h 56"/>
                </a:gdLst>
                <a:ahLst/>
                <a:cxnLst>
                  <a:cxn ang="0">
                    <a:pos x="T0" y="T1"/>
                  </a:cxn>
                  <a:cxn ang="0">
                    <a:pos x="T2" y="T3"/>
                  </a:cxn>
                  <a:cxn ang="0">
                    <a:pos x="T4" y="T5"/>
                  </a:cxn>
                  <a:cxn ang="0">
                    <a:pos x="T6" y="T7"/>
                  </a:cxn>
                  <a:cxn ang="0">
                    <a:pos x="T8" y="T9"/>
                  </a:cxn>
                </a:cxnLst>
                <a:rect l="0" t="0" r="r" b="b"/>
                <a:pathLst>
                  <a:path w="201" h="56">
                    <a:moveTo>
                      <a:pt x="173" y="0"/>
                    </a:moveTo>
                    <a:lnTo>
                      <a:pt x="27" y="0"/>
                    </a:lnTo>
                    <a:lnTo>
                      <a:pt x="0" y="56"/>
                    </a:lnTo>
                    <a:lnTo>
                      <a:pt x="201" y="56"/>
                    </a:lnTo>
                    <a:lnTo>
                      <a:pt x="17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92" name="Freeform 7">
                <a:extLst>
                  <a:ext uri="{FF2B5EF4-FFF2-40B4-BE49-F238E27FC236}">
                    <a16:creationId xmlns:a16="http://schemas.microsoft.com/office/drawing/2014/main" id="{97CD5D4E-9416-B6AB-BABF-64D7F5334A57}"/>
                  </a:ext>
                </a:extLst>
              </p:cNvPr>
              <p:cNvSpPr>
                <a:spLocks/>
              </p:cNvSpPr>
              <p:nvPr/>
            </p:nvSpPr>
            <p:spPr bwMode="auto">
              <a:xfrm>
                <a:off x="7593017" y="707350"/>
                <a:ext cx="201" cy="55"/>
              </a:xfrm>
              <a:custGeom>
                <a:avLst/>
                <a:gdLst>
                  <a:gd name="T0" fmla="*/ 27 w 201"/>
                  <a:gd name="T1" fmla="*/ 55 h 55"/>
                  <a:gd name="T2" fmla="*/ 173 w 201"/>
                  <a:gd name="T3" fmla="*/ 55 h 55"/>
                  <a:gd name="T4" fmla="*/ 201 w 201"/>
                  <a:gd name="T5" fmla="*/ 0 h 55"/>
                  <a:gd name="T6" fmla="*/ 0 w 201"/>
                  <a:gd name="T7" fmla="*/ 0 h 55"/>
                  <a:gd name="T8" fmla="*/ 27 w 201"/>
                  <a:gd name="T9" fmla="*/ 55 h 55"/>
                </a:gdLst>
                <a:ahLst/>
                <a:cxnLst>
                  <a:cxn ang="0">
                    <a:pos x="T0" y="T1"/>
                  </a:cxn>
                  <a:cxn ang="0">
                    <a:pos x="T2" y="T3"/>
                  </a:cxn>
                  <a:cxn ang="0">
                    <a:pos x="T4" y="T5"/>
                  </a:cxn>
                  <a:cxn ang="0">
                    <a:pos x="T6" y="T7"/>
                  </a:cxn>
                  <a:cxn ang="0">
                    <a:pos x="T8" y="T9"/>
                  </a:cxn>
                </a:cxnLst>
                <a:rect l="0" t="0" r="r" b="b"/>
                <a:pathLst>
                  <a:path w="201" h="55">
                    <a:moveTo>
                      <a:pt x="27" y="55"/>
                    </a:moveTo>
                    <a:lnTo>
                      <a:pt x="173" y="55"/>
                    </a:lnTo>
                    <a:lnTo>
                      <a:pt x="201" y="0"/>
                    </a:lnTo>
                    <a:lnTo>
                      <a:pt x="0" y="0"/>
                    </a:lnTo>
                    <a:lnTo>
                      <a:pt x="27"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93" name="Freeform 8">
                <a:extLst>
                  <a:ext uri="{FF2B5EF4-FFF2-40B4-BE49-F238E27FC236}">
                    <a16:creationId xmlns:a16="http://schemas.microsoft.com/office/drawing/2014/main" id="{72CE84D2-5DC2-64F4-370E-8EEE00C77C4A}"/>
                  </a:ext>
                </a:extLst>
              </p:cNvPr>
              <p:cNvSpPr>
                <a:spLocks/>
              </p:cNvSpPr>
              <p:nvPr/>
            </p:nvSpPr>
            <p:spPr bwMode="auto">
              <a:xfrm>
                <a:off x="7593331" y="707142"/>
                <a:ext cx="29" cy="86"/>
              </a:xfrm>
              <a:custGeom>
                <a:avLst/>
                <a:gdLst>
                  <a:gd name="T0" fmla="*/ 0 w 29"/>
                  <a:gd name="T1" fmla="*/ 11 h 86"/>
                  <a:gd name="T2" fmla="*/ 0 w 29"/>
                  <a:gd name="T3" fmla="*/ 11 h 86"/>
                  <a:gd name="T4" fmla="*/ 4 w 29"/>
                  <a:gd name="T5" fmla="*/ 17 h 86"/>
                  <a:gd name="T6" fmla="*/ 8 w 29"/>
                  <a:gd name="T7" fmla="*/ 23 h 86"/>
                  <a:gd name="T8" fmla="*/ 12 w 29"/>
                  <a:gd name="T9" fmla="*/ 32 h 86"/>
                  <a:gd name="T10" fmla="*/ 14 w 29"/>
                  <a:gd name="T11" fmla="*/ 38 h 86"/>
                  <a:gd name="T12" fmla="*/ 14 w 29"/>
                  <a:gd name="T13" fmla="*/ 43 h 86"/>
                  <a:gd name="T14" fmla="*/ 14 w 29"/>
                  <a:gd name="T15" fmla="*/ 43 h 86"/>
                  <a:gd name="T16" fmla="*/ 14 w 29"/>
                  <a:gd name="T17" fmla="*/ 48 h 86"/>
                  <a:gd name="T18" fmla="*/ 12 w 29"/>
                  <a:gd name="T19" fmla="*/ 53 h 86"/>
                  <a:gd name="T20" fmla="*/ 8 w 29"/>
                  <a:gd name="T21" fmla="*/ 62 h 86"/>
                  <a:gd name="T22" fmla="*/ 4 w 29"/>
                  <a:gd name="T23" fmla="*/ 69 h 86"/>
                  <a:gd name="T24" fmla="*/ 0 w 29"/>
                  <a:gd name="T25" fmla="*/ 75 h 86"/>
                  <a:gd name="T26" fmla="*/ 10 w 29"/>
                  <a:gd name="T27" fmla="*/ 86 h 86"/>
                  <a:gd name="T28" fmla="*/ 10 w 29"/>
                  <a:gd name="T29" fmla="*/ 86 h 86"/>
                  <a:gd name="T30" fmla="*/ 17 w 29"/>
                  <a:gd name="T31" fmla="*/ 79 h 86"/>
                  <a:gd name="T32" fmla="*/ 22 w 29"/>
                  <a:gd name="T33" fmla="*/ 69 h 86"/>
                  <a:gd name="T34" fmla="*/ 25 w 29"/>
                  <a:gd name="T35" fmla="*/ 64 h 86"/>
                  <a:gd name="T36" fmla="*/ 27 w 29"/>
                  <a:gd name="T37" fmla="*/ 58 h 86"/>
                  <a:gd name="T38" fmla="*/ 28 w 29"/>
                  <a:gd name="T39" fmla="*/ 50 h 86"/>
                  <a:gd name="T40" fmla="*/ 29 w 29"/>
                  <a:gd name="T41" fmla="*/ 43 h 86"/>
                  <a:gd name="T42" fmla="*/ 29 w 29"/>
                  <a:gd name="T43" fmla="*/ 43 h 86"/>
                  <a:gd name="T44" fmla="*/ 28 w 29"/>
                  <a:gd name="T45" fmla="*/ 36 h 86"/>
                  <a:gd name="T46" fmla="*/ 27 w 29"/>
                  <a:gd name="T47" fmla="*/ 28 h 86"/>
                  <a:gd name="T48" fmla="*/ 25 w 29"/>
                  <a:gd name="T49" fmla="*/ 22 h 86"/>
                  <a:gd name="T50" fmla="*/ 22 w 29"/>
                  <a:gd name="T51" fmla="*/ 17 h 86"/>
                  <a:gd name="T52" fmla="*/ 17 w 29"/>
                  <a:gd name="T53" fmla="*/ 7 h 86"/>
                  <a:gd name="T54" fmla="*/ 10 w 29"/>
                  <a:gd name="T55" fmla="*/ 0 h 86"/>
                  <a:gd name="T56" fmla="*/ 0 w 29"/>
                  <a:gd name="T57" fmla="*/ 1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86">
                    <a:moveTo>
                      <a:pt x="0" y="11"/>
                    </a:moveTo>
                    <a:lnTo>
                      <a:pt x="0" y="11"/>
                    </a:lnTo>
                    <a:lnTo>
                      <a:pt x="4" y="17"/>
                    </a:lnTo>
                    <a:lnTo>
                      <a:pt x="8" y="23"/>
                    </a:lnTo>
                    <a:lnTo>
                      <a:pt x="12" y="32"/>
                    </a:lnTo>
                    <a:lnTo>
                      <a:pt x="14" y="38"/>
                    </a:lnTo>
                    <a:lnTo>
                      <a:pt x="14" y="43"/>
                    </a:lnTo>
                    <a:lnTo>
                      <a:pt x="14" y="43"/>
                    </a:lnTo>
                    <a:lnTo>
                      <a:pt x="14" y="48"/>
                    </a:lnTo>
                    <a:lnTo>
                      <a:pt x="12" y="53"/>
                    </a:lnTo>
                    <a:lnTo>
                      <a:pt x="8" y="62"/>
                    </a:lnTo>
                    <a:lnTo>
                      <a:pt x="4" y="69"/>
                    </a:lnTo>
                    <a:lnTo>
                      <a:pt x="0" y="75"/>
                    </a:lnTo>
                    <a:lnTo>
                      <a:pt x="10" y="86"/>
                    </a:lnTo>
                    <a:lnTo>
                      <a:pt x="10" y="86"/>
                    </a:lnTo>
                    <a:lnTo>
                      <a:pt x="17" y="79"/>
                    </a:lnTo>
                    <a:lnTo>
                      <a:pt x="22" y="69"/>
                    </a:lnTo>
                    <a:lnTo>
                      <a:pt x="25" y="64"/>
                    </a:lnTo>
                    <a:lnTo>
                      <a:pt x="27" y="58"/>
                    </a:lnTo>
                    <a:lnTo>
                      <a:pt x="28" y="50"/>
                    </a:lnTo>
                    <a:lnTo>
                      <a:pt x="29" y="43"/>
                    </a:lnTo>
                    <a:lnTo>
                      <a:pt x="29" y="43"/>
                    </a:lnTo>
                    <a:lnTo>
                      <a:pt x="28" y="36"/>
                    </a:lnTo>
                    <a:lnTo>
                      <a:pt x="27" y="28"/>
                    </a:lnTo>
                    <a:lnTo>
                      <a:pt x="25" y="22"/>
                    </a:lnTo>
                    <a:lnTo>
                      <a:pt x="22" y="17"/>
                    </a:lnTo>
                    <a:lnTo>
                      <a:pt x="17" y="7"/>
                    </a:lnTo>
                    <a:lnTo>
                      <a:pt x="10" y="0"/>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94" name="Freeform 9">
                <a:extLst>
                  <a:ext uri="{FF2B5EF4-FFF2-40B4-BE49-F238E27FC236}">
                    <a16:creationId xmlns:a16="http://schemas.microsoft.com/office/drawing/2014/main" id="{9D0725D9-1800-E6F9-4F15-BAA99E419E5C}"/>
                  </a:ext>
                </a:extLst>
              </p:cNvPr>
              <p:cNvSpPr>
                <a:spLocks/>
              </p:cNvSpPr>
              <p:nvPr/>
            </p:nvSpPr>
            <p:spPr bwMode="auto">
              <a:xfrm>
                <a:off x="7593364" y="707109"/>
                <a:ext cx="38" cy="152"/>
              </a:xfrm>
              <a:custGeom>
                <a:avLst/>
                <a:gdLst>
                  <a:gd name="T0" fmla="*/ 11 w 38"/>
                  <a:gd name="T1" fmla="*/ 0 h 152"/>
                  <a:gd name="T2" fmla="*/ 0 w 38"/>
                  <a:gd name="T3" fmla="*/ 11 h 152"/>
                  <a:gd name="T4" fmla="*/ 0 w 38"/>
                  <a:gd name="T5" fmla="*/ 11 h 152"/>
                  <a:gd name="T6" fmla="*/ 6 w 38"/>
                  <a:gd name="T7" fmla="*/ 19 h 152"/>
                  <a:gd name="T8" fmla="*/ 13 w 38"/>
                  <a:gd name="T9" fmla="*/ 34 h 152"/>
                  <a:gd name="T10" fmla="*/ 16 w 38"/>
                  <a:gd name="T11" fmla="*/ 42 h 152"/>
                  <a:gd name="T12" fmla="*/ 19 w 38"/>
                  <a:gd name="T13" fmla="*/ 53 h 152"/>
                  <a:gd name="T14" fmla="*/ 21 w 38"/>
                  <a:gd name="T15" fmla="*/ 63 h 152"/>
                  <a:gd name="T16" fmla="*/ 22 w 38"/>
                  <a:gd name="T17" fmla="*/ 76 h 152"/>
                  <a:gd name="T18" fmla="*/ 22 w 38"/>
                  <a:gd name="T19" fmla="*/ 76 h 152"/>
                  <a:gd name="T20" fmla="*/ 21 w 38"/>
                  <a:gd name="T21" fmla="*/ 89 h 152"/>
                  <a:gd name="T22" fmla="*/ 19 w 38"/>
                  <a:gd name="T23" fmla="*/ 99 h 152"/>
                  <a:gd name="T24" fmla="*/ 16 w 38"/>
                  <a:gd name="T25" fmla="*/ 110 h 152"/>
                  <a:gd name="T26" fmla="*/ 13 w 38"/>
                  <a:gd name="T27" fmla="*/ 118 h 152"/>
                  <a:gd name="T28" fmla="*/ 6 w 38"/>
                  <a:gd name="T29" fmla="*/ 133 h 152"/>
                  <a:gd name="T30" fmla="*/ 0 w 38"/>
                  <a:gd name="T31" fmla="*/ 141 h 152"/>
                  <a:gd name="T32" fmla="*/ 11 w 38"/>
                  <a:gd name="T33" fmla="*/ 152 h 152"/>
                  <a:gd name="T34" fmla="*/ 11 w 38"/>
                  <a:gd name="T35" fmla="*/ 152 h 152"/>
                  <a:gd name="T36" fmla="*/ 18 w 38"/>
                  <a:gd name="T37" fmla="*/ 142 h 152"/>
                  <a:gd name="T38" fmla="*/ 22 w 38"/>
                  <a:gd name="T39" fmla="*/ 135 h 152"/>
                  <a:gd name="T40" fmla="*/ 26 w 38"/>
                  <a:gd name="T41" fmla="*/ 126 h 152"/>
                  <a:gd name="T42" fmla="*/ 30 w 38"/>
                  <a:gd name="T43" fmla="*/ 116 h 152"/>
                  <a:gd name="T44" fmla="*/ 33 w 38"/>
                  <a:gd name="T45" fmla="*/ 104 h 152"/>
                  <a:gd name="T46" fmla="*/ 37 w 38"/>
                  <a:gd name="T47" fmla="*/ 91 h 152"/>
                  <a:gd name="T48" fmla="*/ 38 w 38"/>
                  <a:gd name="T49" fmla="*/ 76 h 152"/>
                  <a:gd name="T50" fmla="*/ 38 w 38"/>
                  <a:gd name="T51" fmla="*/ 76 h 152"/>
                  <a:gd name="T52" fmla="*/ 37 w 38"/>
                  <a:gd name="T53" fmla="*/ 61 h 152"/>
                  <a:gd name="T54" fmla="*/ 33 w 38"/>
                  <a:gd name="T55" fmla="*/ 47 h 152"/>
                  <a:gd name="T56" fmla="*/ 30 w 38"/>
                  <a:gd name="T57" fmla="*/ 36 h 152"/>
                  <a:gd name="T58" fmla="*/ 26 w 38"/>
                  <a:gd name="T59" fmla="*/ 25 h 152"/>
                  <a:gd name="T60" fmla="*/ 22 w 38"/>
                  <a:gd name="T61" fmla="*/ 17 h 152"/>
                  <a:gd name="T62" fmla="*/ 18 w 38"/>
                  <a:gd name="T63" fmla="*/ 10 h 152"/>
                  <a:gd name="T64" fmla="*/ 11 w 38"/>
                  <a:gd name="T65" fmla="*/ 0 h 152"/>
                  <a:gd name="T66" fmla="*/ 11 w 38"/>
                  <a:gd name="T6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152">
                    <a:moveTo>
                      <a:pt x="11" y="0"/>
                    </a:moveTo>
                    <a:lnTo>
                      <a:pt x="0" y="11"/>
                    </a:lnTo>
                    <a:lnTo>
                      <a:pt x="0" y="11"/>
                    </a:lnTo>
                    <a:lnTo>
                      <a:pt x="6" y="19"/>
                    </a:lnTo>
                    <a:lnTo>
                      <a:pt x="13" y="34"/>
                    </a:lnTo>
                    <a:lnTo>
                      <a:pt x="16" y="42"/>
                    </a:lnTo>
                    <a:lnTo>
                      <a:pt x="19" y="53"/>
                    </a:lnTo>
                    <a:lnTo>
                      <a:pt x="21" y="63"/>
                    </a:lnTo>
                    <a:lnTo>
                      <a:pt x="22" y="76"/>
                    </a:lnTo>
                    <a:lnTo>
                      <a:pt x="22" y="76"/>
                    </a:lnTo>
                    <a:lnTo>
                      <a:pt x="21" y="89"/>
                    </a:lnTo>
                    <a:lnTo>
                      <a:pt x="19" y="99"/>
                    </a:lnTo>
                    <a:lnTo>
                      <a:pt x="16" y="110"/>
                    </a:lnTo>
                    <a:lnTo>
                      <a:pt x="13" y="118"/>
                    </a:lnTo>
                    <a:lnTo>
                      <a:pt x="6" y="133"/>
                    </a:lnTo>
                    <a:lnTo>
                      <a:pt x="0" y="141"/>
                    </a:lnTo>
                    <a:lnTo>
                      <a:pt x="11" y="152"/>
                    </a:lnTo>
                    <a:lnTo>
                      <a:pt x="11" y="152"/>
                    </a:lnTo>
                    <a:lnTo>
                      <a:pt x="18" y="142"/>
                    </a:lnTo>
                    <a:lnTo>
                      <a:pt x="22" y="135"/>
                    </a:lnTo>
                    <a:lnTo>
                      <a:pt x="26" y="126"/>
                    </a:lnTo>
                    <a:lnTo>
                      <a:pt x="30" y="116"/>
                    </a:lnTo>
                    <a:lnTo>
                      <a:pt x="33" y="104"/>
                    </a:lnTo>
                    <a:lnTo>
                      <a:pt x="37" y="91"/>
                    </a:lnTo>
                    <a:lnTo>
                      <a:pt x="38" y="76"/>
                    </a:lnTo>
                    <a:lnTo>
                      <a:pt x="38" y="76"/>
                    </a:lnTo>
                    <a:lnTo>
                      <a:pt x="37" y="61"/>
                    </a:lnTo>
                    <a:lnTo>
                      <a:pt x="33" y="47"/>
                    </a:lnTo>
                    <a:lnTo>
                      <a:pt x="30" y="36"/>
                    </a:lnTo>
                    <a:lnTo>
                      <a:pt x="26" y="25"/>
                    </a:lnTo>
                    <a:lnTo>
                      <a:pt x="22" y="17"/>
                    </a:lnTo>
                    <a:lnTo>
                      <a:pt x="18" y="10"/>
                    </a:lnTo>
                    <a:lnTo>
                      <a:pt x="11" y="0"/>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95" name="Freeform 10">
                <a:extLst>
                  <a:ext uri="{FF2B5EF4-FFF2-40B4-BE49-F238E27FC236}">
                    <a16:creationId xmlns:a16="http://schemas.microsoft.com/office/drawing/2014/main" id="{376210F7-CF56-7F5B-F6CE-81AAB0070629}"/>
                  </a:ext>
                </a:extLst>
              </p:cNvPr>
              <p:cNvSpPr>
                <a:spLocks/>
              </p:cNvSpPr>
              <p:nvPr/>
            </p:nvSpPr>
            <p:spPr bwMode="auto">
              <a:xfrm>
                <a:off x="7593396" y="707076"/>
                <a:ext cx="50" cy="217"/>
              </a:xfrm>
              <a:custGeom>
                <a:avLst/>
                <a:gdLst>
                  <a:gd name="T0" fmla="*/ 11 w 50"/>
                  <a:gd name="T1" fmla="*/ 0 h 217"/>
                  <a:gd name="T2" fmla="*/ 0 w 50"/>
                  <a:gd name="T3" fmla="*/ 11 h 217"/>
                  <a:gd name="T4" fmla="*/ 0 w 50"/>
                  <a:gd name="T5" fmla="*/ 11 h 217"/>
                  <a:gd name="T6" fmla="*/ 8 w 50"/>
                  <a:gd name="T7" fmla="*/ 23 h 217"/>
                  <a:gd name="T8" fmla="*/ 14 w 50"/>
                  <a:gd name="T9" fmla="*/ 31 h 217"/>
                  <a:gd name="T10" fmla="*/ 19 w 50"/>
                  <a:gd name="T11" fmla="*/ 43 h 217"/>
                  <a:gd name="T12" fmla="*/ 25 w 50"/>
                  <a:gd name="T13" fmla="*/ 56 h 217"/>
                  <a:gd name="T14" fmla="*/ 30 w 50"/>
                  <a:gd name="T15" fmla="*/ 72 h 217"/>
                  <a:gd name="T16" fmla="*/ 33 w 50"/>
                  <a:gd name="T17" fmla="*/ 89 h 217"/>
                  <a:gd name="T18" fmla="*/ 34 w 50"/>
                  <a:gd name="T19" fmla="*/ 109 h 217"/>
                  <a:gd name="T20" fmla="*/ 34 w 50"/>
                  <a:gd name="T21" fmla="*/ 109 h 217"/>
                  <a:gd name="T22" fmla="*/ 33 w 50"/>
                  <a:gd name="T23" fmla="*/ 128 h 217"/>
                  <a:gd name="T24" fmla="*/ 30 w 50"/>
                  <a:gd name="T25" fmla="*/ 146 h 217"/>
                  <a:gd name="T26" fmla="*/ 25 w 50"/>
                  <a:gd name="T27" fmla="*/ 162 h 217"/>
                  <a:gd name="T28" fmla="*/ 19 w 50"/>
                  <a:gd name="T29" fmla="*/ 175 h 217"/>
                  <a:gd name="T30" fmla="*/ 14 w 50"/>
                  <a:gd name="T31" fmla="*/ 187 h 217"/>
                  <a:gd name="T32" fmla="*/ 8 w 50"/>
                  <a:gd name="T33" fmla="*/ 195 h 217"/>
                  <a:gd name="T34" fmla="*/ 0 w 50"/>
                  <a:gd name="T35" fmla="*/ 207 h 217"/>
                  <a:gd name="T36" fmla="*/ 11 w 50"/>
                  <a:gd name="T37" fmla="*/ 217 h 217"/>
                  <a:gd name="T38" fmla="*/ 11 w 50"/>
                  <a:gd name="T39" fmla="*/ 217 h 217"/>
                  <a:gd name="T40" fmla="*/ 19 w 50"/>
                  <a:gd name="T41" fmla="*/ 207 h 217"/>
                  <a:gd name="T42" fmla="*/ 26 w 50"/>
                  <a:gd name="T43" fmla="*/ 196 h 217"/>
                  <a:gd name="T44" fmla="*/ 32 w 50"/>
                  <a:gd name="T45" fmla="*/ 184 h 217"/>
                  <a:gd name="T46" fmla="*/ 38 w 50"/>
                  <a:gd name="T47" fmla="*/ 169 h 217"/>
                  <a:gd name="T48" fmla="*/ 44 w 50"/>
                  <a:gd name="T49" fmla="*/ 151 h 217"/>
                  <a:gd name="T50" fmla="*/ 48 w 50"/>
                  <a:gd name="T51" fmla="*/ 131 h 217"/>
                  <a:gd name="T52" fmla="*/ 49 w 50"/>
                  <a:gd name="T53" fmla="*/ 121 h 217"/>
                  <a:gd name="T54" fmla="*/ 50 w 50"/>
                  <a:gd name="T55" fmla="*/ 109 h 217"/>
                  <a:gd name="T56" fmla="*/ 50 w 50"/>
                  <a:gd name="T57" fmla="*/ 109 h 217"/>
                  <a:gd name="T58" fmla="*/ 49 w 50"/>
                  <a:gd name="T59" fmla="*/ 97 h 217"/>
                  <a:gd name="T60" fmla="*/ 48 w 50"/>
                  <a:gd name="T61" fmla="*/ 87 h 217"/>
                  <a:gd name="T62" fmla="*/ 44 w 50"/>
                  <a:gd name="T63" fmla="*/ 67 h 217"/>
                  <a:gd name="T64" fmla="*/ 38 w 50"/>
                  <a:gd name="T65" fmla="*/ 49 h 217"/>
                  <a:gd name="T66" fmla="*/ 32 w 50"/>
                  <a:gd name="T67" fmla="*/ 34 h 217"/>
                  <a:gd name="T68" fmla="*/ 26 w 50"/>
                  <a:gd name="T69" fmla="*/ 22 h 217"/>
                  <a:gd name="T70" fmla="*/ 19 w 50"/>
                  <a:gd name="T71" fmla="*/ 11 h 217"/>
                  <a:gd name="T72" fmla="*/ 11 w 50"/>
                  <a:gd name="T73" fmla="*/ 0 h 217"/>
                  <a:gd name="T74" fmla="*/ 11 w 50"/>
                  <a:gd name="T75"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217">
                    <a:moveTo>
                      <a:pt x="11" y="0"/>
                    </a:moveTo>
                    <a:lnTo>
                      <a:pt x="0" y="11"/>
                    </a:lnTo>
                    <a:lnTo>
                      <a:pt x="0" y="11"/>
                    </a:lnTo>
                    <a:lnTo>
                      <a:pt x="8" y="23"/>
                    </a:lnTo>
                    <a:lnTo>
                      <a:pt x="14" y="31"/>
                    </a:lnTo>
                    <a:lnTo>
                      <a:pt x="19" y="43"/>
                    </a:lnTo>
                    <a:lnTo>
                      <a:pt x="25" y="56"/>
                    </a:lnTo>
                    <a:lnTo>
                      <a:pt x="30" y="72"/>
                    </a:lnTo>
                    <a:lnTo>
                      <a:pt x="33" y="89"/>
                    </a:lnTo>
                    <a:lnTo>
                      <a:pt x="34" y="109"/>
                    </a:lnTo>
                    <a:lnTo>
                      <a:pt x="34" y="109"/>
                    </a:lnTo>
                    <a:lnTo>
                      <a:pt x="33" y="128"/>
                    </a:lnTo>
                    <a:lnTo>
                      <a:pt x="30" y="146"/>
                    </a:lnTo>
                    <a:lnTo>
                      <a:pt x="25" y="162"/>
                    </a:lnTo>
                    <a:lnTo>
                      <a:pt x="19" y="175"/>
                    </a:lnTo>
                    <a:lnTo>
                      <a:pt x="14" y="187"/>
                    </a:lnTo>
                    <a:lnTo>
                      <a:pt x="8" y="195"/>
                    </a:lnTo>
                    <a:lnTo>
                      <a:pt x="0" y="207"/>
                    </a:lnTo>
                    <a:lnTo>
                      <a:pt x="11" y="217"/>
                    </a:lnTo>
                    <a:lnTo>
                      <a:pt x="11" y="217"/>
                    </a:lnTo>
                    <a:lnTo>
                      <a:pt x="19" y="207"/>
                    </a:lnTo>
                    <a:lnTo>
                      <a:pt x="26" y="196"/>
                    </a:lnTo>
                    <a:lnTo>
                      <a:pt x="32" y="184"/>
                    </a:lnTo>
                    <a:lnTo>
                      <a:pt x="38" y="169"/>
                    </a:lnTo>
                    <a:lnTo>
                      <a:pt x="44" y="151"/>
                    </a:lnTo>
                    <a:lnTo>
                      <a:pt x="48" y="131"/>
                    </a:lnTo>
                    <a:lnTo>
                      <a:pt x="49" y="121"/>
                    </a:lnTo>
                    <a:lnTo>
                      <a:pt x="50" y="109"/>
                    </a:lnTo>
                    <a:lnTo>
                      <a:pt x="50" y="109"/>
                    </a:lnTo>
                    <a:lnTo>
                      <a:pt x="49" y="97"/>
                    </a:lnTo>
                    <a:lnTo>
                      <a:pt x="48" y="87"/>
                    </a:lnTo>
                    <a:lnTo>
                      <a:pt x="44" y="67"/>
                    </a:lnTo>
                    <a:lnTo>
                      <a:pt x="38" y="49"/>
                    </a:lnTo>
                    <a:lnTo>
                      <a:pt x="32" y="34"/>
                    </a:lnTo>
                    <a:lnTo>
                      <a:pt x="26" y="22"/>
                    </a:lnTo>
                    <a:lnTo>
                      <a:pt x="19" y="11"/>
                    </a:lnTo>
                    <a:lnTo>
                      <a:pt x="11" y="0"/>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96" name="Freeform 11">
                <a:extLst>
                  <a:ext uri="{FF2B5EF4-FFF2-40B4-BE49-F238E27FC236}">
                    <a16:creationId xmlns:a16="http://schemas.microsoft.com/office/drawing/2014/main" id="{7C1279AB-E1A3-725F-7F9F-9136F0DF92F5}"/>
                  </a:ext>
                </a:extLst>
              </p:cNvPr>
              <p:cNvSpPr>
                <a:spLocks/>
              </p:cNvSpPr>
              <p:nvPr/>
            </p:nvSpPr>
            <p:spPr bwMode="auto">
              <a:xfrm>
                <a:off x="7593299" y="707173"/>
                <a:ext cx="23" cy="24"/>
              </a:xfrm>
              <a:custGeom>
                <a:avLst/>
                <a:gdLst>
                  <a:gd name="T0" fmla="*/ 12 w 23"/>
                  <a:gd name="T1" fmla="*/ 0 h 24"/>
                  <a:gd name="T2" fmla="*/ 12 w 23"/>
                  <a:gd name="T3" fmla="*/ 0 h 24"/>
                  <a:gd name="T4" fmla="*/ 7 w 23"/>
                  <a:gd name="T5" fmla="*/ 1 h 24"/>
                  <a:gd name="T6" fmla="*/ 3 w 23"/>
                  <a:gd name="T7" fmla="*/ 4 h 24"/>
                  <a:gd name="T8" fmla="*/ 1 w 23"/>
                  <a:gd name="T9" fmla="*/ 8 h 24"/>
                  <a:gd name="T10" fmla="*/ 0 w 23"/>
                  <a:gd name="T11" fmla="*/ 12 h 24"/>
                  <a:gd name="T12" fmla="*/ 0 w 23"/>
                  <a:gd name="T13" fmla="*/ 12 h 24"/>
                  <a:gd name="T14" fmla="*/ 1 w 23"/>
                  <a:gd name="T15" fmla="*/ 16 h 24"/>
                  <a:gd name="T16" fmla="*/ 3 w 23"/>
                  <a:gd name="T17" fmla="*/ 20 h 24"/>
                  <a:gd name="T18" fmla="*/ 7 w 23"/>
                  <a:gd name="T19" fmla="*/ 22 h 24"/>
                  <a:gd name="T20" fmla="*/ 12 w 23"/>
                  <a:gd name="T21" fmla="*/ 24 h 24"/>
                  <a:gd name="T22" fmla="*/ 12 w 23"/>
                  <a:gd name="T23" fmla="*/ 24 h 24"/>
                  <a:gd name="T24" fmla="*/ 16 w 23"/>
                  <a:gd name="T25" fmla="*/ 22 h 24"/>
                  <a:gd name="T26" fmla="*/ 19 w 23"/>
                  <a:gd name="T27" fmla="*/ 20 h 24"/>
                  <a:gd name="T28" fmla="*/ 22 w 23"/>
                  <a:gd name="T29" fmla="*/ 16 h 24"/>
                  <a:gd name="T30" fmla="*/ 23 w 23"/>
                  <a:gd name="T31" fmla="*/ 12 h 24"/>
                  <a:gd name="T32" fmla="*/ 23 w 23"/>
                  <a:gd name="T33" fmla="*/ 12 h 24"/>
                  <a:gd name="T34" fmla="*/ 22 w 23"/>
                  <a:gd name="T35" fmla="*/ 8 h 24"/>
                  <a:gd name="T36" fmla="*/ 19 w 23"/>
                  <a:gd name="T37" fmla="*/ 4 h 24"/>
                  <a:gd name="T38" fmla="*/ 16 w 23"/>
                  <a:gd name="T39" fmla="*/ 1 h 24"/>
                  <a:gd name="T40" fmla="*/ 12 w 23"/>
                  <a:gd name="T41" fmla="*/ 0 h 24"/>
                  <a:gd name="T42" fmla="*/ 12 w 23"/>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4">
                    <a:moveTo>
                      <a:pt x="12" y="0"/>
                    </a:moveTo>
                    <a:lnTo>
                      <a:pt x="12" y="0"/>
                    </a:lnTo>
                    <a:lnTo>
                      <a:pt x="7" y="1"/>
                    </a:lnTo>
                    <a:lnTo>
                      <a:pt x="3" y="4"/>
                    </a:lnTo>
                    <a:lnTo>
                      <a:pt x="1" y="8"/>
                    </a:lnTo>
                    <a:lnTo>
                      <a:pt x="0" y="12"/>
                    </a:lnTo>
                    <a:lnTo>
                      <a:pt x="0" y="12"/>
                    </a:lnTo>
                    <a:lnTo>
                      <a:pt x="1" y="16"/>
                    </a:lnTo>
                    <a:lnTo>
                      <a:pt x="3" y="20"/>
                    </a:lnTo>
                    <a:lnTo>
                      <a:pt x="7" y="22"/>
                    </a:lnTo>
                    <a:lnTo>
                      <a:pt x="12" y="24"/>
                    </a:lnTo>
                    <a:lnTo>
                      <a:pt x="12" y="24"/>
                    </a:lnTo>
                    <a:lnTo>
                      <a:pt x="16" y="22"/>
                    </a:lnTo>
                    <a:lnTo>
                      <a:pt x="19" y="20"/>
                    </a:lnTo>
                    <a:lnTo>
                      <a:pt x="22" y="16"/>
                    </a:lnTo>
                    <a:lnTo>
                      <a:pt x="23" y="12"/>
                    </a:lnTo>
                    <a:lnTo>
                      <a:pt x="23" y="12"/>
                    </a:lnTo>
                    <a:lnTo>
                      <a:pt x="22" y="8"/>
                    </a:lnTo>
                    <a:lnTo>
                      <a:pt x="19" y="4"/>
                    </a:lnTo>
                    <a:lnTo>
                      <a:pt x="16" y="1"/>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grpSp>
        <p:grpSp>
          <p:nvGrpSpPr>
            <p:cNvPr id="30" name="Group 29">
              <a:extLst>
                <a:ext uri="{FF2B5EF4-FFF2-40B4-BE49-F238E27FC236}">
                  <a16:creationId xmlns:a16="http://schemas.microsoft.com/office/drawing/2014/main" id="{A1D6FC75-BC24-1A48-CC59-D0D76D6CA641}"/>
                </a:ext>
              </a:extLst>
            </p:cNvPr>
            <p:cNvGrpSpPr>
              <a:grpSpLocks noChangeAspect="1"/>
            </p:cNvGrpSpPr>
            <p:nvPr/>
          </p:nvGrpSpPr>
          <p:grpSpPr bwMode="auto">
            <a:xfrm>
              <a:off x="3115345" y="1481319"/>
              <a:ext cx="723953" cy="427038"/>
              <a:chOff x="3115342" y="1481319"/>
              <a:chExt cx="480" cy="269"/>
            </a:xfrm>
            <a:solidFill>
              <a:srgbClr val="003C70"/>
            </a:solidFill>
          </p:grpSpPr>
          <p:sp>
            <p:nvSpPr>
              <p:cNvPr id="183" name="Freeform 5">
                <a:extLst>
                  <a:ext uri="{FF2B5EF4-FFF2-40B4-BE49-F238E27FC236}">
                    <a16:creationId xmlns:a16="http://schemas.microsoft.com/office/drawing/2014/main" id="{08C36276-6FE5-CDE5-D1F2-5EC5A7DB167C}"/>
                  </a:ext>
                </a:extLst>
              </p:cNvPr>
              <p:cNvSpPr>
                <a:spLocks/>
              </p:cNvSpPr>
              <p:nvPr/>
            </p:nvSpPr>
            <p:spPr bwMode="auto">
              <a:xfrm>
                <a:off x="3115712" y="1481411"/>
                <a:ext cx="110" cy="177"/>
              </a:xfrm>
              <a:custGeom>
                <a:avLst/>
                <a:gdLst>
                  <a:gd name="T0" fmla="*/ 56 w 110"/>
                  <a:gd name="T1" fmla="*/ 0 h 177"/>
                  <a:gd name="T2" fmla="*/ 56 w 110"/>
                  <a:gd name="T3" fmla="*/ 0 h 177"/>
                  <a:gd name="T4" fmla="*/ 39 w 110"/>
                  <a:gd name="T5" fmla="*/ 29 h 177"/>
                  <a:gd name="T6" fmla="*/ 21 w 110"/>
                  <a:gd name="T7" fmla="*/ 63 h 177"/>
                  <a:gd name="T8" fmla="*/ 13 w 110"/>
                  <a:gd name="T9" fmla="*/ 81 h 177"/>
                  <a:gd name="T10" fmla="*/ 6 w 110"/>
                  <a:gd name="T11" fmla="*/ 96 h 177"/>
                  <a:gd name="T12" fmla="*/ 2 w 110"/>
                  <a:gd name="T13" fmla="*/ 109 h 177"/>
                  <a:gd name="T14" fmla="*/ 1 w 110"/>
                  <a:gd name="T15" fmla="*/ 116 h 177"/>
                  <a:gd name="T16" fmla="*/ 0 w 110"/>
                  <a:gd name="T17" fmla="*/ 120 h 177"/>
                  <a:gd name="T18" fmla="*/ 0 w 110"/>
                  <a:gd name="T19" fmla="*/ 120 h 177"/>
                  <a:gd name="T20" fmla="*/ 1 w 110"/>
                  <a:gd name="T21" fmla="*/ 128 h 177"/>
                  <a:gd name="T22" fmla="*/ 2 w 110"/>
                  <a:gd name="T23" fmla="*/ 138 h 177"/>
                  <a:gd name="T24" fmla="*/ 5 w 110"/>
                  <a:gd name="T25" fmla="*/ 147 h 177"/>
                  <a:gd name="T26" fmla="*/ 11 w 110"/>
                  <a:gd name="T27" fmla="*/ 157 h 177"/>
                  <a:gd name="T28" fmla="*/ 14 w 110"/>
                  <a:gd name="T29" fmla="*/ 161 h 177"/>
                  <a:gd name="T30" fmla="*/ 17 w 110"/>
                  <a:gd name="T31" fmla="*/ 165 h 177"/>
                  <a:gd name="T32" fmla="*/ 22 w 110"/>
                  <a:gd name="T33" fmla="*/ 169 h 177"/>
                  <a:gd name="T34" fmla="*/ 28 w 110"/>
                  <a:gd name="T35" fmla="*/ 172 h 177"/>
                  <a:gd name="T36" fmla="*/ 33 w 110"/>
                  <a:gd name="T37" fmla="*/ 174 h 177"/>
                  <a:gd name="T38" fmla="*/ 40 w 110"/>
                  <a:gd name="T39" fmla="*/ 176 h 177"/>
                  <a:gd name="T40" fmla="*/ 48 w 110"/>
                  <a:gd name="T41" fmla="*/ 177 h 177"/>
                  <a:gd name="T42" fmla="*/ 57 w 110"/>
                  <a:gd name="T43" fmla="*/ 177 h 177"/>
                  <a:gd name="T44" fmla="*/ 57 w 110"/>
                  <a:gd name="T45" fmla="*/ 177 h 177"/>
                  <a:gd name="T46" fmla="*/ 70 w 110"/>
                  <a:gd name="T47" fmla="*/ 177 h 177"/>
                  <a:gd name="T48" fmla="*/ 80 w 110"/>
                  <a:gd name="T49" fmla="*/ 174 h 177"/>
                  <a:gd name="T50" fmla="*/ 89 w 110"/>
                  <a:gd name="T51" fmla="*/ 170 h 177"/>
                  <a:gd name="T52" fmla="*/ 96 w 110"/>
                  <a:gd name="T53" fmla="*/ 164 h 177"/>
                  <a:gd name="T54" fmla="*/ 103 w 110"/>
                  <a:gd name="T55" fmla="*/ 157 h 177"/>
                  <a:gd name="T56" fmla="*/ 107 w 110"/>
                  <a:gd name="T57" fmla="*/ 147 h 177"/>
                  <a:gd name="T58" fmla="*/ 109 w 110"/>
                  <a:gd name="T59" fmla="*/ 136 h 177"/>
                  <a:gd name="T60" fmla="*/ 110 w 110"/>
                  <a:gd name="T61" fmla="*/ 123 h 177"/>
                  <a:gd name="T62" fmla="*/ 110 w 110"/>
                  <a:gd name="T63" fmla="*/ 123 h 177"/>
                  <a:gd name="T64" fmla="*/ 108 w 110"/>
                  <a:gd name="T65" fmla="*/ 113 h 177"/>
                  <a:gd name="T66" fmla="*/ 104 w 110"/>
                  <a:gd name="T67" fmla="*/ 99 h 177"/>
                  <a:gd name="T68" fmla="*/ 97 w 110"/>
                  <a:gd name="T69" fmla="*/ 83 h 177"/>
                  <a:gd name="T70" fmla="*/ 90 w 110"/>
                  <a:gd name="T71" fmla="*/ 65 h 177"/>
                  <a:gd name="T72" fmla="*/ 73 w 110"/>
                  <a:gd name="T73" fmla="*/ 30 h 177"/>
                  <a:gd name="T74" fmla="*/ 56 w 110"/>
                  <a:gd name="T75" fmla="*/ 0 h 177"/>
                  <a:gd name="T76" fmla="*/ 56 w 110"/>
                  <a:gd name="T77"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0" h="177">
                    <a:moveTo>
                      <a:pt x="56" y="0"/>
                    </a:moveTo>
                    <a:lnTo>
                      <a:pt x="56" y="0"/>
                    </a:lnTo>
                    <a:lnTo>
                      <a:pt x="39" y="29"/>
                    </a:lnTo>
                    <a:lnTo>
                      <a:pt x="21" y="63"/>
                    </a:lnTo>
                    <a:lnTo>
                      <a:pt x="13" y="81"/>
                    </a:lnTo>
                    <a:lnTo>
                      <a:pt x="6" y="96"/>
                    </a:lnTo>
                    <a:lnTo>
                      <a:pt x="2" y="109"/>
                    </a:lnTo>
                    <a:lnTo>
                      <a:pt x="1" y="116"/>
                    </a:lnTo>
                    <a:lnTo>
                      <a:pt x="0" y="120"/>
                    </a:lnTo>
                    <a:lnTo>
                      <a:pt x="0" y="120"/>
                    </a:lnTo>
                    <a:lnTo>
                      <a:pt x="1" y="128"/>
                    </a:lnTo>
                    <a:lnTo>
                      <a:pt x="2" y="138"/>
                    </a:lnTo>
                    <a:lnTo>
                      <a:pt x="5" y="147"/>
                    </a:lnTo>
                    <a:lnTo>
                      <a:pt x="11" y="157"/>
                    </a:lnTo>
                    <a:lnTo>
                      <a:pt x="14" y="161"/>
                    </a:lnTo>
                    <a:lnTo>
                      <a:pt x="17" y="165"/>
                    </a:lnTo>
                    <a:lnTo>
                      <a:pt x="22" y="169"/>
                    </a:lnTo>
                    <a:lnTo>
                      <a:pt x="28" y="172"/>
                    </a:lnTo>
                    <a:lnTo>
                      <a:pt x="33" y="174"/>
                    </a:lnTo>
                    <a:lnTo>
                      <a:pt x="40" y="176"/>
                    </a:lnTo>
                    <a:lnTo>
                      <a:pt x="48" y="177"/>
                    </a:lnTo>
                    <a:lnTo>
                      <a:pt x="57" y="177"/>
                    </a:lnTo>
                    <a:lnTo>
                      <a:pt x="57" y="177"/>
                    </a:lnTo>
                    <a:lnTo>
                      <a:pt x="70" y="177"/>
                    </a:lnTo>
                    <a:lnTo>
                      <a:pt x="80" y="174"/>
                    </a:lnTo>
                    <a:lnTo>
                      <a:pt x="89" y="170"/>
                    </a:lnTo>
                    <a:lnTo>
                      <a:pt x="96" y="164"/>
                    </a:lnTo>
                    <a:lnTo>
                      <a:pt x="103" y="157"/>
                    </a:lnTo>
                    <a:lnTo>
                      <a:pt x="107" y="147"/>
                    </a:lnTo>
                    <a:lnTo>
                      <a:pt x="109" y="136"/>
                    </a:lnTo>
                    <a:lnTo>
                      <a:pt x="110" y="123"/>
                    </a:lnTo>
                    <a:lnTo>
                      <a:pt x="110" y="123"/>
                    </a:lnTo>
                    <a:lnTo>
                      <a:pt x="108" y="113"/>
                    </a:lnTo>
                    <a:lnTo>
                      <a:pt x="104" y="99"/>
                    </a:lnTo>
                    <a:lnTo>
                      <a:pt x="97" y="83"/>
                    </a:lnTo>
                    <a:lnTo>
                      <a:pt x="90" y="65"/>
                    </a:lnTo>
                    <a:lnTo>
                      <a:pt x="73" y="3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84" name="Freeform 6">
                <a:extLst>
                  <a:ext uri="{FF2B5EF4-FFF2-40B4-BE49-F238E27FC236}">
                    <a16:creationId xmlns:a16="http://schemas.microsoft.com/office/drawing/2014/main" id="{D51BF2BB-E1C6-EE6F-37CE-4201C40D28CF}"/>
                  </a:ext>
                </a:extLst>
              </p:cNvPr>
              <p:cNvSpPr>
                <a:spLocks/>
              </p:cNvSpPr>
              <p:nvPr/>
            </p:nvSpPr>
            <p:spPr bwMode="auto">
              <a:xfrm>
                <a:off x="3115496" y="1481527"/>
                <a:ext cx="129" cy="57"/>
              </a:xfrm>
              <a:custGeom>
                <a:avLst/>
                <a:gdLst>
                  <a:gd name="T0" fmla="*/ 98 w 129"/>
                  <a:gd name="T1" fmla="*/ 0 h 57"/>
                  <a:gd name="T2" fmla="*/ 32 w 129"/>
                  <a:gd name="T3" fmla="*/ 0 h 57"/>
                  <a:gd name="T4" fmla="*/ 32 w 129"/>
                  <a:gd name="T5" fmla="*/ 0 h 57"/>
                  <a:gd name="T6" fmla="*/ 26 w 129"/>
                  <a:gd name="T7" fmla="*/ 1 h 57"/>
                  <a:gd name="T8" fmla="*/ 19 w 129"/>
                  <a:gd name="T9" fmla="*/ 2 h 57"/>
                  <a:gd name="T10" fmla="*/ 14 w 129"/>
                  <a:gd name="T11" fmla="*/ 5 h 57"/>
                  <a:gd name="T12" fmla="*/ 9 w 129"/>
                  <a:gd name="T13" fmla="*/ 8 h 57"/>
                  <a:gd name="T14" fmla="*/ 6 w 129"/>
                  <a:gd name="T15" fmla="*/ 12 h 57"/>
                  <a:gd name="T16" fmla="*/ 2 w 129"/>
                  <a:gd name="T17" fmla="*/ 17 h 57"/>
                  <a:gd name="T18" fmla="*/ 0 w 129"/>
                  <a:gd name="T19" fmla="*/ 22 h 57"/>
                  <a:gd name="T20" fmla="*/ 0 w 129"/>
                  <a:gd name="T21" fmla="*/ 28 h 57"/>
                  <a:gd name="T22" fmla="*/ 0 w 129"/>
                  <a:gd name="T23" fmla="*/ 28 h 57"/>
                  <a:gd name="T24" fmla="*/ 0 w 129"/>
                  <a:gd name="T25" fmla="*/ 34 h 57"/>
                  <a:gd name="T26" fmla="*/ 2 w 129"/>
                  <a:gd name="T27" fmla="*/ 39 h 57"/>
                  <a:gd name="T28" fmla="*/ 6 w 129"/>
                  <a:gd name="T29" fmla="*/ 44 h 57"/>
                  <a:gd name="T30" fmla="*/ 9 w 129"/>
                  <a:gd name="T31" fmla="*/ 48 h 57"/>
                  <a:gd name="T32" fmla="*/ 14 w 129"/>
                  <a:gd name="T33" fmla="*/ 52 h 57"/>
                  <a:gd name="T34" fmla="*/ 19 w 129"/>
                  <a:gd name="T35" fmla="*/ 55 h 57"/>
                  <a:gd name="T36" fmla="*/ 26 w 129"/>
                  <a:gd name="T37" fmla="*/ 56 h 57"/>
                  <a:gd name="T38" fmla="*/ 32 w 129"/>
                  <a:gd name="T39" fmla="*/ 57 h 57"/>
                  <a:gd name="T40" fmla="*/ 98 w 129"/>
                  <a:gd name="T41" fmla="*/ 57 h 57"/>
                  <a:gd name="T42" fmla="*/ 98 w 129"/>
                  <a:gd name="T43" fmla="*/ 57 h 57"/>
                  <a:gd name="T44" fmla="*/ 104 w 129"/>
                  <a:gd name="T45" fmla="*/ 56 h 57"/>
                  <a:gd name="T46" fmla="*/ 110 w 129"/>
                  <a:gd name="T47" fmla="*/ 55 h 57"/>
                  <a:gd name="T48" fmla="*/ 116 w 129"/>
                  <a:gd name="T49" fmla="*/ 52 h 57"/>
                  <a:gd name="T50" fmla="*/ 120 w 129"/>
                  <a:gd name="T51" fmla="*/ 48 h 57"/>
                  <a:gd name="T52" fmla="*/ 124 w 129"/>
                  <a:gd name="T53" fmla="*/ 44 h 57"/>
                  <a:gd name="T54" fmla="*/ 127 w 129"/>
                  <a:gd name="T55" fmla="*/ 39 h 57"/>
                  <a:gd name="T56" fmla="*/ 128 w 129"/>
                  <a:gd name="T57" fmla="*/ 34 h 57"/>
                  <a:gd name="T58" fmla="*/ 129 w 129"/>
                  <a:gd name="T59" fmla="*/ 28 h 57"/>
                  <a:gd name="T60" fmla="*/ 129 w 129"/>
                  <a:gd name="T61" fmla="*/ 28 h 57"/>
                  <a:gd name="T62" fmla="*/ 128 w 129"/>
                  <a:gd name="T63" fmla="*/ 22 h 57"/>
                  <a:gd name="T64" fmla="*/ 127 w 129"/>
                  <a:gd name="T65" fmla="*/ 17 h 57"/>
                  <a:gd name="T66" fmla="*/ 124 w 129"/>
                  <a:gd name="T67" fmla="*/ 12 h 57"/>
                  <a:gd name="T68" fmla="*/ 120 w 129"/>
                  <a:gd name="T69" fmla="*/ 8 h 57"/>
                  <a:gd name="T70" fmla="*/ 116 w 129"/>
                  <a:gd name="T71" fmla="*/ 5 h 57"/>
                  <a:gd name="T72" fmla="*/ 110 w 129"/>
                  <a:gd name="T73" fmla="*/ 2 h 57"/>
                  <a:gd name="T74" fmla="*/ 104 w 129"/>
                  <a:gd name="T75" fmla="*/ 1 h 57"/>
                  <a:gd name="T76" fmla="*/ 98 w 129"/>
                  <a:gd name="T77" fmla="*/ 0 h 57"/>
                  <a:gd name="T78" fmla="*/ 98 w 129"/>
                  <a:gd name="T7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9" h="57">
                    <a:moveTo>
                      <a:pt x="98" y="0"/>
                    </a:moveTo>
                    <a:lnTo>
                      <a:pt x="32" y="0"/>
                    </a:lnTo>
                    <a:lnTo>
                      <a:pt x="32" y="0"/>
                    </a:lnTo>
                    <a:lnTo>
                      <a:pt x="26" y="1"/>
                    </a:lnTo>
                    <a:lnTo>
                      <a:pt x="19" y="2"/>
                    </a:lnTo>
                    <a:lnTo>
                      <a:pt x="14" y="5"/>
                    </a:lnTo>
                    <a:lnTo>
                      <a:pt x="9" y="8"/>
                    </a:lnTo>
                    <a:lnTo>
                      <a:pt x="6" y="12"/>
                    </a:lnTo>
                    <a:lnTo>
                      <a:pt x="2" y="17"/>
                    </a:lnTo>
                    <a:lnTo>
                      <a:pt x="0" y="22"/>
                    </a:lnTo>
                    <a:lnTo>
                      <a:pt x="0" y="28"/>
                    </a:lnTo>
                    <a:lnTo>
                      <a:pt x="0" y="28"/>
                    </a:lnTo>
                    <a:lnTo>
                      <a:pt x="0" y="34"/>
                    </a:lnTo>
                    <a:lnTo>
                      <a:pt x="2" y="39"/>
                    </a:lnTo>
                    <a:lnTo>
                      <a:pt x="6" y="44"/>
                    </a:lnTo>
                    <a:lnTo>
                      <a:pt x="9" y="48"/>
                    </a:lnTo>
                    <a:lnTo>
                      <a:pt x="14" y="52"/>
                    </a:lnTo>
                    <a:lnTo>
                      <a:pt x="19" y="55"/>
                    </a:lnTo>
                    <a:lnTo>
                      <a:pt x="26" y="56"/>
                    </a:lnTo>
                    <a:lnTo>
                      <a:pt x="32" y="57"/>
                    </a:lnTo>
                    <a:lnTo>
                      <a:pt x="98" y="57"/>
                    </a:lnTo>
                    <a:lnTo>
                      <a:pt x="98" y="57"/>
                    </a:lnTo>
                    <a:lnTo>
                      <a:pt x="104" y="56"/>
                    </a:lnTo>
                    <a:lnTo>
                      <a:pt x="110" y="55"/>
                    </a:lnTo>
                    <a:lnTo>
                      <a:pt x="116" y="52"/>
                    </a:lnTo>
                    <a:lnTo>
                      <a:pt x="120" y="48"/>
                    </a:lnTo>
                    <a:lnTo>
                      <a:pt x="124" y="44"/>
                    </a:lnTo>
                    <a:lnTo>
                      <a:pt x="127" y="39"/>
                    </a:lnTo>
                    <a:lnTo>
                      <a:pt x="128" y="34"/>
                    </a:lnTo>
                    <a:lnTo>
                      <a:pt x="129" y="28"/>
                    </a:lnTo>
                    <a:lnTo>
                      <a:pt x="129" y="28"/>
                    </a:lnTo>
                    <a:lnTo>
                      <a:pt x="128" y="22"/>
                    </a:lnTo>
                    <a:lnTo>
                      <a:pt x="127" y="17"/>
                    </a:lnTo>
                    <a:lnTo>
                      <a:pt x="124" y="12"/>
                    </a:lnTo>
                    <a:lnTo>
                      <a:pt x="120" y="8"/>
                    </a:lnTo>
                    <a:lnTo>
                      <a:pt x="116" y="5"/>
                    </a:lnTo>
                    <a:lnTo>
                      <a:pt x="110" y="2"/>
                    </a:lnTo>
                    <a:lnTo>
                      <a:pt x="104" y="1"/>
                    </a:lnTo>
                    <a:lnTo>
                      <a:pt x="98" y="0"/>
                    </a:lnTo>
                    <a:lnTo>
                      <a:pt x="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85" name="Freeform 7">
                <a:extLst>
                  <a:ext uri="{FF2B5EF4-FFF2-40B4-BE49-F238E27FC236}">
                    <a16:creationId xmlns:a16="http://schemas.microsoft.com/office/drawing/2014/main" id="{1D92C7F6-A1B6-8B9E-1956-E331B6641453}"/>
                  </a:ext>
                </a:extLst>
              </p:cNvPr>
              <p:cNvSpPr>
                <a:spLocks/>
              </p:cNvSpPr>
              <p:nvPr/>
            </p:nvSpPr>
            <p:spPr bwMode="auto">
              <a:xfrm>
                <a:off x="3115342" y="1481319"/>
                <a:ext cx="277" cy="265"/>
              </a:xfrm>
              <a:custGeom>
                <a:avLst/>
                <a:gdLst>
                  <a:gd name="T0" fmla="*/ 226 w 277"/>
                  <a:gd name="T1" fmla="*/ 69 h 265"/>
                  <a:gd name="T2" fmla="*/ 200 w 277"/>
                  <a:gd name="T3" fmla="*/ 55 h 265"/>
                  <a:gd name="T4" fmla="*/ 0 w 277"/>
                  <a:gd name="T5" fmla="*/ 0 h 265"/>
                  <a:gd name="T6" fmla="*/ 2 w 277"/>
                  <a:gd name="T7" fmla="*/ 244 h 265"/>
                  <a:gd name="T8" fmla="*/ 13 w 277"/>
                  <a:gd name="T9" fmla="*/ 256 h 265"/>
                  <a:gd name="T10" fmla="*/ 37 w 277"/>
                  <a:gd name="T11" fmla="*/ 265 h 265"/>
                  <a:gd name="T12" fmla="*/ 148 w 277"/>
                  <a:gd name="T13" fmla="*/ 258 h 265"/>
                  <a:gd name="T14" fmla="*/ 142 w 277"/>
                  <a:gd name="T15" fmla="*/ 236 h 265"/>
                  <a:gd name="T16" fmla="*/ 143 w 277"/>
                  <a:gd name="T17" fmla="*/ 226 h 265"/>
                  <a:gd name="T18" fmla="*/ 150 w 277"/>
                  <a:gd name="T19" fmla="*/ 212 h 265"/>
                  <a:gd name="T20" fmla="*/ 162 w 277"/>
                  <a:gd name="T21" fmla="*/ 201 h 265"/>
                  <a:gd name="T22" fmla="*/ 153 w 277"/>
                  <a:gd name="T23" fmla="*/ 195 h 265"/>
                  <a:gd name="T24" fmla="*/ 145 w 277"/>
                  <a:gd name="T25" fmla="*/ 182 h 265"/>
                  <a:gd name="T26" fmla="*/ 142 w 277"/>
                  <a:gd name="T27" fmla="*/ 167 h 265"/>
                  <a:gd name="T28" fmla="*/ 145 w 277"/>
                  <a:gd name="T29" fmla="*/ 151 h 265"/>
                  <a:gd name="T30" fmla="*/ 161 w 277"/>
                  <a:gd name="T31" fmla="*/ 133 h 265"/>
                  <a:gd name="T32" fmla="*/ 186 w 277"/>
                  <a:gd name="T33" fmla="*/ 127 h 265"/>
                  <a:gd name="T34" fmla="*/ 146 w 277"/>
                  <a:gd name="T35" fmla="*/ 111 h 265"/>
                  <a:gd name="T36" fmla="*/ 124 w 277"/>
                  <a:gd name="T37" fmla="*/ 114 h 265"/>
                  <a:gd name="T38" fmla="*/ 68 w 277"/>
                  <a:gd name="T39" fmla="*/ 131 h 265"/>
                  <a:gd name="T40" fmla="*/ 33 w 277"/>
                  <a:gd name="T41" fmla="*/ 121 h 265"/>
                  <a:gd name="T42" fmla="*/ 36 w 277"/>
                  <a:gd name="T43" fmla="*/ 121 h 265"/>
                  <a:gd name="T44" fmla="*/ 36 w 277"/>
                  <a:gd name="T45" fmla="*/ 121 h 265"/>
                  <a:gd name="T46" fmla="*/ 40 w 277"/>
                  <a:gd name="T47" fmla="*/ 121 h 265"/>
                  <a:gd name="T48" fmla="*/ 44 w 277"/>
                  <a:gd name="T49" fmla="*/ 121 h 265"/>
                  <a:gd name="T50" fmla="*/ 49 w 277"/>
                  <a:gd name="T51" fmla="*/ 120 h 265"/>
                  <a:gd name="T52" fmla="*/ 49 w 277"/>
                  <a:gd name="T53" fmla="*/ 120 h 265"/>
                  <a:gd name="T54" fmla="*/ 98 w 277"/>
                  <a:gd name="T55" fmla="*/ 110 h 265"/>
                  <a:gd name="T56" fmla="*/ 129 w 277"/>
                  <a:gd name="T57" fmla="*/ 98 h 265"/>
                  <a:gd name="T58" fmla="*/ 131 w 277"/>
                  <a:gd name="T59" fmla="*/ 97 h 265"/>
                  <a:gd name="T60" fmla="*/ 134 w 277"/>
                  <a:gd name="T61" fmla="*/ 96 h 265"/>
                  <a:gd name="T62" fmla="*/ 139 w 277"/>
                  <a:gd name="T63" fmla="*/ 96 h 265"/>
                  <a:gd name="T64" fmla="*/ 140 w 277"/>
                  <a:gd name="T65" fmla="*/ 96 h 265"/>
                  <a:gd name="T66" fmla="*/ 143 w 277"/>
                  <a:gd name="T67" fmla="*/ 97 h 265"/>
                  <a:gd name="T68" fmla="*/ 147 w 277"/>
                  <a:gd name="T69" fmla="*/ 98 h 265"/>
                  <a:gd name="T70" fmla="*/ 152 w 277"/>
                  <a:gd name="T71" fmla="*/ 99 h 265"/>
                  <a:gd name="T72" fmla="*/ 152 w 277"/>
                  <a:gd name="T73" fmla="*/ 99 h 265"/>
                  <a:gd name="T74" fmla="*/ 158 w 277"/>
                  <a:gd name="T75" fmla="*/ 101 h 265"/>
                  <a:gd name="T76" fmla="*/ 162 w 277"/>
                  <a:gd name="T77" fmla="*/ 102 h 265"/>
                  <a:gd name="T78" fmla="*/ 168 w 277"/>
                  <a:gd name="T79" fmla="*/ 104 h 265"/>
                  <a:gd name="T80" fmla="*/ 169 w 277"/>
                  <a:gd name="T81" fmla="*/ 105 h 265"/>
                  <a:gd name="T82" fmla="*/ 174 w 277"/>
                  <a:gd name="T83" fmla="*/ 108 h 265"/>
                  <a:gd name="T84" fmla="*/ 179 w 277"/>
                  <a:gd name="T85" fmla="*/ 110 h 265"/>
                  <a:gd name="T86" fmla="*/ 185 w 277"/>
                  <a:gd name="T87" fmla="*/ 112 h 265"/>
                  <a:gd name="T88" fmla="*/ 186 w 277"/>
                  <a:gd name="T89" fmla="*/ 112 h 265"/>
                  <a:gd name="T90" fmla="*/ 192 w 277"/>
                  <a:gd name="T91" fmla="*/ 115 h 265"/>
                  <a:gd name="T92" fmla="*/ 196 w 277"/>
                  <a:gd name="T93" fmla="*/ 117 h 265"/>
                  <a:gd name="T94" fmla="*/ 202 w 277"/>
                  <a:gd name="T95" fmla="*/ 119 h 265"/>
                  <a:gd name="T96" fmla="*/ 203 w 277"/>
                  <a:gd name="T97" fmla="*/ 120 h 265"/>
                  <a:gd name="T98" fmla="*/ 208 w 277"/>
                  <a:gd name="T99" fmla="*/ 122 h 265"/>
                  <a:gd name="T100" fmla="*/ 211 w 277"/>
                  <a:gd name="T101" fmla="*/ 124 h 265"/>
                  <a:gd name="T102" fmla="*/ 216 w 277"/>
                  <a:gd name="T103" fmla="*/ 127 h 265"/>
                  <a:gd name="T104" fmla="*/ 233 w 277"/>
                  <a:gd name="T105" fmla="*/ 135 h 265"/>
                  <a:gd name="T106" fmla="*/ 251 w 277"/>
                  <a:gd name="T107" fmla="*/ 139 h 265"/>
                  <a:gd name="T108" fmla="*/ 266 w 277"/>
                  <a:gd name="T109" fmla="*/ 133 h 265"/>
                  <a:gd name="T110" fmla="*/ 274 w 277"/>
                  <a:gd name="T111" fmla="*/ 124 h 265"/>
                  <a:gd name="T112" fmla="*/ 277 w 277"/>
                  <a:gd name="T113" fmla="*/ 109 h 265"/>
                  <a:gd name="T114" fmla="*/ 269 w 277"/>
                  <a:gd name="T115" fmla="*/ 93 h 265"/>
                  <a:gd name="T116" fmla="*/ 259 w 277"/>
                  <a:gd name="T117" fmla="*/ 8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7" h="265">
                    <a:moveTo>
                      <a:pt x="259" y="85"/>
                    </a:moveTo>
                    <a:lnTo>
                      <a:pt x="226" y="69"/>
                    </a:lnTo>
                    <a:lnTo>
                      <a:pt x="226" y="69"/>
                    </a:lnTo>
                    <a:lnTo>
                      <a:pt x="226" y="69"/>
                    </a:lnTo>
                    <a:lnTo>
                      <a:pt x="223" y="66"/>
                    </a:lnTo>
                    <a:lnTo>
                      <a:pt x="200" y="55"/>
                    </a:lnTo>
                    <a:lnTo>
                      <a:pt x="94" y="0"/>
                    </a:lnTo>
                    <a:lnTo>
                      <a:pt x="94" y="0"/>
                    </a:lnTo>
                    <a:lnTo>
                      <a:pt x="0" y="0"/>
                    </a:lnTo>
                    <a:lnTo>
                      <a:pt x="0" y="239"/>
                    </a:lnTo>
                    <a:lnTo>
                      <a:pt x="0" y="239"/>
                    </a:lnTo>
                    <a:lnTo>
                      <a:pt x="2" y="244"/>
                    </a:lnTo>
                    <a:lnTo>
                      <a:pt x="4" y="248"/>
                    </a:lnTo>
                    <a:lnTo>
                      <a:pt x="7" y="252"/>
                    </a:lnTo>
                    <a:lnTo>
                      <a:pt x="13" y="256"/>
                    </a:lnTo>
                    <a:lnTo>
                      <a:pt x="19" y="260"/>
                    </a:lnTo>
                    <a:lnTo>
                      <a:pt x="26" y="263"/>
                    </a:lnTo>
                    <a:lnTo>
                      <a:pt x="37" y="265"/>
                    </a:lnTo>
                    <a:lnTo>
                      <a:pt x="153" y="265"/>
                    </a:lnTo>
                    <a:lnTo>
                      <a:pt x="153" y="265"/>
                    </a:lnTo>
                    <a:lnTo>
                      <a:pt x="148" y="258"/>
                    </a:lnTo>
                    <a:lnTo>
                      <a:pt x="145" y="252"/>
                    </a:lnTo>
                    <a:lnTo>
                      <a:pt x="142" y="244"/>
                    </a:lnTo>
                    <a:lnTo>
                      <a:pt x="142" y="236"/>
                    </a:lnTo>
                    <a:lnTo>
                      <a:pt x="142" y="236"/>
                    </a:lnTo>
                    <a:lnTo>
                      <a:pt x="142" y="231"/>
                    </a:lnTo>
                    <a:lnTo>
                      <a:pt x="143" y="226"/>
                    </a:lnTo>
                    <a:lnTo>
                      <a:pt x="145" y="220"/>
                    </a:lnTo>
                    <a:lnTo>
                      <a:pt x="147" y="216"/>
                    </a:lnTo>
                    <a:lnTo>
                      <a:pt x="150" y="212"/>
                    </a:lnTo>
                    <a:lnTo>
                      <a:pt x="153" y="208"/>
                    </a:lnTo>
                    <a:lnTo>
                      <a:pt x="158" y="205"/>
                    </a:lnTo>
                    <a:lnTo>
                      <a:pt x="162" y="201"/>
                    </a:lnTo>
                    <a:lnTo>
                      <a:pt x="162" y="201"/>
                    </a:lnTo>
                    <a:lnTo>
                      <a:pt x="158" y="198"/>
                    </a:lnTo>
                    <a:lnTo>
                      <a:pt x="153" y="195"/>
                    </a:lnTo>
                    <a:lnTo>
                      <a:pt x="150" y="191"/>
                    </a:lnTo>
                    <a:lnTo>
                      <a:pt x="147" y="187"/>
                    </a:lnTo>
                    <a:lnTo>
                      <a:pt x="145" y="182"/>
                    </a:lnTo>
                    <a:lnTo>
                      <a:pt x="143" y="177"/>
                    </a:lnTo>
                    <a:lnTo>
                      <a:pt x="142" y="172"/>
                    </a:lnTo>
                    <a:lnTo>
                      <a:pt x="142" y="167"/>
                    </a:lnTo>
                    <a:lnTo>
                      <a:pt x="142" y="167"/>
                    </a:lnTo>
                    <a:lnTo>
                      <a:pt x="142" y="159"/>
                    </a:lnTo>
                    <a:lnTo>
                      <a:pt x="145" y="151"/>
                    </a:lnTo>
                    <a:lnTo>
                      <a:pt x="149" y="145"/>
                    </a:lnTo>
                    <a:lnTo>
                      <a:pt x="154" y="138"/>
                    </a:lnTo>
                    <a:lnTo>
                      <a:pt x="161" y="133"/>
                    </a:lnTo>
                    <a:lnTo>
                      <a:pt x="168" y="130"/>
                    </a:lnTo>
                    <a:lnTo>
                      <a:pt x="177" y="127"/>
                    </a:lnTo>
                    <a:lnTo>
                      <a:pt x="186" y="127"/>
                    </a:lnTo>
                    <a:lnTo>
                      <a:pt x="186" y="127"/>
                    </a:lnTo>
                    <a:lnTo>
                      <a:pt x="158" y="114"/>
                    </a:lnTo>
                    <a:lnTo>
                      <a:pt x="146" y="111"/>
                    </a:lnTo>
                    <a:lnTo>
                      <a:pt x="137" y="109"/>
                    </a:lnTo>
                    <a:lnTo>
                      <a:pt x="137" y="109"/>
                    </a:lnTo>
                    <a:lnTo>
                      <a:pt x="124" y="114"/>
                    </a:lnTo>
                    <a:lnTo>
                      <a:pt x="99" y="123"/>
                    </a:lnTo>
                    <a:lnTo>
                      <a:pt x="84" y="128"/>
                    </a:lnTo>
                    <a:lnTo>
                      <a:pt x="68" y="131"/>
                    </a:lnTo>
                    <a:lnTo>
                      <a:pt x="50" y="133"/>
                    </a:lnTo>
                    <a:lnTo>
                      <a:pt x="33" y="134"/>
                    </a:lnTo>
                    <a:lnTo>
                      <a:pt x="33" y="121"/>
                    </a:lnTo>
                    <a:lnTo>
                      <a:pt x="33" y="121"/>
                    </a:lnTo>
                    <a:lnTo>
                      <a:pt x="36" y="121"/>
                    </a:lnTo>
                    <a:lnTo>
                      <a:pt x="36" y="121"/>
                    </a:lnTo>
                    <a:lnTo>
                      <a:pt x="36" y="121"/>
                    </a:lnTo>
                    <a:lnTo>
                      <a:pt x="36" y="121"/>
                    </a:lnTo>
                    <a:lnTo>
                      <a:pt x="36" y="121"/>
                    </a:lnTo>
                    <a:lnTo>
                      <a:pt x="40" y="121"/>
                    </a:lnTo>
                    <a:lnTo>
                      <a:pt x="40" y="121"/>
                    </a:lnTo>
                    <a:lnTo>
                      <a:pt x="40" y="121"/>
                    </a:lnTo>
                    <a:lnTo>
                      <a:pt x="40" y="121"/>
                    </a:lnTo>
                    <a:lnTo>
                      <a:pt x="44" y="121"/>
                    </a:lnTo>
                    <a:lnTo>
                      <a:pt x="44" y="121"/>
                    </a:lnTo>
                    <a:lnTo>
                      <a:pt x="44" y="121"/>
                    </a:lnTo>
                    <a:lnTo>
                      <a:pt x="44" y="121"/>
                    </a:lnTo>
                    <a:lnTo>
                      <a:pt x="49" y="120"/>
                    </a:lnTo>
                    <a:lnTo>
                      <a:pt x="49" y="120"/>
                    </a:lnTo>
                    <a:lnTo>
                      <a:pt x="49" y="120"/>
                    </a:lnTo>
                    <a:lnTo>
                      <a:pt x="49" y="120"/>
                    </a:lnTo>
                    <a:lnTo>
                      <a:pt x="62" y="119"/>
                    </a:lnTo>
                    <a:lnTo>
                      <a:pt x="75" y="116"/>
                    </a:lnTo>
                    <a:lnTo>
                      <a:pt x="98" y="110"/>
                    </a:lnTo>
                    <a:lnTo>
                      <a:pt x="117" y="103"/>
                    </a:lnTo>
                    <a:lnTo>
                      <a:pt x="129" y="98"/>
                    </a:lnTo>
                    <a:lnTo>
                      <a:pt x="129" y="98"/>
                    </a:lnTo>
                    <a:lnTo>
                      <a:pt x="130" y="98"/>
                    </a:lnTo>
                    <a:lnTo>
                      <a:pt x="130" y="98"/>
                    </a:lnTo>
                    <a:lnTo>
                      <a:pt x="131" y="97"/>
                    </a:lnTo>
                    <a:lnTo>
                      <a:pt x="131" y="97"/>
                    </a:lnTo>
                    <a:lnTo>
                      <a:pt x="133" y="96"/>
                    </a:lnTo>
                    <a:lnTo>
                      <a:pt x="134" y="96"/>
                    </a:lnTo>
                    <a:lnTo>
                      <a:pt x="135" y="96"/>
                    </a:lnTo>
                    <a:lnTo>
                      <a:pt x="135" y="96"/>
                    </a:lnTo>
                    <a:lnTo>
                      <a:pt x="139" y="96"/>
                    </a:lnTo>
                    <a:lnTo>
                      <a:pt x="139" y="96"/>
                    </a:lnTo>
                    <a:lnTo>
                      <a:pt x="140" y="96"/>
                    </a:lnTo>
                    <a:lnTo>
                      <a:pt x="140" y="96"/>
                    </a:lnTo>
                    <a:lnTo>
                      <a:pt x="143" y="97"/>
                    </a:lnTo>
                    <a:lnTo>
                      <a:pt x="143" y="97"/>
                    </a:lnTo>
                    <a:lnTo>
                      <a:pt x="143" y="97"/>
                    </a:lnTo>
                    <a:lnTo>
                      <a:pt x="143" y="97"/>
                    </a:lnTo>
                    <a:lnTo>
                      <a:pt x="147" y="98"/>
                    </a:lnTo>
                    <a:lnTo>
                      <a:pt x="147" y="98"/>
                    </a:lnTo>
                    <a:lnTo>
                      <a:pt x="148" y="98"/>
                    </a:lnTo>
                    <a:lnTo>
                      <a:pt x="148" y="98"/>
                    </a:lnTo>
                    <a:lnTo>
                      <a:pt x="152" y="99"/>
                    </a:lnTo>
                    <a:lnTo>
                      <a:pt x="152" y="99"/>
                    </a:lnTo>
                    <a:lnTo>
                      <a:pt x="152" y="99"/>
                    </a:lnTo>
                    <a:lnTo>
                      <a:pt x="152" y="99"/>
                    </a:lnTo>
                    <a:lnTo>
                      <a:pt x="156" y="100"/>
                    </a:lnTo>
                    <a:lnTo>
                      <a:pt x="156" y="100"/>
                    </a:lnTo>
                    <a:lnTo>
                      <a:pt x="158" y="101"/>
                    </a:lnTo>
                    <a:lnTo>
                      <a:pt x="158" y="101"/>
                    </a:lnTo>
                    <a:lnTo>
                      <a:pt x="162" y="102"/>
                    </a:lnTo>
                    <a:lnTo>
                      <a:pt x="162" y="102"/>
                    </a:lnTo>
                    <a:lnTo>
                      <a:pt x="163" y="102"/>
                    </a:lnTo>
                    <a:lnTo>
                      <a:pt x="163" y="102"/>
                    </a:lnTo>
                    <a:lnTo>
                      <a:pt x="168" y="104"/>
                    </a:lnTo>
                    <a:lnTo>
                      <a:pt x="168" y="104"/>
                    </a:lnTo>
                    <a:lnTo>
                      <a:pt x="169" y="105"/>
                    </a:lnTo>
                    <a:lnTo>
                      <a:pt x="169" y="105"/>
                    </a:lnTo>
                    <a:lnTo>
                      <a:pt x="173" y="107"/>
                    </a:lnTo>
                    <a:lnTo>
                      <a:pt x="173" y="107"/>
                    </a:lnTo>
                    <a:lnTo>
                      <a:pt x="174" y="108"/>
                    </a:lnTo>
                    <a:lnTo>
                      <a:pt x="174" y="108"/>
                    </a:lnTo>
                    <a:lnTo>
                      <a:pt x="179" y="110"/>
                    </a:lnTo>
                    <a:lnTo>
                      <a:pt x="179" y="110"/>
                    </a:lnTo>
                    <a:lnTo>
                      <a:pt x="181" y="110"/>
                    </a:lnTo>
                    <a:lnTo>
                      <a:pt x="181" y="110"/>
                    </a:lnTo>
                    <a:lnTo>
                      <a:pt x="185" y="112"/>
                    </a:lnTo>
                    <a:lnTo>
                      <a:pt x="185" y="112"/>
                    </a:lnTo>
                    <a:lnTo>
                      <a:pt x="186" y="112"/>
                    </a:lnTo>
                    <a:lnTo>
                      <a:pt x="186" y="112"/>
                    </a:lnTo>
                    <a:lnTo>
                      <a:pt x="190" y="114"/>
                    </a:lnTo>
                    <a:lnTo>
                      <a:pt x="190" y="114"/>
                    </a:lnTo>
                    <a:lnTo>
                      <a:pt x="192" y="115"/>
                    </a:lnTo>
                    <a:lnTo>
                      <a:pt x="192" y="115"/>
                    </a:lnTo>
                    <a:lnTo>
                      <a:pt x="196" y="117"/>
                    </a:lnTo>
                    <a:lnTo>
                      <a:pt x="196" y="117"/>
                    </a:lnTo>
                    <a:lnTo>
                      <a:pt x="198" y="117"/>
                    </a:lnTo>
                    <a:lnTo>
                      <a:pt x="198" y="117"/>
                    </a:lnTo>
                    <a:lnTo>
                      <a:pt x="202" y="119"/>
                    </a:lnTo>
                    <a:lnTo>
                      <a:pt x="202" y="119"/>
                    </a:lnTo>
                    <a:lnTo>
                      <a:pt x="203" y="120"/>
                    </a:lnTo>
                    <a:lnTo>
                      <a:pt x="203" y="120"/>
                    </a:lnTo>
                    <a:lnTo>
                      <a:pt x="207" y="122"/>
                    </a:lnTo>
                    <a:lnTo>
                      <a:pt x="207" y="122"/>
                    </a:lnTo>
                    <a:lnTo>
                      <a:pt x="208" y="122"/>
                    </a:lnTo>
                    <a:lnTo>
                      <a:pt x="208" y="122"/>
                    </a:lnTo>
                    <a:lnTo>
                      <a:pt x="211" y="124"/>
                    </a:lnTo>
                    <a:lnTo>
                      <a:pt x="211" y="124"/>
                    </a:lnTo>
                    <a:lnTo>
                      <a:pt x="214" y="126"/>
                    </a:lnTo>
                    <a:lnTo>
                      <a:pt x="214" y="126"/>
                    </a:lnTo>
                    <a:lnTo>
                      <a:pt x="216" y="127"/>
                    </a:lnTo>
                    <a:lnTo>
                      <a:pt x="216" y="127"/>
                    </a:lnTo>
                    <a:lnTo>
                      <a:pt x="233" y="135"/>
                    </a:lnTo>
                    <a:lnTo>
                      <a:pt x="233" y="135"/>
                    </a:lnTo>
                    <a:lnTo>
                      <a:pt x="239" y="138"/>
                    </a:lnTo>
                    <a:lnTo>
                      <a:pt x="245" y="139"/>
                    </a:lnTo>
                    <a:lnTo>
                      <a:pt x="251" y="139"/>
                    </a:lnTo>
                    <a:lnTo>
                      <a:pt x="257" y="138"/>
                    </a:lnTo>
                    <a:lnTo>
                      <a:pt x="262" y="136"/>
                    </a:lnTo>
                    <a:lnTo>
                      <a:pt x="266" y="133"/>
                    </a:lnTo>
                    <a:lnTo>
                      <a:pt x="271" y="130"/>
                    </a:lnTo>
                    <a:lnTo>
                      <a:pt x="274" y="124"/>
                    </a:lnTo>
                    <a:lnTo>
                      <a:pt x="274" y="124"/>
                    </a:lnTo>
                    <a:lnTo>
                      <a:pt x="276" y="119"/>
                    </a:lnTo>
                    <a:lnTo>
                      <a:pt x="277" y="114"/>
                    </a:lnTo>
                    <a:lnTo>
                      <a:pt x="277" y="109"/>
                    </a:lnTo>
                    <a:lnTo>
                      <a:pt x="275" y="102"/>
                    </a:lnTo>
                    <a:lnTo>
                      <a:pt x="273" y="97"/>
                    </a:lnTo>
                    <a:lnTo>
                      <a:pt x="269" y="93"/>
                    </a:lnTo>
                    <a:lnTo>
                      <a:pt x="264" y="89"/>
                    </a:lnTo>
                    <a:lnTo>
                      <a:pt x="259" y="85"/>
                    </a:lnTo>
                    <a:lnTo>
                      <a:pt x="259"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86" name="Freeform 8">
                <a:extLst>
                  <a:ext uri="{FF2B5EF4-FFF2-40B4-BE49-F238E27FC236}">
                    <a16:creationId xmlns:a16="http://schemas.microsoft.com/office/drawing/2014/main" id="{6A0E307D-4E0F-87F2-F320-256E6F92D885}"/>
                  </a:ext>
                </a:extLst>
              </p:cNvPr>
              <p:cNvSpPr>
                <a:spLocks/>
              </p:cNvSpPr>
              <p:nvPr/>
            </p:nvSpPr>
            <p:spPr bwMode="auto">
              <a:xfrm>
                <a:off x="3115464" y="1481319"/>
                <a:ext cx="348" cy="57"/>
              </a:xfrm>
              <a:custGeom>
                <a:avLst/>
                <a:gdLst>
                  <a:gd name="T0" fmla="*/ 317 w 348"/>
                  <a:gd name="T1" fmla="*/ 0 h 57"/>
                  <a:gd name="T2" fmla="*/ 0 w 348"/>
                  <a:gd name="T3" fmla="*/ 0 h 57"/>
                  <a:gd name="T4" fmla="*/ 110 w 348"/>
                  <a:gd name="T5" fmla="*/ 57 h 57"/>
                  <a:gd name="T6" fmla="*/ 130 w 348"/>
                  <a:gd name="T7" fmla="*/ 57 h 57"/>
                  <a:gd name="T8" fmla="*/ 215 w 348"/>
                  <a:gd name="T9" fmla="*/ 57 h 57"/>
                  <a:gd name="T10" fmla="*/ 317 w 348"/>
                  <a:gd name="T11" fmla="*/ 57 h 57"/>
                  <a:gd name="T12" fmla="*/ 317 w 348"/>
                  <a:gd name="T13" fmla="*/ 57 h 57"/>
                  <a:gd name="T14" fmla="*/ 323 w 348"/>
                  <a:gd name="T15" fmla="*/ 56 h 57"/>
                  <a:gd name="T16" fmla="*/ 329 w 348"/>
                  <a:gd name="T17" fmla="*/ 55 h 57"/>
                  <a:gd name="T18" fmla="*/ 335 w 348"/>
                  <a:gd name="T19" fmla="*/ 52 h 57"/>
                  <a:gd name="T20" fmla="*/ 339 w 348"/>
                  <a:gd name="T21" fmla="*/ 49 h 57"/>
                  <a:gd name="T22" fmla="*/ 343 w 348"/>
                  <a:gd name="T23" fmla="*/ 44 h 57"/>
                  <a:gd name="T24" fmla="*/ 346 w 348"/>
                  <a:gd name="T25" fmla="*/ 40 h 57"/>
                  <a:gd name="T26" fmla="*/ 347 w 348"/>
                  <a:gd name="T27" fmla="*/ 34 h 57"/>
                  <a:gd name="T28" fmla="*/ 348 w 348"/>
                  <a:gd name="T29" fmla="*/ 28 h 57"/>
                  <a:gd name="T30" fmla="*/ 348 w 348"/>
                  <a:gd name="T31" fmla="*/ 28 h 57"/>
                  <a:gd name="T32" fmla="*/ 347 w 348"/>
                  <a:gd name="T33" fmla="*/ 23 h 57"/>
                  <a:gd name="T34" fmla="*/ 346 w 348"/>
                  <a:gd name="T35" fmla="*/ 18 h 57"/>
                  <a:gd name="T36" fmla="*/ 343 w 348"/>
                  <a:gd name="T37" fmla="*/ 13 h 57"/>
                  <a:gd name="T38" fmla="*/ 339 w 348"/>
                  <a:gd name="T39" fmla="*/ 8 h 57"/>
                  <a:gd name="T40" fmla="*/ 335 w 348"/>
                  <a:gd name="T41" fmla="*/ 5 h 57"/>
                  <a:gd name="T42" fmla="*/ 329 w 348"/>
                  <a:gd name="T43" fmla="*/ 2 h 57"/>
                  <a:gd name="T44" fmla="*/ 323 w 348"/>
                  <a:gd name="T45" fmla="*/ 1 h 57"/>
                  <a:gd name="T46" fmla="*/ 317 w 348"/>
                  <a:gd name="T47" fmla="*/ 0 h 57"/>
                  <a:gd name="T48" fmla="*/ 317 w 348"/>
                  <a:gd name="T4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8" h="57">
                    <a:moveTo>
                      <a:pt x="317" y="0"/>
                    </a:moveTo>
                    <a:lnTo>
                      <a:pt x="0" y="0"/>
                    </a:lnTo>
                    <a:lnTo>
                      <a:pt x="110" y="57"/>
                    </a:lnTo>
                    <a:lnTo>
                      <a:pt x="130" y="57"/>
                    </a:lnTo>
                    <a:lnTo>
                      <a:pt x="215" y="57"/>
                    </a:lnTo>
                    <a:lnTo>
                      <a:pt x="317" y="57"/>
                    </a:lnTo>
                    <a:lnTo>
                      <a:pt x="317" y="57"/>
                    </a:lnTo>
                    <a:lnTo>
                      <a:pt x="323" y="56"/>
                    </a:lnTo>
                    <a:lnTo>
                      <a:pt x="329" y="55"/>
                    </a:lnTo>
                    <a:lnTo>
                      <a:pt x="335" y="52"/>
                    </a:lnTo>
                    <a:lnTo>
                      <a:pt x="339" y="49"/>
                    </a:lnTo>
                    <a:lnTo>
                      <a:pt x="343" y="44"/>
                    </a:lnTo>
                    <a:lnTo>
                      <a:pt x="346" y="40"/>
                    </a:lnTo>
                    <a:lnTo>
                      <a:pt x="347" y="34"/>
                    </a:lnTo>
                    <a:lnTo>
                      <a:pt x="348" y="28"/>
                    </a:lnTo>
                    <a:lnTo>
                      <a:pt x="348" y="28"/>
                    </a:lnTo>
                    <a:lnTo>
                      <a:pt x="347" y="23"/>
                    </a:lnTo>
                    <a:lnTo>
                      <a:pt x="346" y="18"/>
                    </a:lnTo>
                    <a:lnTo>
                      <a:pt x="343" y="13"/>
                    </a:lnTo>
                    <a:lnTo>
                      <a:pt x="339" y="8"/>
                    </a:lnTo>
                    <a:lnTo>
                      <a:pt x="335" y="5"/>
                    </a:lnTo>
                    <a:lnTo>
                      <a:pt x="329" y="2"/>
                    </a:lnTo>
                    <a:lnTo>
                      <a:pt x="323" y="1"/>
                    </a:lnTo>
                    <a:lnTo>
                      <a:pt x="317" y="0"/>
                    </a:lnTo>
                    <a:lnTo>
                      <a:pt x="3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87" name="Freeform 9">
                <a:extLst>
                  <a:ext uri="{FF2B5EF4-FFF2-40B4-BE49-F238E27FC236}">
                    <a16:creationId xmlns:a16="http://schemas.microsoft.com/office/drawing/2014/main" id="{C3B85B80-BE2F-EBAD-EBC3-49EBF5D7D2C8}"/>
                  </a:ext>
                </a:extLst>
              </p:cNvPr>
              <p:cNvSpPr>
                <a:spLocks/>
              </p:cNvSpPr>
              <p:nvPr/>
            </p:nvSpPr>
            <p:spPr bwMode="auto">
              <a:xfrm>
                <a:off x="3115598" y="1481389"/>
                <a:ext cx="114" cy="56"/>
              </a:xfrm>
              <a:custGeom>
                <a:avLst/>
                <a:gdLst>
                  <a:gd name="T0" fmla="*/ 81 w 114"/>
                  <a:gd name="T1" fmla="*/ 0 h 56"/>
                  <a:gd name="T2" fmla="*/ 0 w 114"/>
                  <a:gd name="T3" fmla="*/ 0 h 56"/>
                  <a:gd name="T4" fmla="*/ 8 w 114"/>
                  <a:gd name="T5" fmla="*/ 4 h 56"/>
                  <a:gd name="T6" fmla="*/ 8 w 114"/>
                  <a:gd name="T7" fmla="*/ 4 h 56"/>
                  <a:gd name="T8" fmla="*/ 16 w 114"/>
                  <a:gd name="T9" fmla="*/ 8 h 56"/>
                  <a:gd name="T10" fmla="*/ 22 w 114"/>
                  <a:gd name="T11" fmla="*/ 13 h 56"/>
                  <a:gd name="T12" fmla="*/ 26 w 114"/>
                  <a:gd name="T13" fmla="*/ 20 h 56"/>
                  <a:gd name="T14" fmla="*/ 31 w 114"/>
                  <a:gd name="T15" fmla="*/ 27 h 56"/>
                  <a:gd name="T16" fmla="*/ 33 w 114"/>
                  <a:gd name="T17" fmla="*/ 33 h 56"/>
                  <a:gd name="T18" fmla="*/ 34 w 114"/>
                  <a:gd name="T19" fmla="*/ 41 h 56"/>
                  <a:gd name="T20" fmla="*/ 34 w 114"/>
                  <a:gd name="T21" fmla="*/ 49 h 56"/>
                  <a:gd name="T22" fmla="*/ 32 w 114"/>
                  <a:gd name="T23" fmla="*/ 56 h 56"/>
                  <a:gd name="T24" fmla="*/ 81 w 114"/>
                  <a:gd name="T25" fmla="*/ 56 h 56"/>
                  <a:gd name="T26" fmla="*/ 81 w 114"/>
                  <a:gd name="T27" fmla="*/ 56 h 56"/>
                  <a:gd name="T28" fmla="*/ 88 w 114"/>
                  <a:gd name="T29" fmla="*/ 56 h 56"/>
                  <a:gd name="T30" fmla="*/ 94 w 114"/>
                  <a:gd name="T31" fmla="*/ 53 h 56"/>
                  <a:gd name="T32" fmla="*/ 99 w 114"/>
                  <a:gd name="T33" fmla="*/ 51 h 56"/>
                  <a:gd name="T34" fmla="*/ 105 w 114"/>
                  <a:gd name="T35" fmla="*/ 48 h 56"/>
                  <a:gd name="T36" fmla="*/ 108 w 114"/>
                  <a:gd name="T37" fmla="*/ 44 h 56"/>
                  <a:gd name="T38" fmla="*/ 111 w 114"/>
                  <a:gd name="T39" fmla="*/ 39 h 56"/>
                  <a:gd name="T40" fmla="*/ 113 w 114"/>
                  <a:gd name="T41" fmla="*/ 33 h 56"/>
                  <a:gd name="T42" fmla="*/ 114 w 114"/>
                  <a:gd name="T43" fmla="*/ 28 h 56"/>
                  <a:gd name="T44" fmla="*/ 114 w 114"/>
                  <a:gd name="T45" fmla="*/ 28 h 56"/>
                  <a:gd name="T46" fmla="*/ 113 w 114"/>
                  <a:gd name="T47" fmla="*/ 22 h 56"/>
                  <a:gd name="T48" fmla="*/ 111 w 114"/>
                  <a:gd name="T49" fmla="*/ 17 h 56"/>
                  <a:gd name="T50" fmla="*/ 108 w 114"/>
                  <a:gd name="T51" fmla="*/ 12 h 56"/>
                  <a:gd name="T52" fmla="*/ 105 w 114"/>
                  <a:gd name="T53" fmla="*/ 8 h 56"/>
                  <a:gd name="T54" fmla="*/ 99 w 114"/>
                  <a:gd name="T55" fmla="*/ 4 h 56"/>
                  <a:gd name="T56" fmla="*/ 94 w 114"/>
                  <a:gd name="T57" fmla="*/ 2 h 56"/>
                  <a:gd name="T58" fmla="*/ 88 w 114"/>
                  <a:gd name="T59" fmla="*/ 0 h 56"/>
                  <a:gd name="T60" fmla="*/ 81 w 114"/>
                  <a:gd name="T61" fmla="*/ 0 h 56"/>
                  <a:gd name="T62" fmla="*/ 81 w 114"/>
                  <a:gd name="T6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56">
                    <a:moveTo>
                      <a:pt x="81" y="0"/>
                    </a:moveTo>
                    <a:lnTo>
                      <a:pt x="0" y="0"/>
                    </a:lnTo>
                    <a:lnTo>
                      <a:pt x="8" y="4"/>
                    </a:lnTo>
                    <a:lnTo>
                      <a:pt x="8" y="4"/>
                    </a:lnTo>
                    <a:lnTo>
                      <a:pt x="16" y="8"/>
                    </a:lnTo>
                    <a:lnTo>
                      <a:pt x="22" y="13"/>
                    </a:lnTo>
                    <a:lnTo>
                      <a:pt x="26" y="20"/>
                    </a:lnTo>
                    <a:lnTo>
                      <a:pt x="31" y="27"/>
                    </a:lnTo>
                    <a:lnTo>
                      <a:pt x="33" y="33"/>
                    </a:lnTo>
                    <a:lnTo>
                      <a:pt x="34" y="41"/>
                    </a:lnTo>
                    <a:lnTo>
                      <a:pt x="34" y="49"/>
                    </a:lnTo>
                    <a:lnTo>
                      <a:pt x="32" y="56"/>
                    </a:lnTo>
                    <a:lnTo>
                      <a:pt x="81" y="56"/>
                    </a:lnTo>
                    <a:lnTo>
                      <a:pt x="81" y="56"/>
                    </a:lnTo>
                    <a:lnTo>
                      <a:pt x="88" y="56"/>
                    </a:lnTo>
                    <a:lnTo>
                      <a:pt x="94" y="53"/>
                    </a:lnTo>
                    <a:lnTo>
                      <a:pt x="99" y="51"/>
                    </a:lnTo>
                    <a:lnTo>
                      <a:pt x="105" y="48"/>
                    </a:lnTo>
                    <a:lnTo>
                      <a:pt x="108" y="44"/>
                    </a:lnTo>
                    <a:lnTo>
                      <a:pt x="111" y="39"/>
                    </a:lnTo>
                    <a:lnTo>
                      <a:pt x="113" y="33"/>
                    </a:lnTo>
                    <a:lnTo>
                      <a:pt x="114" y="28"/>
                    </a:lnTo>
                    <a:lnTo>
                      <a:pt x="114" y="28"/>
                    </a:lnTo>
                    <a:lnTo>
                      <a:pt x="113" y="22"/>
                    </a:lnTo>
                    <a:lnTo>
                      <a:pt x="111" y="17"/>
                    </a:lnTo>
                    <a:lnTo>
                      <a:pt x="108" y="12"/>
                    </a:lnTo>
                    <a:lnTo>
                      <a:pt x="105" y="8"/>
                    </a:lnTo>
                    <a:lnTo>
                      <a:pt x="99" y="4"/>
                    </a:lnTo>
                    <a:lnTo>
                      <a:pt x="94" y="2"/>
                    </a:lnTo>
                    <a:lnTo>
                      <a:pt x="88" y="0"/>
                    </a:lnTo>
                    <a:lnTo>
                      <a:pt x="81" y="0"/>
                    </a:lnTo>
                    <a:lnTo>
                      <a:pt x="8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88" name="Freeform 10">
                <a:extLst>
                  <a:ext uri="{FF2B5EF4-FFF2-40B4-BE49-F238E27FC236}">
                    <a16:creationId xmlns:a16="http://schemas.microsoft.com/office/drawing/2014/main" id="{8657D342-942C-D655-D4EA-615A8F3212D8}"/>
                  </a:ext>
                </a:extLst>
              </p:cNvPr>
              <p:cNvSpPr>
                <a:spLocks/>
              </p:cNvSpPr>
              <p:nvPr/>
            </p:nvSpPr>
            <p:spPr bwMode="auto">
              <a:xfrm>
                <a:off x="3115496" y="1481457"/>
                <a:ext cx="180" cy="57"/>
              </a:xfrm>
              <a:custGeom>
                <a:avLst/>
                <a:gdLst>
                  <a:gd name="T0" fmla="*/ 148 w 180"/>
                  <a:gd name="T1" fmla="*/ 0 h 57"/>
                  <a:gd name="T2" fmla="*/ 126 w 180"/>
                  <a:gd name="T3" fmla="*/ 0 h 57"/>
                  <a:gd name="T4" fmla="*/ 126 w 180"/>
                  <a:gd name="T5" fmla="*/ 0 h 57"/>
                  <a:gd name="T6" fmla="*/ 119 w 180"/>
                  <a:gd name="T7" fmla="*/ 7 h 57"/>
                  <a:gd name="T8" fmla="*/ 111 w 180"/>
                  <a:gd name="T9" fmla="*/ 11 h 57"/>
                  <a:gd name="T10" fmla="*/ 104 w 180"/>
                  <a:gd name="T11" fmla="*/ 13 h 57"/>
                  <a:gd name="T12" fmla="*/ 94 w 180"/>
                  <a:gd name="T13" fmla="*/ 14 h 57"/>
                  <a:gd name="T14" fmla="*/ 94 w 180"/>
                  <a:gd name="T15" fmla="*/ 14 h 57"/>
                  <a:gd name="T16" fmla="*/ 89 w 180"/>
                  <a:gd name="T17" fmla="*/ 14 h 57"/>
                  <a:gd name="T18" fmla="*/ 84 w 180"/>
                  <a:gd name="T19" fmla="*/ 13 h 57"/>
                  <a:gd name="T20" fmla="*/ 79 w 180"/>
                  <a:gd name="T21" fmla="*/ 11 h 57"/>
                  <a:gd name="T22" fmla="*/ 73 w 180"/>
                  <a:gd name="T23" fmla="*/ 9 h 57"/>
                  <a:gd name="T24" fmla="*/ 73 w 180"/>
                  <a:gd name="T25" fmla="*/ 9 h 57"/>
                  <a:gd name="T26" fmla="*/ 57 w 180"/>
                  <a:gd name="T27" fmla="*/ 0 h 57"/>
                  <a:gd name="T28" fmla="*/ 32 w 180"/>
                  <a:gd name="T29" fmla="*/ 0 h 57"/>
                  <a:gd name="T30" fmla="*/ 32 w 180"/>
                  <a:gd name="T31" fmla="*/ 0 h 57"/>
                  <a:gd name="T32" fmla="*/ 26 w 180"/>
                  <a:gd name="T33" fmla="*/ 1 h 57"/>
                  <a:gd name="T34" fmla="*/ 19 w 180"/>
                  <a:gd name="T35" fmla="*/ 3 h 57"/>
                  <a:gd name="T36" fmla="*/ 14 w 180"/>
                  <a:gd name="T37" fmla="*/ 5 h 57"/>
                  <a:gd name="T38" fmla="*/ 9 w 180"/>
                  <a:gd name="T39" fmla="*/ 9 h 57"/>
                  <a:gd name="T40" fmla="*/ 6 w 180"/>
                  <a:gd name="T41" fmla="*/ 13 h 57"/>
                  <a:gd name="T42" fmla="*/ 2 w 180"/>
                  <a:gd name="T43" fmla="*/ 18 h 57"/>
                  <a:gd name="T44" fmla="*/ 0 w 180"/>
                  <a:gd name="T45" fmla="*/ 23 h 57"/>
                  <a:gd name="T46" fmla="*/ 0 w 180"/>
                  <a:gd name="T47" fmla="*/ 29 h 57"/>
                  <a:gd name="T48" fmla="*/ 0 w 180"/>
                  <a:gd name="T49" fmla="*/ 29 h 57"/>
                  <a:gd name="T50" fmla="*/ 0 w 180"/>
                  <a:gd name="T51" fmla="*/ 35 h 57"/>
                  <a:gd name="T52" fmla="*/ 2 w 180"/>
                  <a:gd name="T53" fmla="*/ 40 h 57"/>
                  <a:gd name="T54" fmla="*/ 6 w 180"/>
                  <a:gd name="T55" fmla="*/ 44 h 57"/>
                  <a:gd name="T56" fmla="*/ 9 w 180"/>
                  <a:gd name="T57" fmla="*/ 49 h 57"/>
                  <a:gd name="T58" fmla="*/ 14 w 180"/>
                  <a:gd name="T59" fmla="*/ 53 h 57"/>
                  <a:gd name="T60" fmla="*/ 19 w 180"/>
                  <a:gd name="T61" fmla="*/ 55 h 57"/>
                  <a:gd name="T62" fmla="*/ 26 w 180"/>
                  <a:gd name="T63" fmla="*/ 57 h 57"/>
                  <a:gd name="T64" fmla="*/ 32 w 180"/>
                  <a:gd name="T65" fmla="*/ 57 h 57"/>
                  <a:gd name="T66" fmla="*/ 148 w 180"/>
                  <a:gd name="T67" fmla="*/ 57 h 57"/>
                  <a:gd name="T68" fmla="*/ 148 w 180"/>
                  <a:gd name="T69" fmla="*/ 57 h 57"/>
                  <a:gd name="T70" fmla="*/ 155 w 180"/>
                  <a:gd name="T71" fmla="*/ 57 h 57"/>
                  <a:gd name="T72" fmla="*/ 161 w 180"/>
                  <a:gd name="T73" fmla="*/ 55 h 57"/>
                  <a:gd name="T74" fmla="*/ 166 w 180"/>
                  <a:gd name="T75" fmla="*/ 53 h 57"/>
                  <a:gd name="T76" fmla="*/ 171 w 180"/>
                  <a:gd name="T77" fmla="*/ 49 h 57"/>
                  <a:gd name="T78" fmla="*/ 175 w 180"/>
                  <a:gd name="T79" fmla="*/ 44 h 57"/>
                  <a:gd name="T80" fmla="*/ 178 w 180"/>
                  <a:gd name="T81" fmla="*/ 40 h 57"/>
                  <a:gd name="T82" fmla="*/ 180 w 180"/>
                  <a:gd name="T83" fmla="*/ 35 h 57"/>
                  <a:gd name="T84" fmla="*/ 180 w 180"/>
                  <a:gd name="T85" fmla="*/ 29 h 57"/>
                  <a:gd name="T86" fmla="*/ 180 w 180"/>
                  <a:gd name="T87" fmla="*/ 29 h 57"/>
                  <a:gd name="T88" fmla="*/ 180 w 180"/>
                  <a:gd name="T89" fmla="*/ 23 h 57"/>
                  <a:gd name="T90" fmla="*/ 178 w 180"/>
                  <a:gd name="T91" fmla="*/ 18 h 57"/>
                  <a:gd name="T92" fmla="*/ 175 w 180"/>
                  <a:gd name="T93" fmla="*/ 13 h 57"/>
                  <a:gd name="T94" fmla="*/ 171 w 180"/>
                  <a:gd name="T95" fmla="*/ 9 h 57"/>
                  <a:gd name="T96" fmla="*/ 166 w 180"/>
                  <a:gd name="T97" fmla="*/ 5 h 57"/>
                  <a:gd name="T98" fmla="*/ 161 w 180"/>
                  <a:gd name="T99" fmla="*/ 3 h 57"/>
                  <a:gd name="T100" fmla="*/ 155 w 180"/>
                  <a:gd name="T101" fmla="*/ 1 h 57"/>
                  <a:gd name="T102" fmla="*/ 148 w 180"/>
                  <a:gd name="T103" fmla="*/ 0 h 57"/>
                  <a:gd name="T104" fmla="*/ 148 w 180"/>
                  <a:gd name="T10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57">
                    <a:moveTo>
                      <a:pt x="148" y="0"/>
                    </a:moveTo>
                    <a:lnTo>
                      <a:pt x="126" y="0"/>
                    </a:lnTo>
                    <a:lnTo>
                      <a:pt x="126" y="0"/>
                    </a:lnTo>
                    <a:lnTo>
                      <a:pt x="119" y="7"/>
                    </a:lnTo>
                    <a:lnTo>
                      <a:pt x="111" y="11"/>
                    </a:lnTo>
                    <a:lnTo>
                      <a:pt x="104" y="13"/>
                    </a:lnTo>
                    <a:lnTo>
                      <a:pt x="94" y="14"/>
                    </a:lnTo>
                    <a:lnTo>
                      <a:pt x="94" y="14"/>
                    </a:lnTo>
                    <a:lnTo>
                      <a:pt x="89" y="14"/>
                    </a:lnTo>
                    <a:lnTo>
                      <a:pt x="84" y="13"/>
                    </a:lnTo>
                    <a:lnTo>
                      <a:pt x="79" y="11"/>
                    </a:lnTo>
                    <a:lnTo>
                      <a:pt x="73" y="9"/>
                    </a:lnTo>
                    <a:lnTo>
                      <a:pt x="73" y="9"/>
                    </a:lnTo>
                    <a:lnTo>
                      <a:pt x="57" y="0"/>
                    </a:lnTo>
                    <a:lnTo>
                      <a:pt x="32" y="0"/>
                    </a:lnTo>
                    <a:lnTo>
                      <a:pt x="32" y="0"/>
                    </a:lnTo>
                    <a:lnTo>
                      <a:pt x="26" y="1"/>
                    </a:lnTo>
                    <a:lnTo>
                      <a:pt x="19" y="3"/>
                    </a:lnTo>
                    <a:lnTo>
                      <a:pt x="14" y="5"/>
                    </a:lnTo>
                    <a:lnTo>
                      <a:pt x="9" y="9"/>
                    </a:lnTo>
                    <a:lnTo>
                      <a:pt x="6" y="13"/>
                    </a:lnTo>
                    <a:lnTo>
                      <a:pt x="2" y="18"/>
                    </a:lnTo>
                    <a:lnTo>
                      <a:pt x="0" y="23"/>
                    </a:lnTo>
                    <a:lnTo>
                      <a:pt x="0" y="29"/>
                    </a:lnTo>
                    <a:lnTo>
                      <a:pt x="0" y="29"/>
                    </a:lnTo>
                    <a:lnTo>
                      <a:pt x="0" y="35"/>
                    </a:lnTo>
                    <a:lnTo>
                      <a:pt x="2" y="40"/>
                    </a:lnTo>
                    <a:lnTo>
                      <a:pt x="6" y="44"/>
                    </a:lnTo>
                    <a:lnTo>
                      <a:pt x="9" y="49"/>
                    </a:lnTo>
                    <a:lnTo>
                      <a:pt x="14" y="53"/>
                    </a:lnTo>
                    <a:lnTo>
                      <a:pt x="19" y="55"/>
                    </a:lnTo>
                    <a:lnTo>
                      <a:pt x="26" y="57"/>
                    </a:lnTo>
                    <a:lnTo>
                      <a:pt x="32" y="57"/>
                    </a:lnTo>
                    <a:lnTo>
                      <a:pt x="148" y="57"/>
                    </a:lnTo>
                    <a:lnTo>
                      <a:pt x="148" y="57"/>
                    </a:lnTo>
                    <a:lnTo>
                      <a:pt x="155" y="57"/>
                    </a:lnTo>
                    <a:lnTo>
                      <a:pt x="161" y="55"/>
                    </a:lnTo>
                    <a:lnTo>
                      <a:pt x="166" y="53"/>
                    </a:lnTo>
                    <a:lnTo>
                      <a:pt x="171" y="49"/>
                    </a:lnTo>
                    <a:lnTo>
                      <a:pt x="175" y="44"/>
                    </a:lnTo>
                    <a:lnTo>
                      <a:pt x="178" y="40"/>
                    </a:lnTo>
                    <a:lnTo>
                      <a:pt x="180" y="35"/>
                    </a:lnTo>
                    <a:lnTo>
                      <a:pt x="180" y="29"/>
                    </a:lnTo>
                    <a:lnTo>
                      <a:pt x="180" y="29"/>
                    </a:lnTo>
                    <a:lnTo>
                      <a:pt x="180" y="23"/>
                    </a:lnTo>
                    <a:lnTo>
                      <a:pt x="178" y="18"/>
                    </a:lnTo>
                    <a:lnTo>
                      <a:pt x="175" y="13"/>
                    </a:lnTo>
                    <a:lnTo>
                      <a:pt x="171" y="9"/>
                    </a:lnTo>
                    <a:lnTo>
                      <a:pt x="166" y="5"/>
                    </a:lnTo>
                    <a:lnTo>
                      <a:pt x="161" y="3"/>
                    </a:lnTo>
                    <a:lnTo>
                      <a:pt x="155" y="1"/>
                    </a:lnTo>
                    <a:lnTo>
                      <a:pt x="148" y="0"/>
                    </a:lnTo>
                    <a:lnTo>
                      <a:pt x="1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89" name="Freeform 11">
                <a:extLst>
                  <a:ext uri="{FF2B5EF4-FFF2-40B4-BE49-F238E27FC236}">
                    <a16:creationId xmlns:a16="http://schemas.microsoft.com/office/drawing/2014/main" id="{9F6FFF0D-9F46-43CE-292B-E2BE967E407F}"/>
                  </a:ext>
                </a:extLst>
              </p:cNvPr>
              <p:cNvSpPr>
                <a:spLocks/>
              </p:cNvSpPr>
              <p:nvPr/>
            </p:nvSpPr>
            <p:spPr bwMode="auto">
              <a:xfrm>
                <a:off x="3115585" y="1481457"/>
                <a:ext cx="12" cy="1"/>
              </a:xfrm>
              <a:custGeom>
                <a:avLst/>
                <a:gdLst>
                  <a:gd name="T0" fmla="*/ 12 w 12"/>
                  <a:gd name="T1" fmla="*/ 0 h 1"/>
                  <a:gd name="T2" fmla="*/ 0 w 12"/>
                  <a:gd name="T3" fmla="*/ 0 h 1"/>
                  <a:gd name="T4" fmla="*/ 0 w 12"/>
                  <a:gd name="T5" fmla="*/ 0 h 1"/>
                  <a:gd name="T6" fmla="*/ 5 w 12"/>
                  <a:gd name="T7" fmla="*/ 1 h 1"/>
                  <a:gd name="T8" fmla="*/ 12 w 12"/>
                  <a:gd name="T9" fmla="*/ 0 h 1"/>
                  <a:gd name="T10" fmla="*/ 12 w 12"/>
                  <a:gd name="T11" fmla="*/ 0 h 1"/>
                </a:gdLst>
                <a:ahLst/>
                <a:cxnLst>
                  <a:cxn ang="0">
                    <a:pos x="T0" y="T1"/>
                  </a:cxn>
                  <a:cxn ang="0">
                    <a:pos x="T2" y="T3"/>
                  </a:cxn>
                  <a:cxn ang="0">
                    <a:pos x="T4" y="T5"/>
                  </a:cxn>
                  <a:cxn ang="0">
                    <a:pos x="T6" y="T7"/>
                  </a:cxn>
                  <a:cxn ang="0">
                    <a:pos x="T8" y="T9"/>
                  </a:cxn>
                  <a:cxn ang="0">
                    <a:pos x="T10" y="T11"/>
                  </a:cxn>
                </a:cxnLst>
                <a:rect l="0" t="0" r="r" b="b"/>
                <a:pathLst>
                  <a:path w="12" h="1">
                    <a:moveTo>
                      <a:pt x="12" y="0"/>
                    </a:moveTo>
                    <a:lnTo>
                      <a:pt x="0" y="0"/>
                    </a:lnTo>
                    <a:lnTo>
                      <a:pt x="0" y="0"/>
                    </a:lnTo>
                    <a:lnTo>
                      <a:pt x="5" y="1"/>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grpSp>
        <p:grpSp>
          <p:nvGrpSpPr>
            <p:cNvPr id="32" name="Group 31">
              <a:extLst>
                <a:ext uri="{FF2B5EF4-FFF2-40B4-BE49-F238E27FC236}">
                  <a16:creationId xmlns:a16="http://schemas.microsoft.com/office/drawing/2014/main" id="{28286E51-2164-973A-9190-4531378686C0}"/>
                </a:ext>
              </a:extLst>
            </p:cNvPr>
            <p:cNvGrpSpPr>
              <a:grpSpLocks noChangeAspect="1"/>
            </p:cNvGrpSpPr>
            <p:nvPr/>
          </p:nvGrpSpPr>
          <p:grpSpPr bwMode="auto">
            <a:xfrm>
              <a:off x="475042" y="603695"/>
              <a:ext cx="544613" cy="1073621"/>
              <a:chOff x="475042" y="603695"/>
              <a:chExt cx="480" cy="899"/>
            </a:xfrm>
          </p:grpSpPr>
          <p:sp>
            <p:nvSpPr>
              <p:cNvPr id="179" name="Freeform 5">
                <a:extLst>
                  <a:ext uri="{FF2B5EF4-FFF2-40B4-BE49-F238E27FC236}">
                    <a16:creationId xmlns:a16="http://schemas.microsoft.com/office/drawing/2014/main" id="{6C291DE0-2D1A-4D5D-98AB-B74BE7080A69}"/>
                  </a:ext>
                </a:extLst>
              </p:cNvPr>
              <p:cNvSpPr>
                <a:spLocks noEditPoints="1"/>
              </p:cNvSpPr>
              <p:nvPr/>
            </p:nvSpPr>
            <p:spPr bwMode="auto">
              <a:xfrm>
                <a:off x="475042" y="603695"/>
                <a:ext cx="480" cy="899"/>
              </a:xfrm>
              <a:custGeom>
                <a:avLst/>
                <a:gdLst>
                  <a:gd name="T0" fmla="*/ 440 w 480"/>
                  <a:gd name="T1" fmla="*/ 734 h 899"/>
                  <a:gd name="T2" fmla="*/ 436 w 480"/>
                  <a:gd name="T3" fmla="*/ 752 h 899"/>
                  <a:gd name="T4" fmla="*/ 426 w 480"/>
                  <a:gd name="T5" fmla="*/ 766 h 899"/>
                  <a:gd name="T6" fmla="*/ 412 w 480"/>
                  <a:gd name="T7" fmla="*/ 776 h 899"/>
                  <a:gd name="T8" fmla="*/ 394 w 480"/>
                  <a:gd name="T9" fmla="*/ 780 h 899"/>
                  <a:gd name="T10" fmla="*/ 86 w 480"/>
                  <a:gd name="T11" fmla="*/ 780 h 899"/>
                  <a:gd name="T12" fmla="*/ 68 w 480"/>
                  <a:gd name="T13" fmla="*/ 776 h 899"/>
                  <a:gd name="T14" fmla="*/ 54 w 480"/>
                  <a:gd name="T15" fmla="*/ 766 h 899"/>
                  <a:gd name="T16" fmla="*/ 44 w 480"/>
                  <a:gd name="T17" fmla="*/ 752 h 899"/>
                  <a:gd name="T18" fmla="*/ 40 w 480"/>
                  <a:gd name="T19" fmla="*/ 734 h 899"/>
                  <a:gd name="T20" fmla="*/ 40 w 480"/>
                  <a:gd name="T21" fmla="*/ 109 h 899"/>
                  <a:gd name="T22" fmla="*/ 44 w 480"/>
                  <a:gd name="T23" fmla="*/ 91 h 899"/>
                  <a:gd name="T24" fmla="*/ 54 w 480"/>
                  <a:gd name="T25" fmla="*/ 77 h 899"/>
                  <a:gd name="T26" fmla="*/ 68 w 480"/>
                  <a:gd name="T27" fmla="*/ 67 h 899"/>
                  <a:gd name="T28" fmla="*/ 86 w 480"/>
                  <a:gd name="T29" fmla="*/ 64 h 899"/>
                  <a:gd name="T30" fmla="*/ 394 w 480"/>
                  <a:gd name="T31" fmla="*/ 64 h 899"/>
                  <a:gd name="T32" fmla="*/ 412 w 480"/>
                  <a:gd name="T33" fmla="*/ 67 h 899"/>
                  <a:gd name="T34" fmla="*/ 426 w 480"/>
                  <a:gd name="T35" fmla="*/ 77 h 899"/>
                  <a:gd name="T36" fmla="*/ 436 w 480"/>
                  <a:gd name="T37" fmla="*/ 91 h 899"/>
                  <a:gd name="T38" fmla="*/ 440 w 480"/>
                  <a:gd name="T39" fmla="*/ 109 h 899"/>
                  <a:gd name="T40" fmla="*/ 209 w 480"/>
                  <a:gd name="T41" fmla="*/ 839 h 899"/>
                  <a:gd name="T42" fmla="*/ 209 w 480"/>
                  <a:gd name="T43" fmla="*/ 834 h 899"/>
                  <a:gd name="T44" fmla="*/ 217 w 480"/>
                  <a:gd name="T45" fmla="*/ 818 h 899"/>
                  <a:gd name="T46" fmla="*/ 233 w 480"/>
                  <a:gd name="T47" fmla="*/ 808 h 899"/>
                  <a:gd name="T48" fmla="*/ 239 w 480"/>
                  <a:gd name="T49" fmla="*/ 808 h 899"/>
                  <a:gd name="T50" fmla="*/ 253 w 480"/>
                  <a:gd name="T51" fmla="*/ 810 h 899"/>
                  <a:gd name="T52" fmla="*/ 269 w 480"/>
                  <a:gd name="T53" fmla="*/ 828 h 899"/>
                  <a:gd name="T54" fmla="*/ 271 w 480"/>
                  <a:gd name="T55" fmla="*/ 839 h 899"/>
                  <a:gd name="T56" fmla="*/ 271 w 480"/>
                  <a:gd name="T57" fmla="*/ 845 h 899"/>
                  <a:gd name="T58" fmla="*/ 263 w 480"/>
                  <a:gd name="T59" fmla="*/ 861 h 899"/>
                  <a:gd name="T60" fmla="*/ 247 w 480"/>
                  <a:gd name="T61" fmla="*/ 869 h 899"/>
                  <a:gd name="T62" fmla="*/ 239 w 480"/>
                  <a:gd name="T63" fmla="*/ 871 h 899"/>
                  <a:gd name="T64" fmla="*/ 227 w 480"/>
                  <a:gd name="T65" fmla="*/ 869 h 899"/>
                  <a:gd name="T66" fmla="*/ 211 w 480"/>
                  <a:gd name="T67" fmla="*/ 851 h 899"/>
                  <a:gd name="T68" fmla="*/ 209 w 480"/>
                  <a:gd name="T69" fmla="*/ 839 h 899"/>
                  <a:gd name="T70" fmla="*/ 480 w 480"/>
                  <a:gd name="T71" fmla="*/ 46 h 899"/>
                  <a:gd name="T72" fmla="*/ 480 w 480"/>
                  <a:gd name="T73" fmla="*/ 36 h 899"/>
                  <a:gd name="T74" fmla="*/ 472 w 480"/>
                  <a:gd name="T75" fmla="*/ 20 h 899"/>
                  <a:gd name="T76" fmla="*/ 460 w 480"/>
                  <a:gd name="T77" fmla="*/ 8 h 899"/>
                  <a:gd name="T78" fmla="*/ 444 w 480"/>
                  <a:gd name="T79" fmla="*/ 2 h 899"/>
                  <a:gd name="T80" fmla="*/ 46 w 480"/>
                  <a:gd name="T81" fmla="*/ 0 h 899"/>
                  <a:gd name="T82" fmla="*/ 36 w 480"/>
                  <a:gd name="T83" fmla="*/ 2 h 899"/>
                  <a:gd name="T84" fmla="*/ 20 w 480"/>
                  <a:gd name="T85" fmla="*/ 8 h 899"/>
                  <a:gd name="T86" fmla="*/ 8 w 480"/>
                  <a:gd name="T87" fmla="*/ 20 h 899"/>
                  <a:gd name="T88" fmla="*/ 0 w 480"/>
                  <a:gd name="T89" fmla="*/ 36 h 899"/>
                  <a:gd name="T90" fmla="*/ 0 w 480"/>
                  <a:gd name="T91" fmla="*/ 853 h 899"/>
                  <a:gd name="T92" fmla="*/ 0 w 480"/>
                  <a:gd name="T93" fmla="*/ 863 h 899"/>
                  <a:gd name="T94" fmla="*/ 8 w 480"/>
                  <a:gd name="T95" fmla="*/ 879 h 899"/>
                  <a:gd name="T96" fmla="*/ 20 w 480"/>
                  <a:gd name="T97" fmla="*/ 891 h 899"/>
                  <a:gd name="T98" fmla="*/ 36 w 480"/>
                  <a:gd name="T99" fmla="*/ 897 h 899"/>
                  <a:gd name="T100" fmla="*/ 434 w 480"/>
                  <a:gd name="T101" fmla="*/ 899 h 899"/>
                  <a:gd name="T102" fmla="*/ 444 w 480"/>
                  <a:gd name="T103" fmla="*/ 897 h 899"/>
                  <a:gd name="T104" fmla="*/ 460 w 480"/>
                  <a:gd name="T105" fmla="*/ 891 h 899"/>
                  <a:gd name="T106" fmla="*/ 472 w 480"/>
                  <a:gd name="T107" fmla="*/ 879 h 899"/>
                  <a:gd name="T108" fmla="*/ 480 w 480"/>
                  <a:gd name="T109" fmla="*/ 863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0" h="899">
                    <a:moveTo>
                      <a:pt x="440" y="734"/>
                    </a:moveTo>
                    <a:lnTo>
                      <a:pt x="440" y="734"/>
                    </a:lnTo>
                    <a:lnTo>
                      <a:pt x="440" y="744"/>
                    </a:lnTo>
                    <a:lnTo>
                      <a:pt x="436" y="752"/>
                    </a:lnTo>
                    <a:lnTo>
                      <a:pt x="432" y="760"/>
                    </a:lnTo>
                    <a:lnTo>
                      <a:pt x="426" y="766"/>
                    </a:lnTo>
                    <a:lnTo>
                      <a:pt x="420" y="772"/>
                    </a:lnTo>
                    <a:lnTo>
                      <a:pt x="412" y="776"/>
                    </a:lnTo>
                    <a:lnTo>
                      <a:pt x="404" y="778"/>
                    </a:lnTo>
                    <a:lnTo>
                      <a:pt x="394" y="780"/>
                    </a:lnTo>
                    <a:lnTo>
                      <a:pt x="86" y="780"/>
                    </a:lnTo>
                    <a:lnTo>
                      <a:pt x="86" y="780"/>
                    </a:lnTo>
                    <a:lnTo>
                      <a:pt x="76" y="778"/>
                    </a:lnTo>
                    <a:lnTo>
                      <a:pt x="68" y="776"/>
                    </a:lnTo>
                    <a:lnTo>
                      <a:pt x="60" y="772"/>
                    </a:lnTo>
                    <a:lnTo>
                      <a:pt x="54" y="766"/>
                    </a:lnTo>
                    <a:lnTo>
                      <a:pt x="48" y="760"/>
                    </a:lnTo>
                    <a:lnTo>
                      <a:pt x="44" y="752"/>
                    </a:lnTo>
                    <a:lnTo>
                      <a:pt x="40" y="744"/>
                    </a:lnTo>
                    <a:lnTo>
                      <a:pt x="40" y="734"/>
                    </a:lnTo>
                    <a:lnTo>
                      <a:pt x="40" y="109"/>
                    </a:lnTo>
                    <a:lnTo>
                      <a:pt x="40" y="109"/>
                    </a:lnTo>
                    <a:lnTo>
                      <a:pt x="40" y="99"/>
                    </a:lnTo>
                    <a:lnTo>
                      <a:pt x="44" y="91"/>
                    </a:lnTo>
                    <a:lnTo>
                      <a:pt x="48" y="83"/>
                    </a:lnTo>
                    <a:lnTo>
                      <a:pt x="54" y="77"/>
                    </a:lnTo>
                    <a:lnTo>
                      <a:pt x="60" y="71"/>
                    </a:lnTo>
                    <a:lnTo>
                      <a:pt x="68" y="67"/>
                    </a:lnTo>
                    <a:lnTo>
                      <a:pt x="76" y="65"/>
                    </a:lnTo>
                    <a:lnTo>
                      <a:pt x="86" y="64"/>
                    </a:lnTo>
                    <a:lnTo>
                      <a:pt x="394" y="64"/>
                    </a:lnTo>
                    <a:lnTo>
                      <a:pt x="394" y="64"/>
                    </a:lnTo>
                    <a:lnTo>
                      <a:pt x="404" y="65"/>
                    </a:lnTo>
                    <a:lnTo>
                      <a:pt x="412" y="67"/>
                    </a:lnTo>
                    <a:lnTo>
                      <a:pt x="420" y="71"/>
                    </a:lnTo>
                    <a:lnTo>
                      <a:pt x="426" y="77"/>
                    </a:lnTo>
                    <a:lnTo>
                      <a:pt x="432" y="83"/>
                    </a:lnTo>
                    <a:lnTo>
                      <a:pt x="436" y="91"/>
                    </a:lnTo>
                    <a:lnTo>
                      <a:pt x="440" y="99"/>
                    </a:lnTo>
                    <a:lnTo>
                      <a:pt x="440" y="109"/>
                    </a:lnTo>
                    <a:lnTo>
                      <a:pt x="440" y="734"/>
                    </a:lnTo>
                    <a:close/>
                    <a:moveTo>
                      <a:pt x="209" y="839"/>
                    </a:moveTo>
                    <a:lnTo>
                      <a:pt x="209" y="839"/>
                    </a:lnTo>
                    <a:lnTo>
                      <a:pt x="209" y="834"/>
                    </a:lnTo>
                    <a:lnTo>
                      <a:pt x="211" y="828"/>
                    </a:lnTo>
                    <a:lnTo>
                      <a:pt x="217" y="818"/>
                    </a:lnTo>
                    <a:lnTo>
                      <a:pt x="227" y="810"/>
                    </a:lnTo>
                    <a:lnTo>
                      <a:pt x="233" y="808"/>
                    </a:lnTo>
                    <a:lnTo>
                      <a:pt x="239" y="808"/>
                    </a:lnTo>
                    <a:lnTo>
                      <a:pt x="239" y="808"/>
                    </a:lnTo>
                    <a:lnTo>
                      <a:pt x="247" y="808"/>
                    </a:lnTo>
                    <a:lnTo>
                      <a:pt x="253" y="810"/>
                    </a:lnTo>
                    <a:lnTo>
                      <a:pt x="263" y="818"/>
                    </a:lnTo>
                    <a:lnTo>
                      <a:pt x="269" y="828"/>
                    </a:lnTo>
                    <a:lnTo>
                      <a:pt x="271" y="834"/>
                    </a:lnTo>
                    <a:lnTo>
                      <a:pt x="271" y="839"/>
                    </a:lnTo>
                    <a:lnTo>
                      <a:pt x="271" y="839"/>
                    </a:lnTo>
                    <a:lnTo>
                      <a:pt x="271" y="845"/>
                    </a:lnTo>
                    <a:lnTo>
                      <a:pt x="269" y="851"/>
                    </a:lnTo>
                    <a:lnTo>
                      <a:pt x="263" y="861"/>
                    </a:lnTo>
                    <a:lnTo>
                      <a:pt x="253" y="869"/>
                    </a:lnTo>
                    <a:lnTo>
                      <a:pt x="247" y="869"/>
                    </a:lnTo>
                    <a:lnTo>
                      <a:pt x="239" y="871"/>
                    </a:lnTo>
                    <a:lnTo>
                      <a:pt x="239" y="871"/>
                    </a:lnTo>
                    <a:lnTo>
                      <a:pt x="233" y="869"/>
                    </a:lnTo>
                    <a:lnTo>
                      <a:pt x="227" y="869"/>
                    </a:lnTo>
                    <a:lnTo>
                      <a:pt x="217" y="861"/>
                    </a:lnTo>
                    <a:lnTo>
                      <a:pt x="211" y="851"/>
                    </a:lnTo>
                    <a:lnTo>
                      <a:pt x="209" y="845"/>
                    </a:lnTo>
                    <a:lnTo>
                      <a:pt x="209" y="839"/>
                    </a:lnTo>
                    <a:close/>
                    <a:moveTo>
                      <a:pt x="480" y="853"/>
                    </a:moveTo>
                    <a:lnTo>
                      <a:pt x="480" y="46"/>
                    </a:lnTo>
                    <a:lnTo>
                      <a:pt x="480" y="46"/>
                    </a:lnTo>
                    <a:lnTo>
                      <a:pt x="480" y="36"/>
                    </a:lnTo>
                    <a:lnTo>
                      <a:pt x="476" y="28"/>
                    </a:lnTo>
                    <a:lnTo>
                      <a:pt x="472" y="20"/>
                    </a:lnTo>
                    <a:lnTo>
                      <a:pt x="466" y="14"/>
                    </a:lnTo>
                    <a:lnTo>
                      <a:pt x="460" y="8"/>
                    </a:lnTo>
                    <a:lnTo>
                      <a:pt x="452" y="4"/>
                    </a:lnTo>
                    <a:lnTo>
                      <a:pt x="444" y="2"/>
                    </a:lnTo>
                    <a:lnTo>
                      <a:pt x="434" y="0"/>
                    </a:lnTo>
                    <a:lnTo>
                      <a:pt x="46" y="0"/>
                    </a:lnTo>
                    <a:lnTo>
                      <a:pt x="46" y="0"/>
                    </a:lnTo>
                    <a:lnTo>
                      <a:pt x="36" y="2"/>
                    </a:lnTo>
                    <a:lnTo>
                      <a:pt x="28" y="4"/>
                    </a:lnTo>
                    <a:lnTo>
                      <a:pt x="20" y="8"/>
                    </a:lnTo>
                    <a:lnTo>
                      <a:pt x="14" y="14"/>
                    </a:lnTo>
                    <a:lnTo>
                      <a:pt x="8" y="20"/>
                    </a:lnTo>
                    <a:lnTo>
                      <a:pt x="4" y="28"/>
                    </a:lnTo>
                    <a:lnTo>
                      <a:pt x="0" y="36"/>
                    </a:lnTo>
                    <a:lnTo>
                      <a:pt x="0" y="46"/>
                    </a:lnTo>
                    <a:lnTo>
                      <a:pt x="0" y="853"/>
                    </a:lnTo>
                    <a:lnTo>
                      <a:pt x="0" y="853"/>
                    </a:lnTo>
                    <a:lnTo>
                      <a:pt x="0" y="863"/>
                    </a:lnTo>
                    <a:lnTo>
                      <a:pt x="4" y="871"/>
                    </a:lnTo>
                    <a:lnTo>
                      <a:pt x="8" y="879"/>
                    </a:lnTo>
                    <a:lnTo>
                      <a:pt x="14" y="885"/>
                    </a:lnTo>
                    <a:lnTo>
                      <a:pt x="20" y="891"/>
                    </a:lnTo>
                    <a:lnTo>
                      <a:pt x="28" y="895"/>
                    </a:lnTo>
                    <a:lnTo>
                      <a:pt x="36" y="897"/>
                    </a:lnTo>
                    <a:lnTo>
                      <a:pt x="46" y="899"/>
                    </a:lnTo>
                    <a:lnTo>
                      <a:pt x="434" y="899"/>
                    </a:lnTo>
                    <a:lnTo>
                      <a:pt x="434" y="899"/>
                    </a:lnTo>
                    <a:lnTo>
                      <a:pt x="444" y="897"/>
                    </a:lnTo>
                    <a:lnTo>
                      <a:pt x="452" y="895"/>
                    </a:lnTo>
                    <a:lnTo>
                      <a:pt x="460" y="891"/>
                    </a:lnTo>
                    <a:lnTo>
                      <a:pt x="466" y="885"/>
                    </a:lnTo>
                    <a:lnTo>
                      <a:pt x="472" y="879"/>
                    </a:lnTo>
                    <a:lnTo>
                      <a:pt x="476" y="871"/>
                    </a:lnTo>
                    <a:lnTo>
                      <a:pt x="480" y="863"/>
                    </a:lnTo>
                    <a:lnTo>
                      <a:pt x="480" y="853"/>
                    </a:lnTo>
                    <a:close/>
                  </a:path>
                </a:pathLst>
              </a:custGeom>
              <a:solidFill>
                <a:srgbClr val="003C70"/>
              </a:solidFill>
              <a:ln w="9525">
                <a:solidFill>
                  <a:srgbClr val="003C7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80" name="Freeform 6">
                <a:extLst>
                  <a:ext uri="{FF2B5EF4-FFF2-40B4-BE49-F238E27FC236}">
                    <a16:creationId xmlns:a16="http://schemas.microsoft.com/office/drawing/2014/main" id="{B9077FF0-35EB-49F1-3FA4-815CA4C6DA52}"/>
                  </a:ext>
                </a:extLst>
              </p:cNvPr>
              <p:cNvSpPr>
                <a:spLocks/>
              </p:cNvSpPr>
              <p:nvPr/>
            </p:nvSpPr>
            <p:spPr bwMode="auto">
              <a:xfrm>
                <a:off x="475082" y="603759"/>
                <a:ext cx="400" cy="716"/>
              </a:xfrm>
              <a:custGeom>
                <a:avLst/>
                <a:gdLst>
                  <a:gd name="T0" fmla="*/ 400 w 400"/>
                  <a:gd name="T1" fmla="*/ 670 h 716"/>
                  <a:gd name="T2" fmla="*/ 400 w 400"/>
                  <a:gd name="T3" fmla="*/ 670 h 716"/>
                  <a:gd name="T4" fmla="*/ 400 w 400"/>
                  <a:gd name="T5" fmla="*/ 680 h 716"/>
                  <a:gd name="T6" fmla="*/ 396 w 400"/>
                  <a:gd name="T7" fmla="*/ 688 h 716"/>
                  <a:gd name="T8" fmla="*/ 392 w 400"/>
                  <a:gd name="T9" fmla="*/ 696 h 716"/>
                  <a:gd name="T10" fmla="*/ 386 w 400"/>
                  <a:gd name="T11" fmla="*/ 702 h 716"/>
                  <a:gd name="T12" fmla="*/ 380 w 400"/>
                  <a:gd name="T13" fmla="*/ 708 h 716"/>
                  <a:gd name="T14" fmla="*/ 372 w 400"/>
                  <a:gd name="T15" fmla="*/ 712 h 716"/>
                  <a:gd name="T16" fmla="*/ 364 w 400"/>
                  <a:gd name="T17" fmla="*/ 714 h 716"/>
                  <a:gd name="T18" fmla="*/ 354 w 400"/>
                  <a:gd name="T19" fmla="*/ 716 h 716"/>
                  <a:gd name="T20" fmla="*/ 46 w 400"/>
                  <a:gd name="T21" fmla="*/ 716 h 716"/>
                  <a:gd name="T22" fmla="*/ 46 w 400"/>
                  <a:gd name="T23" fmla="*/ 716 h 716"/>
                  <a:gd name="T24" fmla="*/ 36 w 400"/>
                  <a:gd name="T25" fmla="*/ 714 h 716"/>
                  <a:gd name="T26" fmla="*/ 28 w 400"/>
                  <a:gd name="T27" fmla="*/ 712 h 716"/>
                  <a:gd name="T28" fmla="*/ 20 w 400"/>
                  <a:gd name="T29" fmla="*/ 708 h 716"/>
                  <a:gd name="T30" fmla="*/ 14 w 400"/>
                  <a:gd name="T31" fmla="*/ 702 h 716"/>
                  <a:gd name="T32" fmla="*/ 8 w 400"/>
                  <a:gd name="T33" fmla="*/ 696 h 716"/>
                  <a:gd name="T34" fmla="*/ 4 w 400"/>
                  <a:gd name="T35" fmla="*/ 688 h 716"/>
                  <a:gd name="T36" fmla="*/ 0 w 400"/>
                  <a:gd name="T37" fmla="*/ 680 h 716"/>
                  <a:gd name="T38" fmla="*/ 0 w 400"/>
                  <a:gd name="T39" fmla="*/ 670 h 716"/>
                  <a:gd name="T40" fmla="*/ 0 w 400"/>
                  <a:gd name="T41" fmla="*/ 45 h 716"/>
                  <a:gd name="T42" fmla="*/ 0 w 400"/>
                  <a:gd name="T43" fmla="*/ 45 h 716"/>
                  <a:gd name="T44" fmla="*/ 0 w 400"/>
                  <a:gd name="T45" fmla="*/ 35 h 716"/>
                  <a:gd name="T46" fmla="*/ 4 w 400"/>
                  <a:gd name="T47" fmla="*/ 27 h 716"/>
                  <a:gd name="T48" fmla="*/ 8 w 400"/>
                  <a:gd name="T49" fmla="*/ 19 h 716"/>
                  <a:gd name="T50" fmla="*/ 14 w 400"/>
                  <a:gd name="T51" fmla="*/ 13 h 716"/>
                  <a:gd name="T52" fmla="*/ 20 w 400"/>
                  <a:gd name="T53" fmla="*/ 7 h 716"/>
                  <a:gd name="T54" fmla="*/ 28 w 400"/>
                  <a:gd name="T55" fmla="*/ 3 h 716"/>
                  <a:gd name="T56" fmla="*/ 36 w 400"/>
                  <a:gd name="T57" fmla="*/ 1 h 716"/>
                  <a:gd name="T58" fmla="*/ 46 w 400"/>
                  <a:gd name="T59" fmla="*/ 0 h 716"/>
                  <a:gd name="T60" fmla="*/ 354 w 400"/>
                  <a:gd name="T61" fmla="*/ 0 h 716"/>
                  <a:gd name="T62" fmla="*/ 354 w 400"/>
                  <a:gd name="T63" fmla="*/ 0 h 716"/>
                  <a:gd name="T64" fmla="*/ 364 w 400"/>
                  <a:gd name="T65" fmla="*/ 1 h 716"/>
                  <a:gd name="T66" fmla="*/ 372 w 400"/>
                  <a:gd name="T67" fmla="*/ 3 h 716"/>
                  <a:gd name="T68" fmla="*/ 380 w 400"/>
                  <a:gd name="T69" fmla="*/ 7 h 716"/>
                  <a:gd name="T70" fmla="*/ 386 w 400"/>
                  <a:gd name="T71" fmla="*/ 13 h 716"/>
                  <a:gd name="T72" fmla="*/ 392 w 400"/>
                  <a:gd name="T73" fmla="*/ 19 h 716"/>
                  <a:gd name="T74" fmla="*/ 396 w 400"/>
                  <a:gd name="T75" fmla="*/ 27 h 716"/>
                  <a:gd name="T76" fmla="*/ 400 w 400"/>
                  <a:gd name="T77" fmla="*/ 35 h 716"/>
                  <a:gd name="T78" fmla="*/ 400 w 400"/>
                  <a:gd name="T79" fmla="*/ 45 h 716"/>
                  <a:gd name="T80" fmla="*/ 400 w 400"/>
                  <a:gd name="T81" fmla="*/ 670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0" h="716">
                    <a:moveTo>
                      <a:pt x="400" y="670"/>
                    </a:moveTo>
                    <a:lnTo>
                      <a:pt x="400" y="670"/>
                    </a:lnTo>
                    <a:lnTo>
                      <a:pt x="400" y="680"/>
                    </a:lnTo>
                    <a:lnTo>
                      <a:pt x="396" y="688"/>
                    </a:lnTo>
                    <a:lnTo>
                      <a:pt x="392" y="696"/>
                    </a:lnTo>
                    <a:lnTo>
                      <a:pt x="386" y="702"/>
                    </a:lnTo>
                    <a:lnTo>
                      <a:pt x="380" y="708"/>
                    </a:lnTo>
                    <a:lnTo>
                      <a:pt x="372" y="712"/>
                    </a:lnTo>
                    <a:lnTo>
                      <a:pt x="364" y="714"/>
                    </a:lnTo>
                    <a:lnTo>
                      <a:pt x="354" y="716"/>
                    </a:lnTo>
                    <a:lnTo>
                      <a:pt x="46" y="716"/>
                    </a:lnTo>
                    <a:lnTo>
                      <a:pt x="46" y="716"/>
                    </a:lnTo>
                    <a:lnTo>
                      <a:pt x="36" y="714"/>
                    </a:lnTo>
                    <a:lnTo>
                      <a:pt x="28" y="712"/>
                    </a:lnTo>
                    <a:lnTo>
                      <a:pt x="20" y="708"/>
                    </a:lnTo>
                    <a:lnTo>
                      <a:pt x="14" y="702"/>
                    </a:lnTo>
                    <a:lnTo>
                      <a:pt x="8" y="696"/>
                    </a:lnTo>
                    <a:lnTo>
                      <a:pt x="4" y="688"/>
                    </a:lnTo>
                    <a:lnTo>
                      <a:pt x="0" y="680"/>
                    </a:lnTo>
                    <a:lnTo>
                      <a:pt x="0" y="670"/>
                    </a:lnTo>
                    <a:lnTo>
                      <a:pt x="0" y="45"/>
                    </a:lnTo>
                    <a:lnTo>
                      <a:pt x="0" y="45"/>
                    </a:lnTo>
                    <a:lnTo>
                      <a:pt x="0" y="35"/>
                    </a:lnTo>
                    <a:lnTo>
                      <a:pt x="4" y="27"/>
                    </a:lnTo>
                    <a:lnTo>
                      <a:pt x="8" y="19"/>
                    </a:lnTo>
                    <a:lnTo>
                      <a:pt x="14" y="13"/>
                    </a:lnTo>
                    <a:lnTo>
                      <a:pt x="20" y="7"/>
                    </a:lnTo>
                    <a:lnTo>
                      <a:pt x="28" y="3"/>
                    </a:lnTo>
                    <a:lnTo>
                      <a:pt x="36" y="1"/>
                    </a:lnTo>
                    <a:lnTo>
                      <a:pt x="46" y="0"/>
                    </a:lnTo>
                    <a:lnTo>
                      <a:pt x="354" y="0"/>
                    </a:lnTo>
                    <a:lnTo>
                      <a:pt x="354" y="0"/>
                    </a:lnTo>
                    <a:lnTo>
                      <a:pt x="364" y="1"/>
                    </a:lnTo>
                    <a:lnTo>
                      <a:pt x="372" y="3"/>
                    </a:lnTo>
                    <a:lnTo>
                      <a:pt x="380" y="7"/>
                    </a:lnTo>
                    <a:lnTo>
                      <a:pt x="386" y="13"/>
                    </a:lnTo>
                    <a:lnTo>
                      <a:pt x="392" y="19"/>
                    </a:lnTo>
                    <a:lnTo>
                      <a:pt x="396" y="27"/>
                    </a:lnTo>
                    <a:lnTo>
                      <a:pt x="400" y="35"/>
                    </a:lnTo>
                    <a:lnTo>
                      <a:pt x="400" y="45"/>
                    </a:lnTo>
                    <a:lnTo>
                      <a:pt x="400" y="670"/>
                    </a:lnTo>
                  </a:path>
                </a:pathLst>
              </a:custGeom>
              <a:noFill/>
              <a:ln w="9525">
                <a:solidFill>
                  <a:srgbClr val="003C7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81" name="Freeform 7">
                <a:extLst>
                  <a:ext uri="{FF2B5EF4-FFF2-40B4-BE49-F238E27FC236}">
                    <a16:creationId xmlns:a16="http://schemas.microsoft.com/office/drawing/2014/main" id="{A7340CE6-86CF-5B39-65F5-0A3E5A1DC8FE}"/>
                  </a:ext>
                </a:extLst>
              </p:cNvPr>
              <p:cNvSpPr>
                <a:spLocks/>
              </p:cNvSpPr>
              <p:nvPr/>
            </p:nvSpPr>
            <p:spPr bwMode="auto">
              <a:xfrm>
                <a:off x="475251" y="604503"/>
                <a:ext cx="62" cy="63"/>
              </a:xfrm>
              <a:custGeom>
                <a:avLst/>
                <a:gdLst>
                  <a:gd name="T0" fmla="*/ 0 w 62"/>
                  <a:gd name="T1" fmla="*/ 31 h 63"/>
                  <a:gd name="T2" fmla="*/ 0 w 62"/>
                  <a:gd name="T3" fmla="*/ 31 h 63"/>
                  <a:gd name="T4" fmla="*/ 0 w 62"/>
                  <a:gd name="T5" fmla="*/ 26 h 63"/>
                  <a:gd name="T6" fmla="*/ 2 w 62"/>
                  <a:gd name="T7" fmla="*/ 20 h 63"/>
                  <a:gd name="T8" fmla="*/ 8 w 62"/>
                  <a:gd name="T9" fmla="*/ 10 h 63"/>
                  <a:gd name="T10" fmla="*/ 18 w 62"/>
                  <a:gd name="T11" fmla="*/ 2 h 63"/>
                  <a:gd name="T12" fmla="*/ 24 w 62"/>
                  <a:gd name="T13" fmla="*/ 0 h 63"/>
                  <a:gd name="T14" fmla="*/ 30 w 62"/>
                  <a:gd name="T15" fmla="*/ 0 h 63"/>
                  <a:gd name="T16" fmla="*/ 30 w 62"/>
                  <a:gd name="T17" fmla="*/ 0 h 63"/>
                  <a:gd name="T18" fmla="*/ 38 w 62"/>
                  <a:gd name="T19" fmla="*/ 0 h 63"/>
                  <a:gd name="T20" fmla="*/ 44 w 62"/>
                  <a:gd name="T21" fmla="*/ 2 h 63"/>
                  <a:gd name="T22" fmla="*/ 54 w 62"/>
                  <a:gd name="T23" fmla="*/ 10 h 63"/>
                  <a:gd name="T24" fmla="*/ 60 w 62"/>
                  <a:gd name="T25" fmla="*/ 20 h 63"/>
                  <a:gd name="T26" fmla="*/ 62 w 62"/>
                  <a:gd name="T27" fmla="*/ 26 h 63"/>
                  <a:gd name="T28" fmla="*/ 62 w 62"/>
                  <a:gd name="T29" fmla="*/ 31 h 63"/>
                  <a:gd name="T30" fmla="*/ 62 w 62"/>
                  <a:gd name="T31" fmla="*/ 31 h 63"/>
                  <a:gd name="T32" fmla="*/ 62 w 62"/>
                  <a:gd name="T33" fmla="*/ 37 h 63"/>
                  <a:gd name="T34" fmla="*/ 60 w 62"/>
                  <a:gd name="T35" fmla="*/ 43 h 63"/>
                  <a:gd name="T36" fmla="*/ 54 w 62"/>
                  <a:gd name="T37" fmla="*/ 53 h 63"/>
                  <a:gd name="T38" fmla="*/ 44 w 62"/>
                  <a:gd name="T39" fmla="*/ 61 h 63"/>
                  <a:gd name="T40" fmla="*/ 38 w 62"/>
                  <a:gd name="T41" fmla="*/ 61 h 63"/>
                  <a:gd name="T42" fmla="*/ 30 w 62"/>
                  <a:gd name="T43" fmla="*/ 63 h 63"/>
                  <a:gd name="T44" fmla="*/ 30 w 62"/>
                  <a:gd name="T45" fmla="*/ 63 h 63"/>
                  <a:gd name="T46" fmla="*/ 24 w 62"/>
                  <a:gd name="T47" fmla="*/ 61 h 63"/>
                  <a:gd name="T48" fmla="*/ 18 w 62"/>
                  <a:gd name="T49" fmla="*/ 61 h 63"/>
                  <a:gd name="T50" fmla="*/ 8 w 62"/>
                  <a:gd name="T51" fmla="*/ 53 h 63"/>
                  <a:gd name="T52" fmla="*/ 2 w 62"/>
                  <a:gd name="T53" fmla="*/ 43 h 63"/>
                  <a:gd name="T54" fmla="*/ 0 w 62"/>
                  <a:gd name="T55" fmla="*/ 37 h 63"/>
                  <a:gd name="T56" fmla="*/ 0 w 62"/>
                  <a:gd name="T5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63">
                    <a:moveTo>
                      <a:pt x="0" y="31"/>
                    </a:moveTo>
                    <a:lnTo>
                      <a:pt x="0" y="31"/>
                    </a:lnTo>
                    <a:lnTo>
                      <a:pt x="0" y="26"/>
                    </a:lnTo>
                    <a:lnTo>
                      <a:pt x="2" y="20"/>
                    </a:lnTo>
                    <a:lnTo>
                      <a:pt x="8" y="10"/>
                    </a:lnTo>
                    <a:lnTo>
                      <a:pt x="18" y="2"/>
                    </a:lnTo>
                    <a:lnTo>
                      <a:pt x="24" y="0"/>
                    </a:lnTo>
                    <a:lnTo>
                      <a:pt x="30" y="0"/>
                    </a:lnTo>
                    <a:lnTo>
                      <a:pt x="30" y="0"/>
                    </a:lnTo>
                    <a:lnTo>
                      <a:pt x="38" y="0"/>
                    </a:lnTo>
                    <a:lnTo>
                      <a:pt x="44" y="2"/>
                    </a:lnTo>
                    <a:lnTo>
                      <a:pt x="54" y="10"/>
                    </a:lnTo>
                    <a:lnTo>
                      <a:pt x="60" y="20"/>
                    </a:lnTo>
                    <a:lnTo>
                      <a:pt x="62" y="26"/>
                    </a:lnTo>
                    <a:lnTo>
                      <a:pt x="62" y="31"/>
                    </a:lnTo>
                    <a:lnTo>
                      <a:pt x="62" y="31"/>
                    </a:lnTo>
                    <a:lnTo>
                      <a:pt x="62" y="37"/>
                    </a:lnTo>
                    <a:lnTo>
                      <a:pt x="60" y="43"/>
                    </a:lnTo>
                    <a:lnTo>
                      <a:pt x="54" y="53"/>
                    </a:lnTo>
                    <a:lnTo>
                      <a:pt x="44" y="61"/>
                    </a:lnTo>
                    <a:lnTo>
                      <a:pt x="38" y="61"/>
                    </a:lnTo>
                    <a:lnTo>
                      <a:pt x="30" y="63"/>
                    </a:lnTo>
                    <a:lnTo>
                      <a:pt x="30" y="63"/>
                    </a:lnTo>
                    <a:lnTo>
                      <a:pt x="24" y="61"/>
                    </a:lnTo>
                    <a:lnTo>
                      <a:pt x="18" y="61"/>
                    </a:lnTo>
                    <a:lnTo>
                      <a:pt x="8" y="53"/>
                    </a:lnTo>
                    <a:lnTo>
                      <a:pt x="2" y="43"/>
                    </a:lnTo>
                    <a:lnTo>
                      <a:pt x="0" y="37"/>
                    </a:lnTo>
                    <a:lnTo>
                      <a:pt x="0" y="31"/>
                    </a:lnTo>
                  </a:path>
                </a:pathLst>
              </a:custGeom>
              <a:noFill/>
              <a:ln w="9525">
                <a:solidFill>
                  <a:srgbClr val="003C7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82" name="Freeform 8">
                <a:extLst>
                  <a:ext uri="{FF2B5EF4-FFF2-40B4-BE49-F238E27FC236}">
                    <a16:creationId xmlns:a16="http://schemas.microsoft.com/office/drawing/2014/main" id="{17F4754F-A554-804C-93C3-8831B089C6F3}"/>
                  </a:ext>
                </a:extLst>
              </p:cNvPr>
              <p:cNvSpPr>
                <a:spLocks/>
              </p:cNvSpPr>
              <p:nvPr/>
            </p:nvSpPr>
            <p:spPr bwMode="auto">
              <a:xfrm>
                <a:off x="475042" y="603695"/>
                <a:ext cx="480" cy="799"/>
              </a:xfrm>
              <a:custGeom>
                <a:avLst/>
                <a:gdLst>
                  <a:gd name="T0" fmla="*/ 480 w 480"/>
                  <a:gd name="T1" fmla="*/ 853 h 899"/>
                  <a:gd name="T2" fmla="*/ 480 w 480"/>
                  <a:gd name="T3" fmla="*/ 46 h 899"/>
                  <a:gd name="T4" fmla="*/ 480 w 480"/>
                  <a:gd name="T5" fmla="*/ 46 h 899"/>
                  <a:gd name="T6" fmla="*/ 480 w 480"/>
                  <a:gd name="T7" fmla="*/ 36 h 899"/>
                  <a:gd name="T8" fmla="*/ 476 w 480"/>
                  <a:gd name="T9" fmla="*/ 28 h 899"/>
                  <a:gd name="T10" fmla="*/ 472 w 480"/>
                  <a:gd name="T11" fmla="*/ 20 h 899"/>
                  <a:gd name="T12" fmla="*/ 466 w 480"/>
                  <a:gd name="T13" fmla="*/ 14 h 899"/>
                  <a:gd name="T14" fmla="*/ 460 w 480"/>
                  <a:gd name="T15" fmla="*/ 8 h 899"/>
                  <a:gd name="T16" fmla="*/ 452 w 480"/>
                  <a:gd name="T17" fmla="*/ 4 h 899"/>
                  <a:gd name="T18" fmla="*/ 444 w 480"/>
                  <a:gd name="T19" fmla="*/ 2 h 899"/>
                  <a:gd name="T20" fmla="*/ 434 w 480"/>
                  <a:gd name="T21" fmla="*/ 0 h 899"/>
                  <a:gd name="T22" fmla="*/ 46 w 480"/>
                  <a:gd name="T23" fmla="*/ 0 h 899"/>
                  <a:gd name="T24" fmla="*/ 46 w 480"/>
                  <a:gd name="T25" fmla="*/ 0 h 899"/>
                  <a:gd name="T26" fmla="*/ 36 w 480"/>
                  <a:gd name="T27" fmla="*/ 2 h 899"/>
                  <a:gd name="T28" fmla="*/ 28 w 480"/>
                  <a:gd name="T29" fmla="*/ 4 h 899"/>
                  <a:gd name="T30" fmla="*/ 20 w 480"/>
                  <a:gd name="T31" fmla="*/ 8 h 899"/>
                  <a:gd name="T32" fmla="*/ 14 w 480"/>
                  <a:gd name="T33" fmla="*/ 14 h 899"/>
                  <a:gd name="T34" fmla="*/ 8 w 480"/>
                  <a:gd name="T35" fmla="*/ 20 h 899"/>
                  <a:gd name="T36" fmla="*/ 4 w 480"/>
                  <a:gd name="T37" fmla="*/ 28 h 899"/>
                  <a:gd name="T38" fmla="*/ 0 w 480"/>
                  <a:gd name="T39" fmla="*/ 36 h 899"/>
                  <a:gd name="T40" fmla="*/ 0 w 480"/>
                  <a:gd name="T41" fmla="*/ 46 h 899"/>
                  <a:gd name="T42" fmla="*/ 0 w 480"/>
                  <a:gd name="T43" fmla="*/ 853 h 899"/>
                  <a:gd name="T44" fmla="*/ 0 w 480"/>
                  <a:gd name="T45" fmla="*/ 853 h 899"/>
                  <a:gd name="T46" fmla="*/ 0 w 480"/>
                  <a:gd name="T47" fmla="*/ 863 h 899"/>
                  <a:gd name="T48" fmla="*/ 4 w 480"/>
                  <a:gd name="T49" fmla="*/ 871 h 899"/>
                  <a:gd name="T50" fmla="*/ 8 w 480"/>
                  <a:gd name="T51" fmla="*/ 879 h 899"/>
                  <a:gd name="T52" fmla="*/ 14 w 480"/>
                  <a:gd name="T53" fmla="*/ 885 h 899"/>
                  <a:gd name="T54" fmla="*/ 20 w 480"/>
                  <a:gd name="T55" fmla="*/ 891 h 899"/>
                  <a:gd name="T56" fmla="*/ 28 w 480"/>
                  <a:gd name="T57" fmla="*/ 895 h 899"/>
                  <a:gd name="T58" fmla="*/ 36 w 480"/>
                  <a:gd name="T59" fmla="*/ 897 h 899"/>
                  <a:gd name="T60" fmla="*/ 46 w 480"/>
                  <a:gd name="T61" fmla="*/ 899 h 899"/>
                  <a:gd name="T62" fmla="*/ 434 w 480"/>
                  <a:gd name="T63" fmla="*/ 899 h 899"/>
                  <a:gd name="T64" fmla="*/ 434 w 480"/>
                  <a:gd name="T65" fmla="*/ 899 h 899"/>
                  <a:gd name="T66" fmla="*/ 444 w 480"/>
                  <a:gd name="T67" fmla="*/ 897 h 899"/>
                  <a:gd name="T68" fmla="*/ 452 w 480"/>
                  <a:gd name="T69" fmla="*/ 895 h 899"/>
                  <a:gd name="T70" fmla="*/ 460 w 480"/>
                  <a:gd name="T71" fmla="*/ 891 h 899"/>
                  <a:gd name="T72" fmla="*/ 466 w 480"/>
                  <a:gd name="T73" fmla="*/ 885 h 899"/>
                  <a:gd name="T74" fmla="*/ 472 w 480"/>
                  <a:gd name="T75" fmla="*/ 879 h 899"/>
                  <a:gd name="T76" fmla="*/ 476 w 480"/>
                  <a:gd name="T77" fmla="*/ 871 h 899"/>
                  <a:gd name="T78" fmla="*/ 480 w 480"/>
                  <a:gd name="T79" fmla="*/ 863 h 899"/>
                  <a:gd name="T80" fmla="*/ 480 w 480"/>
                  <a:gd name="T81" fmla="*/ 853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0" h="899">
                    <a:moveTo>
                      <a:pt x="480" y="853"/>
                    </a:moveTo>
                    <a:lnTo>
                      <a:pt x="480" y="46"/>
                    </a:lnTo>
                    <a:lnTo>
                      <a:pt x="480" y="46"/>
                    </a:lnTo>
                    <a:lnTo>
                      <a:pt x="480" y="36"/>
                    </a:lnTo>
                    <a:lnTo>
                      <a:pt x="476" y="28"/>
                    </a:lnTo>
                    <a:lnTo>
                      <a:pt x="472" y="20"/>
                    </a:lnTo>
                    <a:lnTo>
                      <a:pt x="466" y="14"/>
                    </a:lnTo>
                    <a:lnTo>
                      <a:pt x="460" y="8"/>
                    </a:lnTo>
                    <a:lnTo>
                      <a:pt x="452" y="4"/>
                    </a:lnTo>
                    <a:lnTo>
                      <a:pt x="444" y="2"/>
                    </a:lnTo>
                    <a:lnTo>
                      <a:pt x="434" y="0"/>
                    </a:lnTo>
                    <a:lnTo>
                      <a:pt x="46" y="0"/>
                    </a:lnTo>
                    <a:lnTo>
                      <a:pt x="46" y="0"/>
                    </a:lnTo>
                    <a:lnTo>
                      <a:pt x="36" y="2"/>
                    </a:lnTo>
                    <a:lnTo>
                      <a:pt x="28" y="4"/>
                    </a:lnTo>
                    <a:lnTo>
                      <a:pt x="20" y="8"/>
                    </a:lnTo>
                    <a:lnTo>
                      <a:pt x="14" y="14"/>
                    </a:lnTo>
                    <a:lnTo>
                      <a:pt x="8" y="20"/>
                    </a:lnTo>
                    <a:lnTo>
                      <a:pt x="4" y="28"/>
                    </a:lnTo>
                    <a:lnTo>
                      <a:pt x="0" y="36"/>
                    </a:lnTo>
                    <a:lnTo>
                      <a:pt x="0" y="46"/>
                    </a:lnTo>
                    <a:lnTo>
                      <a:pt x="0" y="853"/>
                    </a:lnTo>
                    <a:lnTo>
                      <a:pt x="0" y="853"/>
                    </a:lnTo>
                    <a:lnTo>
                      <a:pt x="0" y="863"/>
                    </a:lnTo>
                    <a:lnTo>
                      <a:pt x="4" y="871"/>
                    </a:lnTo>
                    <a:lnTo>
                      <a:pt x="8" y="879"/>
                    </a:lnTo>
                    <a:lnTo>
                      <a:pt x="14" y="885"/>
                    </a:lnTo>
                    <a:lnTo>
                      <a:pt x="20" y="891"/>
                    </a:lnTo>
                    <a:lnTo>
                      <a:pt x="28" y="895"/>
                    </a:lnTo>
                    <a:lnTo>
                      <a:pt x="36" y="897"/>
                    </a:lnTo>
                    <a:lnTo>
                      <a:pt x="46" y="899"/>
                    </a:lnTo>
                    <a:lnTo>
                      <a:pt x="434" y="899"/>
                    </a:lnTo>
                    <a:lnTo>
                      <a:pt x="434" y="899"/>
                    </a:lnTo>
                    <a:lnTo>
                      <a:pt x="444" y="897"/>
                    </a:lnTo>
                    <a:lnTo>
                      <a:pt x="452" y="895"/>
                    </a:lnTo>
                    <a:lnTo>
                      <a:pt x="460" y="891"/>
                    </a:lnTo>
                    <a:lnTo>
                      <a:pt x="466" y="885"/>
                    </a:lnTo>
                    <a:lnTo>
                      <a:pt x="472" y="879"/>
                    </a:lnTo>
                    <a:lnTo>
                      <a:pt x="476" y="871"/>
                    </a:lnTo>
                    <a:lnTo>
                      <a:pt x="480" y="863"/>
                    </a:lnTo>
                    <a:lnTo>
                      <a:pt x="480" y="853"/>
                    </a:lnTo>
                  </a:path>
                </a:pathLst>
              </a:custGeom>
              <a:noFill/>
              <a:ln w="9525">
                <a:solidFill>
                  <a:srgbClr val="003C7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grpSp>
        <p:grpSp>
          <p:nvGrpSpPr>
            <p:cNvPr id="34" name="Group 33">
              <a:extLst>
                <a:ext uri="{FF2B5EF4-FFF2-40B4-BE49-F238E27FC236}">
                  <a16:creationId xmlns:a16="http://schemas.microsoft.com/office/drawing/2014/main" id="{CA01A4F9-B0BE-79D7-AB84-81F2015ED10F}"/>
                </a:ext>
              </a:extLst>
            </p:cNvPr>
            <p:cNvGrpSpPr>
              <a:grpSpLocks noChangeAspect="1"/>
            </p:cNvGrpSpPr>
            <p:nvPr/>
          </p:nvGrpSpPr>
          <p:grpSpPr bwMode="auto">
            <a:xfrm>
              <a:off x="4388916" y="1107663"/>
              <a:ext cx="599529" cy="858474"/>
              <a:chOff x="4388916" y="1107663"/>
              <a:chExt cx="480" cy="653"/>
            </a:xfrm>
            <a:gradFill flip="none" rotWithShape="1">
              <a:gsLst>
                <a:gs pos="0">
                  <a:srgbClr val="003C70"/>
                </a:gs>
                <a:gs pos="22000">
                  <a:srgbClr val="0077D4"/>
                </a:gs>
              </a:gsLst>
              <a:lin ang="0" scaled="1"/>
              <a:tileRect/>
            </a:gradFill>
          </p:grpSpPr>
          <p:sp>
            <p:nvSpPr>
              <p:cNvPr id="176" name="Freeform 5">
                <a:extLst>
                  <a:ext uri="{FF2B5EF4-FFF2-40B4-BE49-F238E27FC236}">
                    <a16:creationId xmlns:a16="http://schemas.microsoft.com/office/drawing/2014/main" id="{1BCD423D-2531-5DAB-FB9B-974243907044}"/>
                  </a:ext>
                </a:extLst>
              </p:cNvPr>
              <p:cNvSpPr>
                <a:spLocks noEditPoints="1"/>
              </p:cNvSpPr>
              <p:nvPr/>
            </p:nvSpPr>
            <p:spPr bwMode="auto">
              <a:xfrm>
                <a:off x="4388916" y="1107663"/>
                <a:ext cx="480" cy="653"/>
              </a:xfrm>
              <a:custGeom>
                <a:avLst/>
                <a:gdLst>
                  <a:gd name="T0" fmla="*/ 115 w 480"/>
                  <a:gd name="T1" fmla="*/ 0 h 653"/>
                  <a:gd name="T2" fmla="*/ 0 w 480"/>
                  <a:gd name="T3" fmla="*/ 112 h 653"/>
                  <a:gd name="T4" fmla="*/ 0 w 480"/>
                  <a:gd name="T5" fmla="*/ 653 h 653"/>
                  <a:gd name="T6" fmla="*/ 480 w 480"/>
                  <a:gd name="T7" fmla="*/ 653 h 653"/>
                  <a:gd name="T8" fmla="*/ 480 w 480"/>
                  <a:gd name="T9" fmla="*/ 0 h 653"/>
                  <a:gd name="T10" fmla="*/ 115 w 480"/>
                  <a:gd name="T11" fmla="*/ 0 h 653"/>
                  <a:gd name="T12" fmla="*/ 435 w 480"/>
                  <a:gd name="T13" fmla="*/ 608 h 653"/>
                  <a:gd name="T14" fmla="*/ 45 w 480"/>
                  <a:gd name="T15" fmla="*/ 608 h 653"/>
                  <a:gd name="T16" fmla="*/ 45 w 480"/>
                  <a:gd name="T17" fmla="*/ 154 h 653"/>
                  <a:gd name="T18" fmla="*/ 157 w 480"/>
                  <a:gd name="T19" fmla="*/ 154 h 653"/>
                  <a:gd name="T20" fmla="*/ 157 w 480"/>
                  <a:gd name="T21" fmla="*/ 45 h 653"/>
                  <a:gd name="T22" fmla="*/ 435 w 480"/>
                  <a:gd name="T23" fmla="*/ 45 h 653"/>
                  <a:gd name="T24" fmla="*/ 435 w 480"/>
                  <a:gd name="T25" fmla="*/ 608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653">
                    <a:moveTo>
                      <a:pt x="115" y="0"/>
                    </a:moveTo>
                    <a:lnTo>
                      <a:pt x="0" y="112"/>
                    </a:lnTo>
                    <a:lnTo>
                      <a:pt x="0" y="653"/>
                    </a:lnTo>
                    <a:lnTo>
                      <a:pt x="480" y="653"/>
                    </a:lnTo>
                    <a:lnTo>
                      <a:pt x="480" y="0"/>
                    </a:lnTo>
                    <a:lnTo>
                      <a:pt x="115" y="0"/>
                    </a:lnTo>
                    <a:close/>
                    <a:moveTo>
                      <a:pt x="435" y="608"/>
                    </a:moveTo>
                    <a:lnTo>
                      <a:pt x="45" y="608"/>
                    </a:lnTo>
                    <a:lnTo>
                      <a:pt x="45" y="154"/>
                    </a:lnTo>
                    <a:lnTo>
                      <a:pt x="157" y="154"/>
                    </a:lnTo>
                    <a:lnTo>
                      <a:pt x="157" y="45"/>
                    </a:lnTo>
                    <a:lnTo>
                      <a:pt x="435" y="45"/>
                    </a:lnTo>
                    <a:lnTo>
                      <a:pt x="435" y="6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77" name="Freeform 6">
                <a:extLst>
                  <a:ext uri="{FF2B5EF4-FFF2-40B4-BE49-F238E27FC236}">
                    <a16:creationId xmlns:a16="http://schemas.microsoft.com/office/drawing/2014/main" id="{3AA24E12-27F7-E791-9368-F3BA09939E4D}"/>
                  </a:ext>
                </a:extLst>
              </p:cNvPr>
              <p:cNvSpPr>
                <a:spLocks/>
              </p:cNvSpPr>
              <p:nvPr/>
            </p:nvSpPr>
            <p:spPr bwMode="auto">
              <a:xfrm>
                <a:off x="4389073" y="1107855"/>
                <a:ext cx="206" cy="114"/>
              </a:xfrm>
              <a:custGeom>
                <a:avLst/>
                <a:gdLst>
                  <a:gd name="T0" fmla="*/ 17 w 206"/>
                  <a:gd name="T1" fmla="*/ 65 h 114"/>
                  <a:gd name="T2" fmla="*/ 171 w 206"/>
                  <a:gd name="T3" fmla="*/ 65 h 114"/>
                  <a:gd name="T4" fmla="*/ 171 w 206"/>
                  <a:gd name="T5" fmla="*/ 47 h 114"/>
                  <a:gd name="T6" fmla="*/ 17 w 206"/>
                  <a:gd name="T7" fmla="*/ 47 h 114"/>
                  <a:gd name="T8" fmla="*/ 17 w 206"/>
                  <a:gd name="T9" fmla="*/ 17 h 114"/>
                  <a:gd name="T10" fmla="*/ 200 w 206"/>
                  <a:gd name="T11" fmla="*/ 17 h 114"/>
                  <a:gd name="T12" fmla="*/ 200 w 206"/>
                  <a:gd name="T13" fmla="*/ 0 h 114"/>
                  <a:gd name="T14" fmla="*/ 0 w 206"/>
                  <a:gd name="T15" fmla="*/ 0 h 114"/>
                  <a:gd name="T16" fmla="*/ 0 w 206"/>
                  <a:gd name="T17" fmla="*/ 8 h 114"/>
                  <a:gd name="T18" fmla="*/ 0 w 206"/>
                  <a:gd name="T19" fmla="*/ 8 h 114"/>
                  <a:gd name="T20" fmla="*/ 0 w 206"/>
                  <a:gd name="T21" fmla="*/ 105 h 114"/>
                  <a:gd name="T22" fmla="*/ 0 w 206"/>
                  <a:gd name="T23" fmla="*/ 105 h 114"/>
                  <a:gd name="T24" fmla="*/ 0 w 206"/>
                  <a:gd name="T25" fmla="*/ 114 h 114"/>
                  <a:gd name="T26" fmla="*/ 206 w 206"/>
                  <a:gd name="T27" fmla="*/ 114 h 114"/>
                  <a:gd name="T28" fmla="*/ 206 w 206"/>
                  <a:gd name="T29" fmla="*/ 96 h 114"/>
                  <a:gd name="T30" fmla="*/ 17 w 206"/>
                  <a:gd name="T31" fmla="*/ 96 h 114"/>
                  <a:gd name="T32" fmla="*/ 17 w 206"/>
                  <a:gd name="T33"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114">
                    <a:moveTo>
                      <a:pt x="17" y="65"/>
                    </a:moveTo>
                    <a:lnTo>
                      <a:pt x="171" y="65"/>
                    </a:lnTo>
                    <a:lnTo>
                      <a:pt x="171" y="47"/>
                    </a:lnTo>
                    <a:lnTo>
                      <a:pt x="17" y="47"/>
                    </a:lnTo>
                    <a:lnTo>
                      <a:pt x="17" y="17"/>
                    </a:lnTo>
                    <a:lnTo>
                      <a:pt x="200" y="17"/>
                    </a:lnTo>
                    <a:lnTo>
                      <a:pt x="200" y="0"/>
                    </a:lnTo>
                    <a:lnTo>
                      <a:pt x="0" y="0"/>
                    </a:lnTo>
                    <a:lnTo>
                      <a:pt x="0" y="8"/>
                    </a:lnTo>
                    <a:lnTo>
                      <a:pt x="0" y="8"/>
                    </a:lnTo>
                    <a:lnTo>
                      <a:pt x="0" y="105"/>
                    </a:lnTo>
                    <a:lnTo>
                      <a:pt x="0" y="105"/>
                    </a:lnTo>
                    <a:lnTo>
                      <a:pt x="0" y="114"/>
                    </a:lnTo>
                    <a:lnTo>
                      <a:pt x="206" y="114"/>
                    </a:lnTo>
                    <a:lnTo>
                      <a:pt x="206" y="96"/>
                    </a:lnTo>
                    <a:lnTo>
                      <a:pt x="17" y="96"/>
                    </a:lnTo>
                    <a:lnTo>
                      <a:pt x="17"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78" name="Freeform 7">
                <a:extLst>
                  <a:ext uri="{FF2B5EF4-FFF2-40B4-BE49-F238E27FC236}">
                    <a16:creationId xmlns:a16="http://schemas.microsoft.com/office/drawing/2014/main" id="{220B2386-D691-50D1-651A-E85213D1F209}"/>
                  </a:ext>
                </a:extLst>
              </p:cNvPr>
              <p:cNvSpPr>
                <a:spLocks noEditPoints="1"/>
              </p:cNvSpPr>
              <p:nvPr/>
            </p:nvSpPr>
            <p:spPr bwMode="auto">
              <a:xfrm>
                <a:off x="4389022" y="1108075"/>
                <a:ext cx="265" cy="103"/>
              </a:xfrm>
              <a:custGeom>
                <a:avLst/>
                <a:gdLst>
                  <a:gd name="T0" fmla="*/ 228 w 265"/>
                  <a:gd name="T1" fmla="*/ 48 h 103"/>
                  <a:gd name="T2" fmla="*/ 225 w 265"/>
                  <a:gd name="T3" fmla="*/ 28 h 103"/>
                  <a:gd name="T4" fmla="*/ 216 w 265"/>
                  <a:gd name="T5" fmla="*/ 16 h 103"/>
                  <a:gd name="T6" fmla="*/ 206 w 265"/>
                  <a:gd name="T7" fmla="*/ 13 h 103"/>
                  <a:gd name="T8" fmla="*/ 194 w 265"/>
                  <a:gd name="T9" fmla="*/ 19 h 103"/>
                  <a:gd name="T10" fmla="*/ 183 w 265"/>
                  <a:gd name="T11" fmla="*/ 35 h 103"/>
                  <a:gd name="T12" fmla="*/ 181 w 265"/>
                  <a:gd name="T13" fmla="*/ 45 h 103"/>
                  <a:gd name="T14" fmla="*/ 184 w 265"/>
                  <a:gd name="T15" fmla="*/ 54 h 103"/>
                  <a:gd name="T16" fmla="*/ 199 w 265"/>
                  <a:gd name="T17" fmla="*/ 67 h 103"/>
                  <a:gd name="T18" fmla="*/ 172 w 265"/>
                  <a:gd name="T19" fmla="*/ 69 h 103"/>
                  <a:gd name="T20" fmla="*/ 151 w 265"/>
                  <a:gd name="T21" fmla="*/ 65 h 103"/>
                  <a:gd name="T22" fmla="*/ 148 w 265"/>
                  <a:gd name="T23" fmla="*/ 52 h 103"/>
                  <a:gd name="T24" fmla="*/ 156 w 265"/>
                  <a:gd name="T25" fmla="*/ 29 h 103"/>
                  <a:gd name="T26" fmla="*/ 155 w 265"/>
                  <a:gd name="T27" fmla="*/ 9 h 103"/>
                  <a:gd name="T28" fmla="*/ 148 w 265"/>
                  <a:gd name="T29" fmla="*/ 3 h 103"/>
                  <a:gd name="T30" fmla="*/ 133 w 265"/>
                  <a:gd name="T31" fmla="*/ 5 h 103"/>
                  <a:gd name="T32" fmla="*/ 119 w 265"/>
                  <a:gd name="T33" fmla="*/ 19 h 103"/>
                  <a:gd name="T34" fmla="*/ 112 w 265"/>
                  <a:gd name="T35" fmla="*/ 39 h 103"/>
                  <a:gd name="T36" fmla="*/ 114 w 265"/>
                  <a:gd name="T37" fmla="*/ 55 h 103"/>
                  <a:gd name="T38" fmla="*/ 110 w 265"/>
                  <a:gd name="T39" fmla="*/ 62 h 103"/>
                  <a:gd name="T40" fmla="*/ 97 w 265"/>
                  <a:gd name="T41" fmla="*/ 65 h 103"/>
                  <a:gd name="T42" fmla="*/ 81 w 265"/>
                  <a:gd name="T43" fmla="*/ 59 h 103"/>
                  <a:gd name="T44" fmla="*/ 100 w 265"/>
                  <a:gd name="T45" fmla="*/ 23 h 103"/>
                  <a:gd name="T46" fmla="*/ 100 w 265"/>
                  <a:gd name="T47" fmla="*/ 7 h 103"/>
                  <a:gd name="T48" fmla="*/ 96 w 265"/>
                  <a:gd name="T49" fmla="*/ 2 h 103"/>
                  <a:gd name="T50" fmla="*/ 88 w 265"/>
                  <a:gd name="T51" fmla="*/ 0 h 103"/>
                  <a:gd name="T52" fmla="*/ 71 w 265"/>
                  <a:gd name="T53" fmla="*/ 7 h 103"/>
                  <a:gd name="T54" fmla="*/ 58 w 265"/>
                  <a:gd name="T55" fmla="*/ 25 h 103"/>
                  <a:gd name="T56" fmla="*/ 56 w 265"/>
                  <a:gd name="T57" fmla="*/ 52 h 103"/>
                  <a:gd name="T58" fmla="*/ 59 w 265"/>
                  <a:gd name="T59" fmla="*/ 59 h 103"/>
                  <a:gd name="T60" fmla="*/ 42 w 265"/>
                  <a:gd name="T61" fmla="*/ 77 h 103"/>
                  <a:gd name="T62" fmla="*/ 14 w 265"/>
                  <a:gd name="T63" fmla="*/ 85 h 103"/>
                  <a:gd name="T64" fmla="*/ 0 w 265"/>
                  <a:gd name="T65" fmla="*/ 94 h 103"/>
                  <a:gd name="T66" fmla="*/ 6 w 265"/>
                  <a:gd name="T67" fmla="*/ 103 h 103"/>
                  <a:gd name="T68" fmla="*/ 26 w 265"/>
                  <a:gd name="T69" fmla="*/ 101 h 103"/>
                  <a:gd name="T70" fmla="*/ 54 w 265"/>
                  <a:gd name="T71" fmla="*/ 90 h 103"/>
                  <a:gd name="T72" fmla="*/ 71 w 265"/>
                  <a:gd name="T73" fmla="*/ 72 h 103"/>
                  <a:gd name="T74" fmla="*/ 97 w 265"/>
                  <a:gd name="T75" fmla="*/ 82 h 103"/>
                  <a:gd name="T76" fmla="*/ 117 w 265"/>
                  <a:gd name="T77" fmla="*/ 78 h 103"/>
                  <a:gd name="T78" fmla="*/ 136 w 265"/>
                  <a:gd name="T79" fmla="*/ 78 h 103"/>
                  <a:gd name="T80" fmla="*/ 162 w 265"/>
                  <a:gd name="T81" fmla="*/ 85 h 103"/>
                  <a:gd name="T82" fmla="*/ 194 w 265"/>
                  <a:gd name="T83" fmla="*/ 85 h 103"/>
                  <a:gd name="T84" fmla="*/ 209 w 265"/>
                  <a:gd name="T85" fmla="*/ 81 h 103"/>
                  <a:gd name="T86" fmla="*/ 232 w 265"/>
                  <a:gd name="T87" fmla="*/ 78 h 103"/>
                  <a:gd name="T88" fmla="*/ 265 w 265"/>
                  <a:gd name="T89" fmla="*/ 65 h 103"/>
                  <a:gd name="T90" fmla="*/ 225 w 265"/>
                  <a:gd name="T91" fmla="*/ 58 h 103"/>
                  <a:gd name="T92" fmla="*/ 226 w 265"/>
                  <a:gd name="T93" fmla="*/ 56 h 103"/>
                  <a:gd name="T94" fmla="*/ 78 w 265"/>
                  <a:gd name="T95" fmla="*/ 25 h 103"/>
                  <a:gd name="T96" fmla="*/ 80 w 265"/>
                  <a:gd name="T97" fmla="*/ 28 h 103"/>
                  <a:gd name="T98" fmla="*/ 72 w 265"/>
                  <a:gd name="T99" fmla="*/ 36 h 103"/>
                  <a:gd name="T100" fmla="*/ 138 w 265"/>
                  <a:gd name="T101" fmla="*/ 35 h 103"/>
                  <a:gd name="T102" fmla="*/ 130 w 265"/>
                  <a:gd name="T103" fmla="*/ 48 h 103"/>
                  <a:gd name="T104" fmla="*/ 129 w 265"/>
                  <a:gd name="T105" fmla="*/ 38 h 103"/>
                  <a:gd name="T106" fmla="*/ 133 w 265"/>
                  <a:gd name="T107" fmla="*/ 28 h 103"/>
                  <a:gd name="T108" fmla="*/ 141 w 265"/>
                  <a:gd name="T109" fmla="*/ 20 h 103"/>
                  <a:gd name="T110" fmla="*/ 138 w 265"/>
                  <a:gd name="T111" fmla="*/ 35 h 103"/>
                  <a:gd name="T112" fmla="*/ 203 w 265"/>
                  <a:gd name="T113" fmla="*/ 49 h 103"/>
                  <a:gd name="T114" fmla="*/ 199 w 265"/>
                  <a:gd name="T115" fmla="*/ 44 h 103"/>
                  <a:gd name="T116" fmla="*/ 201 w 265"/>
                  <a:gd name="T117" fmla="*/ 36 h 103"/>
                  <a:gd name="T118" fmla="*/ 207 w 265"/>
                  <a:gd name="T119" fmla="*/ 31 h 103"/>
                  <a:gd name="T120" fmla="*/ 210 w 265"/>
                  <a:gd name="T121" fmla="*/ 4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5" h="103">
                    <a:moveTo>
                      <a:pt x="226" y="56"/>
                    </a:moveTo>
                    <a:lnTo>
                      <a:pt x="226" y="56"/>
                    </a:lnTo>
                    <a:lnTo>
                      <a:pt x="228" y="48"/>
                    </a:lnTo>
                    <a:lnTo>
                      <a:pt x="228" y="41"/>
                    </a:lnTo>
                    <a:lnTo>
                      <a:pt x="226" y="33"/>
                    </a:lnTo>
                    <a:lnTo>
                      <a:pt x="225" y="28"/>
                    </a:lnTo>
                    <a:lnTo>
                      <a:pt x="223" y="23"/>
                    </a:lnTo>
                    <a:lnTo>
                      <a:pt x="220" y="19"/>
                    </a:lnTo>
                    <a:lnTo>
                      <a:pt x="216" y="16"/>
                    </a:lnTo>
                    <a:lnTo>
                      <a:pt x="213" y="15"/>
                    </a:lnTo>
                    <a:lnTo>
                      <a:pt x="213" y="15"/>
                    </a:lnTo>
                    <a:lnTo>
                      <a:pt x="206" y="13"/>
                    </a:lnTo>
                    <a:lnTo>
                      <a:pt x="201" y="15"/>
                    </a:lnTo>
                    <a:lnTo>
                      <a:pt x="199" y="16"/>
                    </a:lnTo>
                    <a:lnTo>
                      <a:pt x="194" y="19"/>
                    </a:lnTo>
                    <a:lnTo>
                      <a:pt x="190" y="23"/>
                    </a:lnTo>
                    <a:lnTo>
                      <a:pt x="187" y="28"/>
                    </a:lnTo>
                    <a:lnTo>
                      <a:pt x="183" y="35"/>
                    </a:lnTo>
                    <a:lnTo>
                      <a:pt x="183" y="35"/>
                    </a:lnTo>
                    <a:lnTo>
                      <a:pt x="181" y="39"/>
                    </a:lnTo>
                    <a:lnTo>
                      <a:pt x="181" y="45"/>
                    </a:lnTo>
                    <a:lnTo>
                      <a:pt x="183" y="49"/>
                    </a:lnTo>
                    <a:lnTo>
                      <a:pt x="184" y="54"/>
                    </a:lnTo>
                    <a:lnTo>
                      <a:pt x="184" y="54"/>
                    </a:lnTo>
                    <a:lnTo>
                      <a:pt x="190" y="61"/>
                    </a:lnTo>
                    <a:lnTo>
                      <a:pt x="199" y="67"/>
                    </a:lnTo>
                    <a:lnTo>
                      <a:pt x="199" y="67"/>
                    </a:lnTo>
                    <a:lnTo>
                      <a:pt x="193" y="68"/>
                    </a:lnTo>
                    <a:lnTo>
                      <a:pt x="187" y="69"/>
                    </a:lnTo>
                    <a:lnTo>
                      <a:pt x="172" y="69"/>
                    </a:lnTo>
                    <a:lnTo>
                      <a:pt x="159" y="67"/>
                    </a:lnTo>
                    <a:lnTo>
                      <a:pt x="151" y="65"/>
                    </a:lnTo>
                    <a:lnTo>
                      <a:pt x="151" y="65"/>
                    </a:lnTo>
                    <a:lnTo>
                      <a:pt x="142" y="61"/>
                    </a:lnTo>
                    <a:lnTo>
                      <a:pt x="142" y="61"/>
                    </a:lnTo>
                    <a:lnTo>
                      <a:pt x="148" y="52"/>
                    </a:lnTo>
                    <a:lnTo>
                      <a:pt x="154" y="42"/>
                    </a:lnTo>
                    <a:lnTo>
                      <a:pt x="154" y="42"/>
                    </a:lnTo>
                    <a:lnTo>
                      <a:pt x="156" y="29"/>
                    </a:lnTo>
                    <a:lnTo>
                      <a:pt x="158" y="18"/>
                    </a:lnTo>
                    <a:lnTo>
                      <a:pt x="156" y="13"/>
                    </a:lnTo>
                    <a:lnTo>
                      <a:pt x="155" y="9"/>
                    </a:lnTo>
                    <a:lnTo>
                      <a:pt x="152" y="6"/>
                    </a:lnTo>
                    <a:lnTo>
                      <a:pt x="148" y="3"/>
                    </a:lnTo>
                    <a:lnTo>
                      <a:pt x="148" y="3"/>
                    </a:lnTo>
                    <a:lnTo>
                      <a:pt x="143" y="2"/>
                    </a:lnTo>
                    <a:lnTo>
                      <a:pt x="136" y="3"/>
                    </a:lnTo>
                    <a:lnTo>
                      <a:pt x="133" y="5"/>
                    </a:lnTo>
                    <a:lnTo>
                      <a:pt x="129" y="7"/>
                    </a:lnTo>
                    <a:lnTo>
                      <a:pt x="123" y="12"/>
                    </a:lnTo>
                    <a:lnTo>
                      <a:pt x="119" y="19"/>
                    </a:lnTo>
                    <a:lnTo>
                      <a:pt x="119" y="19"/>
                    </a:lnTo>
                    <a:lnTo>
                      <a:pt x="113" y="31"/>
                    </a:lnTo>
                    <a:lnTo>
                      <a:pt x="112" y="39"/>
                    </a:lnTo>
                    <a:lnTo>
                      <a:pt x="112" y="48"/>
                    </a:lnTo>
                    <a:lnTo>
                      <a:pt x="114" y="55"/>
                    </a:lnTo>
                    <a:lnTo>
                      <a:pt x="114" y="55"/>
                    </a:lnTo>
                    <a:lnTo>
                      <a:pt x="116" y="59"/>
                    </a:lnTo>
                    <a:lnTo>
                      <a:pt x="116" y="59"/>
                    </a:lnTo>
                    <a:lnTo>
                      <a:pt x="110" y="62"/>
                    </a:lnTo>
                    <a:lnTo>
                      <a:pt x="103" y="65"/>
                    </a:lnTo>
                    <a:lnTo>
                      <a:pt x="103" y="65"/>
                    </a:lnTo>
                    <a:lnTo>
                      <a:pt x="97" y="65"/>
                    </a:lnTo>
                    <a:lnTo>
                      <a:pt x="91" y="64"/>
                    </a:lnTo>
                    <a:lnTo>
                      <a:pt x="85" y="62"/>
                    </a:lnTo>
                    <a:lnTo>
                      <a:pt x="81" y="59"/>
                    </a:lnTo>
                    <a:lnTo>
                      <a:pt x="81" y="59"/>
                    </a:lnTo>
                    <a:lnTo>
                      <a:pt x="94" y="38"/>
                    </a:lnTo>
                    <a:lnTo>
                      <a:pt x="100" y="23"/>
                    </a:lnTo>
                    <a:lnTo>
                      <a:pt x="101" y="18"/>
                    </a:lnTo>
                    <a:lnTo>
                      <a:pt x="101" y="13"/>
                    </a:lnTo>
                    <a:lnTo>
                      <a:pt x="100" y="7"/>
                    </a:lnTo>
                    <a:lnTo>
                      <a:pt x="100" y="7"/>
                    </a:lnTo>
                    <a:lnTo>
                      <a:pt x="98" y="5"/>
                    </a:lnTo>
                    <a:lnTo>
                      <a:pt x="96" y="2"/>
                    </a:lnTo>
                    <a:lnTo>
                      <a:pt x="91" y="0"/>
                    </a:lnTo>
                    <a:lnTo>
                      <a:pt x="88" y="0"/>
                    </a:lnTo>
                    <a:lnTo>
                      <a:pt x="88" y="0"/>
                    </a:lnTo>
                    <a:lnTo>
                      <a:pt x="84" y="0"/>
                    </a:lnTo>
                    <a:lnTo>
                      <a:pt x="80" y="2"/>
                    </a:lnTo>
                    <a:lnTo>
                      <a:pt x="71" y="7"/>
                    </a:lnTo>
                    <a:lnTo>
                      <a:pt x="64" y="15"/>
                    </a:lnTo>
                    <a:lnTo>
                      <a:pt x="58" y="25"/>
                    </a:lnTo>
                    <a:lnTo>
                      <a:pt x="58" y="25"/>
                    </a:lnTo>
                    <a:lnTo>
                      <a:pt x="55" y="33"/>
                    </a:lnTo>
                    <a:lnTo>
                      <a:pt x="55" y="44"/>
                    </a:lnTo>
                    <a:lnTo>
                      <a:pt x="56" y="52"/>
                    </a:lnTo>
                    <a:lnTo>
                      <a:pt x="59" y="59"/>
                    </a:lnTo>
                    <a:lnTo>
                      <a:pt x="59" y="59"/>
                    </a:lnTo>
                    <a:lnTo>
                      <a:pt x="59" y="59"/>
                    </a:lnTo>
                    <a:lnTo>
                      <a:pt x="59" y="59"/>
                    </a:lnTo>
                    <a:lnTo>
                      <a:pt x="51" y="69"/>
                    </a:lnTo>
                    <a:lnTo>
                      <a:pt x="42" y="77"/>
                    </a:lnTo>
                    <a:lnTo>
                      <a:pt x="32" y="81"/>
                    </a:lnTo>
                    <a:lnTo>
                      <a:pt x="23" y="84"/>
                    </a:lnTo>
                    <a:lnTo>
                      <a:pt x="14" y="85"/>
                    </a:lnTo>
                    <a:lnTo>
                      <a:pt x="7" y="85"/>
                    </a:lnTo>
                    <a:lnTo>
                      <a:pt x="1" y="85"/>
                    </a:lnTo>
                    <a:lnTo>
                      <a:pt x="0" y="94"/>
                    </a:lnTo>
                    <a:lnTo>
                      <a:pt x="0" y="103"/>
                    </a:lnTo>
                    <a:lnTo>
                      <a:pt x="0" y="103"/>
                    </a:lnTo>
                    <a:lnTo>
                      <a:pt x="6" y="103"/>
                    </a:lnTo>
                    <a:lnTo>
                      <a:pt x="6" y="103"/>
                    </a:lnTo>
                    <a:lnTo>
                      <a:pt x="17" y="103"/>
                    </a:lnTo>
                    <a:lnTo>
                      <a:pt x="26" y="101"/>
                    </a:lnTo>
                    <a:lnTo>
                      <a:pt x="35" y="98"/>
                    </a:lnTo>
                    <a:lnTo>
                      <a:pt x="43" y="94"/>
                    </a:lnTo>
                    <a:lnTo>
                      <a:pt x="54" y="90"/>
                    </a:lnTo>
                    <a:lnTo>
                      <a:pt x="62" y="82"/>
                    </a:lnTo>
                    <a:lnTo>
                      <a:pt x="71" y="72"/>
                    </a:lnTo>
                    <a:lnTo>
                      <a:pt x="71" y="72"/>
                    </a:lnTo>
                    <a:lnTo>
                      <a:pt x="80" y="78"/>
                    </a:lnTo>
                    <a:lnTo>
                      <a:pt x="88" y="81"/>
                    </a:lnTo>
                    <a:lnTo>
                      <a:pt x="97" y="82"/>
                    </a:lnTo>
                    <a:lnTo>
                      <a:pt x="107" y="81"/>
                    </a:lnTo>
                    <a:lnTo>
                      <a:pt x="107" y="81"/>
                    </a:lnTo>
                    <a:lnTo>
                      <a:pt x="117" y="78"/>
                    </a:lnTo>
                    <a:lnTo>
                      <a:pt x="127" y="72"/>
                    </a:lnTo>
                    <a:lnTo>
                      <a:pt x="127" y="72"/>
                    </a:lnTo>
                    <a:lnTo>
                      <a:pt x="136" y="78"/>
                    </a:lnTo>
                    <a:lnTo>
                      <a:pt x="146" y="81"/>
                    </a:lnTo>
                    <a:lnTo>
                      <a:pt x="146" y="81"/>
                    </a:lnTo>
                    <a:lnTo>
                      <a:pt x="162" y="85"/>
                    </a:lnTo>
                    <a:lnTo>
                      <a:pt x="178" y="87"/>
                    </a:lnTo>
                    <a:lnTo>
                      <a:pt x="187" y="87"/>
                    </a:lnTo>
                    <a:lnTo>
                      <a:pt x="194" y="85"/>
                    </a:lnTo>
                    <a:lnTo>
                      <a:pt x="203" y="84"/>
                    </a:lnTo>
                    <a:lnTo>
                      <a:pt x="209" y="81"/>
                    </a:lnTo>
                    <a:lnTo>
                      <a:pt x="209" y="81"/>
                    </a:lnTo>
                    <a:lnTo>
                      <a:pt x="217" y="74"/>
                    </a:lnTo>
                    <a:lnTo>
                      <a:pt x="217" y="74"/>
                    </a:lnTo>
                    <a:lnTo>
                      <a:pt x="232" y="78"/>
                    </a:lnTo>
                    <a:lnTo>
                      <a:pt x="245" y="80"/>
                    </a:lnTo>
                    <a:lnTo>
                      <a:pt x="264" y="82"/>
                    </a:lnTo>
                    <a:lnTo>
                      <a:pt x="265" y="65"/>
                    </a:lnTo>
                    <a:lnTo>
                      <a:pt x="265" y="65"/>
                    </a:lnTo>
                    <a:lnTo>
                      <a:pt x="246" y="62"/>
                    </a:lnTo>
                    <a:lnTo>
                      <a:pt x="225" y="58"/>
                    </a:lnTo>
                    <a:lnTo>
                      <a:pt x="225" y="58"/>
                    </a:lnTo>
                    <a:lnTo>
                      <a:pt x="226" y="56"/>
                    </a:lnTo>
                    <a:lnTo>
                      <a:pt x="226" y="56"/>
                    </a:lnTo>
                    <a:close/>
                    <a:moveTo>
                      <a:pt x="74" y="32"/>
                    </a:moveTo>
                    <a:lnTo>
                      <a:pt x="74" y="32"/>
                    </a:lnTo>
                    <a:lnTo>
                      <a:pt x="78" y="25"/>
                    </a:lnTo>
                    <a:lnTo>
                      <a:pt x="84" y="19"/>
                    </a:lnTo>
                    <a:lnTo>
                      <a:pt x="84" y="19"/>
                    </a:lnTo>
                    <a:lnTo>
                      <a:pt x="80" y="28"/>
                    </a:lnTo>
                    <a:lnTo>
                      <a:pt x="71" y="42"/>
                    </a:lnTo>
                    <a:lnTo>
                      <a:pt x="71" y="42"/>
                    </a:lnTo>
                    <a:lnTo>
                      <a:pt x="72" y="36"/>
                    </a:lnTo>
                    <a:lnTo>
                      <a:pt x="74" y="32"/>
                    </a:lnTo>
                    <a:lnTo>
                      <a:pt x="74" y="32"/>
                    </a:lnTo>
                    <a:close/>
                    <a:moveTo>
                      <a:pt x="138" y="35"/>
                    </a:moveTo>
                    <a:lnTo>
                      <a:pt x="138" y="35"/>
                    </a:lnTo>
                    <a:lnTo>
                      <a:pt x="133" y="42"/>
                    </a:lnTo>
                    <a:lnTo>
                      <a:pt x="130" y="48"/>
                    </a:lnTo>
                    <a:lnTo>
                      <a:pt x="130" y="48"/>
                    </a:lnTo>
                    <a:lnTo>
                      <a:pt x="129" y="44"/>
                    </a:lnTo>
                    <a:lnTo>
                      <a:pt x="129" y="38"/>
                    </a:lnTo>
                    <a:lnTo>
                      <a:pt x="130" y="33"/>
                    </a:lnTo>
                    <a:lnTo>
                      <a:pt x="133" y="28"/>
                    </a:lnTo>
                    <a:lnTo>
                      <a:pt x="133" y="28"/>
                    </a:lnTo>
                    <a:lnTo>
                      <a:pt x="138" y="23"/>
                    </a:lnTo>
                    <a:lnTo>
                      <a:pt x="141" y="20"/>
                    </a:lnTo>
                    <a:lnTo>
                      <a:pt x="141" y="20"/>
                    </a:lnTo>
                    <a:lnTo>
                      <a:pt x="141" y="26"/>
                    </a:lnTo>
                    <a:lnTo>
                      <a:pt x="138" y="35"/>
                    </a:lnTo>
                    <a:lnTo>
                      <a:pt x="138" y="35"/>
                    </a:lnTo>
                    <a:close/>
                    <a:moveTo>
                      <a:pt x="209" y="52"/>
                    </a:moveTo>
                    <a:lnTo>
                      <a:pt x="209" y="52"/>
                    </a:lnTo>
                    <a:lnTo>
                      <a:pt x="203" y="49"/>
                    </a:lnTo>
                    <a:lnTo>
                      <a:pt x="199" y="45"/>
                    </a:lnTo>
                    <a:lnTo>
                      <a:pt x="199" y="45"/>
                    </a:lnTo>
                    <a:lnTo>
                      <a:pt x="199" y="44"/>
                    </a:lnTo>
                    <a:lnTo>
                      <a:pt x="199" y="42"/>
                    </a:lnTo>
                    <a:lnTo>
                      <a:pt x="199" y="42"/>
                    </a:lnTo>
                    <a:lnTo>
                      <a:pt x="201" y="36"/>
                    </a:lnTo>
                    <a:lnTo>
                      <a:pt x="204" y="33"/>
                    </a:lnTo>
                    <a:lnTo>
                      <a:pt x="207" y="31"/>
                    </a:lnTo>
                    <a:lnTo>
                      <a:pt x="207" y="31"/>
                    </a:lnTo>
                    <a:lnTo>
                      <a:pt x="209" y="32"/>
                    </a:lnTo>
                    <a:lnTo>
                      <a:pt x="210" y="36"/>
                    </a:lnTo>
                    <a:lnTo>
                      <a:pt x="210" y="44"/>
                    </a:lnTo>
                    <a:lnTo>
                      <a:pt x="209" y="52"/>
                    </a:lnTo>
                    <a:lnTo>
                      <a:pt x="209"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grpSp>
        <p:grpSp>
          <p:nvGrpSpPr>
            <p:cNvPr id="119" name="Group 118">
              <a:extLst>
                <a:ext uri="{FF2B5EF4-FFF2-40B4-BE49-F238E27FC236}">
                  <a16:creationId xmlns:a16="http://schemas.microsoft.com/office/drawing/2014/main" id="{57006DC2-7CE0-AD5B-8D7C-3D0D7AC6CBA2}"/>
                </a:ext>
              </a:extLst>
            </p:cNvPr>
            <p:cNvGrpSpPr>
              <a:grpSpLocks noChangeAspect="1"/>
            </p:cNvGrpSpPr>
            <p:nvPr/>
          </p:nvGrpSpPr>
          <p:grpSpPr bwMode="auto">
            <a:xfrm>
              <a:off x="3899840" y="549626"/>
              <a:ext cx="344654" cy="1005922"/>
              <a:chOff x="3899840" y="549629"/>
              <a:chExt cx="480" cy="1331"/>
            </a:xfrm>
            <a:gradFill>
              <a:gsLst>
                <a:gs pos="37000">
                  <a:srgbClr val="003C70"/>
                </a:gs>
                <a:gs pos="100000">
                  <a:srgbClr val="0077D4"/>
                </a:gs>
              </a:gsLst>
              <a:lin ang="0" scaled="1"/>
            </a:gradFill>
          </p:grpSpPr>
          <p:sp>
            <p:nvSpPr>
              <p:cNvPr id="159" name="Freeform 5">
                <a:extLst>
                  <a:ext uri="{FF2B5EF4-FFF2-40B4-BE49-F238E27FC236}">
                    <a16:creationId xmlns:a16="http://schemas.microsoft.com/office/drawing/2014/main" id="{C5675042-FF2B-11D4-B861-F4B2EB4E826F}"/>
                  </a:ext>
                </a:extLst>
              </p:cNvPr>
              <p:cNvSpPr>
                <a:spLocks/>
              </p:cNvSpPr>
              <p:nvPr/>
            </p:nvSpPr>
            <p:spPr bwMode="auto">
              <a:xfrm>
                <a:off x="3899956" y="549629"/>
                <a:ext cx="248" cy="247"/>
              </a:xfrm>
              <a:custGeom>
                <a:avLst/>
                <a:gdLst>
                  <a:gd name="T0" fmla="*/ 248 w 248"/>
                  <a:gd name="T1" fmla="*/ 123 h 247"/>
                  <a:gd name="T2" fmla="*/ 248 w 248"/>
                  <a:gd name="T3" fmla="*/ 123 h 247"/>
                  <a:gd name="T4" fmla="*/ 245 w 248"/>
                  <a:gd name="T5" fmla="*/ 147 h 247"/>
                  <a:gd name="T6" fmla="*/ 237 w 248"/>
                  <a:gd name="T7" fmla="*/ 170 h 247"/>
                  <a:gd name="T8" fmla="*/ 228 w 248"/>
                  <a:gd name="T9" fmla="*/ 191 h 247"/>
                  <a:gd name="T10" fmla="*/ 210 w 248"/>
                  <a:gd name="T11" fmla="*/ 209 h 247"/>
                  <a:gd name="T12" fmla="*/ 192 w 248"/>
                  <a:gd name="T13" fmla="*/ 223 h 247"/>
                  <a:gd name="T14" fmla="*/ 171 w 248"/>
                  <a:gd name="T15" fmla="*/ 235 h 247"/>
                  <a:gd name="T16" fmla="*/ 148 w 248"/>
                  <a:gd name="T17" fmla="*/ 244 h 247"/>
                  <a:gd name="T18" fmla="*/ 124 w 248"/>
                  <a:gd name="T19" fmla="*/ 247 h 247"/>
                  <a:gd name="T20" fmla="*/ 124 w 248"/>
                  <a:gd name="T21" fmla="*/ 247 h 247"/>
                  <a:gd name="T22" fmla="*/ 97 w 248"/>
                  <a:gd name="T23" fmla="*/ 244 h 247"/>
                  <a:gd name="T24" fmla="*/ 74 w 248"/>
                  <a:gd name="T25" fmla="*/ 235 h 247"/>
                  <a:gd name="T26" fmla="*/ 53 w 248"/>
                  <a:gd name="T27" fmla="*/ 223 h 247"/>
                  <a:gd name="T28" fmla="*/ 35 w 248"/>
                  <a:gd name="T29" fmla="*/ 209 h 247"/>
                  <a:gd name="T30" fmla="*/ 20 w 248"/>
                  <a:gd name="T31" fmla="*/ 191 h 247"/>
                  <a:gd name="T32" fmla="*/ 8 w 248"/>
                  <a:gd name="T33" fmla="*/ 170 h 247"/>
                  <a:gd name="T34" fmla="*/ 3 w 248"/>
                  <a:gd name="T35" fmla="*/ 147 h 247"/>
                  <a:gd name="T36" fmla="*/ 0 w 248"/>
                  <a:gd name="T37" fmla="*/ 123 h 247"/>
                  <a:gd name="T38" fmla="*/ 0 w 248"/>
                  <a:gd name="T39" fmla="*/ 123 h 247"/>
                  <a:gd name="T40" fmla="*/ 3 w 248"/>
                  <a:gd name="T41" fmla="*/ 97 h 247"/>
                  <a:gd name="T42" fmla="*/ 8 w 248"/>
                  <a:gd name="T43" fmla="*/ 73 h 247"/>
                  <a:gd name="T44" fmla="*/ 20 w 248"/>
                  <a:gd name="T45" fmla="*/ 53 h 247"/>
                  <a:gd name="T46" fmla="*/ 35 w 248"/>
                  <a:gd name="T47" fmla="*/ 35 h 247"/>
                  <a:gd name="T48" fmla="*/ 53 w 248"/>
                  <a:gd name="T49" fmla="*/ 21 h 247"/>
                  <a:gd name="T50" fmla="*/ 74 w 248"/>
                  <a:gd name="T51" fmla="*/ 9 h 247"/>
                  <a:gd name="T52" fmla="*/ 97 w 248"/>
                  <a:gd name="T53" fmla="*/ 3 h 247"/>
                  <a:gd name="T54" fmla="*/ 124 w 248"/>
                  <a:gd name="T55" fmla="*/ 0 h 247"/>
                  <a:gd name="T56" fmla="*/ 124 w 248"/>
                  <a:gd name="T57" fmla="*/ 0 h 247"/>
                  <a:gd name="T58" fmla="*/ 148 w 248"/>
                  <a:gd name="T59" fmla="*/ 3 h 247"/>
                  <a:gd name="T60" fmla="*/ 171 w 248"/>
                  <a:gd name="T61" fmla="*/ 9 h 247"/>
                  <a:gd name="T62" fmla="*/ 192 w 248"/>
                  <a:gd name="T63" fmla="*/ 21 h 247"/>
                  <a:gd name="T64" fmla="*/ 210 w 248"/>
                  <a:gd name="T65" fmla="*/ 35 h 247"/>
                  <a:gd name="T66" fmla="*/ 228 w 248"/>
                  <a:gd name="T67" fmla="*/ 53 h 247"/>
                  <a:gd name="T68" fmla="*/ 237 w 248"/>
                  <a:gd name="T69" fmla="*/ 73 h 247"/>
                  <a:gd name="T70" fmla="*/ 245 w 248"/>
                  <a:gd name="T71" fmla="*/ 97 h 247"/>
                  <a:gd name="T72" fmla="*/ 248 w 248"/>
                  <a:gd name="T73" fmla="*/ 123 h 247"/>
                  <a:gd name="T74" fmla="*/ 248 w 248"/>
                  <a:gd name="T75" fmla="*/ 12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8" h="247">
                    <a:moveTo>
                      <a:pt x="248" y="123"/>
                    </a:moveTo>
                    <a:lnTo>
                      <a:pt x="248" y="123"/>
                    </a:lnTo>
                    <a:lnTo>
                      <a:pt x="245" y="147"/>
                    </a:lnTo>
                    <a:lnTo>
                      <a:pt x="237" y="170"/>
                    </a:lnTo>
                    <a:lnTo>
                      <a:pt x="228" y="191"/>
                    </a:lnTo>
                    <a:lnTo>
                      <a:pt x="210" y="209"/>
                    </a:lnTo>
                    <a:lnTo>
                      <a:pt x="192" y="223"/>
                    </a:lnTo>
                    <a:lnTo>
                      <a:pt x="171" y="235"/>
                    </a:lnTo>
                    <a:lnTo>
                      <a:pt x="148" y="244"/>
                    </a:lnTo>
                    <a:lnTo>
                      <a:pt x="124" y="247"/>
                    </a:lnTo>
                    <a:lnTo>
                      <a:pt x="124" y="247"/>
                    </a:lnTo>
                    <a:lnTo>
                      <a:pt x="97" y="244"/>
                    </a:lnTo>
                    <a:lnTo>
                      <a:pt x="74" y="235"/>
                    </a:lnTo>
                    <a:lnTo>
                      <a:pt x="53" y="223"/>
                    </a:lnTo>
                    <a:lnTo>
                      <a:pt x="35" y="209"/>
                    </a:lnTo>
                    <a:lnTo>
                      <a:pt x="20" y="191"/>
                    </a:lnTo>
                    <a:lnTo>
                      <a:pt x="8" y="170"/>
                    </a:lnTo>
                    <a:lnTo>
                      <a:pt x="3" y="147"/>
                    </a:lnTo>
                    <a:lnTo>
                      <a:pt x="0" y="123"/>
                    </a:lnTo>
                    <a:lnTo>
                      <a:pt x="0" y="123"/>
                    </a:lnTo>
                    <a:lnTo>
                      <a:pt x="3" y="97"/>
                    </a:lnTo>
                    <a:lnTo>
                      <a:pt x="8" y="73"/>
                    </a:lnTo>
                    <a:lnTo>
                      <a:pt x="20" y="53"/>
                    </a:lnTo>
                    <a:lnTo>
                      <a:pt x="35" y="35"/>
                    </a:lnTo>
                    <a:lnTo>
                      <a:pt x="53" y="21"/>
                    </a:lnTo>
                    <a:lnTo>
                      <a:pt x="74" y="9"/>
                    </a:lnTo>
                    <a:lnTo>
                      <a:pt x="97" y="3"/>
                    </a:lnTo>
                    <a:lnTo>
                      <a:pt x="124" y="0"/>
                    </a:lnTo>
                    <a:lnTo>
                      <a:pt x="124" y="0"/>
                    </a:lnTo>
                    <a:lnTo>
                      <a:pt x="148" y="3"/>
                    </a:lnTo>
                    <a:lnTo>
                      <a:pt x="171" y="9"/>
                    </a:lnTo>
                    <a:lnTo>
                      <a:pt x="192" y="21"/>
                    </a:lnTo>
                    <a:lnTo>
                      <a:pt x="210" y="35"/>
                    </a:lnTo>
                    <a:lnTo>
                      <a:pt x="228" y="53"/>
                    </a:lnTo>
                    <a:lnTo>
                      <a:pt x="237" y="73"/>
                    </a:lnTo>
                    <a:lnTo>
                      <a:pt x="245" y="97"/>
                    </a:lnTo>
                    <a:lnTo>
                      <a:pt x="248" y="123"/>
                    </a:lnTo>
                    <a:lnTo>
                      <a:pt x="248"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60" name="Freeform 6">
                <a:extLst>
                  <a:ext uri="{FF2B5EF4-FFF2-40B4-BE49-F238E27FC236}">
                    <a16:creationId xmlns:a16="http://schemas.microsoft.com/office/drawing/2014/main" id="{B3EA38A5-005F-F65C-6E1E-8B1C79184401}"/>
                  </a:ext>
                </a:extLst>
              </p:cNvPr>
              <p:cNvSpPr>
                <a:spLocks/>
              </p:cNvSpPr>
              <p:nvPr/>
            </p:nvSpPr>
            <p:spPr bwMode="auto">
              <a:xfrm>
                <a:off x="3899852" y="549890"/>
                <a:ext cx="198" cy="65"/>
              </a:xfrm>
              <a:custGeom>
                <a:avLst/>
                <a:gdLst>
                  <a:gd name="T0" fmla="*/ 6 w 198"/>
                  <a:gd name="T1" fmla="*/ 65 h 65"/>
                  <a:gd name="T2" fmla="*/ 198 w 198"/>
                  <a:gd name="T3" fmla="*/ 65 h 65"/>
                  <a:gd name="T4" fmla="*/ 157 w 198"/>
                  <a:gd name="T5" fmla="*/ 0 h 65"/>
                  <a:gd name="T6" fmla="*/ 74 w 198"/>
                  <a:gd name="T7" fmla="*/ 0 h 65"/>
                  <a:gd name="T8" fmla="*/ 56 w 198"/>
                  <a:gd name="T9" fmla="*/ 0 h 65"/>
                  <a:gd name="T10" fmla="*/ 0 w 198"/>
                  <a:gd name="T11" fmla="*/ 0 h 65"/>
                  <a:gd name="T12" fmla="*/ 3 w 198"/>
                  <a:gd name="T13" fmla="*/ 65 h 65"/>
                  <a:gd name="T14" fmla="*/ 6 w 198"/>
                  <a:gd name="T15" fmla="*/ 65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 h="65">
                    <a:moveTo>
                      <a:pt x="6" y="65"/>
                    </a:moveTo>
                    <a:lnTo>
                      <a:pt x="198" y="65"/>
                    </a:lnTo>
                    <a:lnTo>
                      <a:pt x="157" y="0"/>
                    </a:lnTo>
                    <a:lnTo>
                      <a:pt x="74" y="0"/>
                    </a:lnTo>
                    <a:lnTo>
                      <a:pt x="56" y="0"/>
                    </a:lnTo>
                    <a:lnTo>
                      <a:pt x="0" y="0"/>
                    </a:lnTo>
                    <a:lnTo>
                      <a:pt x="3" y="65"/>
                    </a:lnTo>
                    <a:lnTo>
                      <a:pt x="6"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61" name="Freeform 7">
                <a:extLst>
                  <a:ext uri="{FF2B5EF4-FFF2-40B4-BE49-F238E27FC236}">
                    <a16:creationId xmlns:a16="http://schemas.microsoft.com/office/drawing/2014/main" id="{265B34E3-1CF0-3C14-D42D-2F642D255069}"/>
                  </a:ext>
                </a:extLst>
              </p:cNvPr>
              <p:cNvSpPr>
                <a:spLocks/>
              </p:cNvSpPr>
              <p:nvPr/>
            </p:nvSpPr>
            <p:spPr bwMode="auto">
              <a:xfrm>
                <a:off x="3899870" y="550366"/>
                <a:ext cx="62" cy="56"/>
              </a:xfrm>
              <a:custGeom>
                <a:avLst/>
                <a:gdLst>
                  <a:gd name="T0" fmla="*/ 0 w 62"/>
                  <a:gd name="T1" fmla="*/ 0 h 56"/>
                  <a:gd name="T2" fmla="*/ 3 w 62"/>
                  <a:gd name="T3" fmla="*/ 27 h 56"/>
                  <a:gd name="T4" fmla="*/ 3 w 62"/>
                  <a:gd name="T5" fmla="*/ 27 h 56"/>
                  <a:gd name="T6" fmla="*/ 6 w 62"/>
                  <a:gd name="T7" fmla="*/ 39 h 56"/>
                  <a:gd name="T8" fmla="*/ 11 w 62"/>
                  <a:gd name="T9" fmla="*/ 47 h 56"/>
                  <a:gd name="T10" fmla="*/ 20 w 62"/>
                  <a:gd name="T11" fmla="*/ 53 h 56"/>
                  <a:gd name="T12" fmla="*/ 32 w 62"/>
                  <a:gd name="T13" fmla="*/ 56 h 56"/>
                  <a:gd name="T14" fmla="*/ 32 w 62"/>
                  <a:gd name="T15" fmla="*/ 56 h 56"/>
                  <a:gd name="T16" fmla="*/ 44 w 62"/>
                  <a:gd name="T17" fmla="*/ 53 h 56"/>
                  <a:gd name="T18" fmla="*/ 53 w 62"/>
                  <a:gd name="T19" fmla="*/ 47 h 56"/>
                  <a:gd name="T20" fmla="*/ 59 w 62"/>
                  <a:gd name="T21" fmla="*/ 39 h 56"/>
                  <a:gd name="T22" fmla="*/ 62 w 62"/>
                  <a:gd name="T23" fmla="*/ 27 h 56"/>
                  <a:gd name="T24" fmla="*/ 62 w 62"/>
                  <a:gd name="T25" fmla="*/ 0 h 56"/>
                  <a:gd name="T26" fmla="*/ 0 w 62"/>
                  <a:gd name="T2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56">
                    <a:moveTo>
                      <a:pt x="0" y="0"/>
                    </a:moveTo>
                    <a:lnTo>
                      <a:pt x="3" y="27"/>
                    </a:lnTo>
                    <a:lnTo>
                      <a:pt x="3" y="27"/>
                    </a:lnTo>
                    <a:lnTo>
                      <a:pt x="6" y="39"/>
                    </a:lnTo>
                    <a:lnTo>
                      <a:pt x="11" y="47"/>
                    </a:lnTo>
                    <a:lnTo>
                      <a:pt x="20" y="53"/>
                    </a:lnTo>
                    <a:lnTo>
                      <a:pt x="32" y="56"/>
                    </a:lnTo>
                    <a:lnTo>
                      <a:pt x="32" y="56"/>
                    </a:lnTo>
                    <a:lnTo>
                      <a:pt x="44" y="53"/>
                    </a:lnTo>
                    <a:lnTo>
                      <a:pt x="53" y="47"/>
                    </a:lnTo>
                    <a:lnTo>
                      <a:pt x="59" y="39"/>
                    </a:lnTo>
                    <a:lnTo>
                      <a:pt x="62" y="27"/>
                    </a:lnTo>
                    <a:lnTo>
                      <a:pt x="6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62" name="Freeform 8">
                <a:extLst>
                  <a:ext uri="{FF2B5EF4-FFF2-40B4-BE49-F238E27FC236}">
                    <a16:creationId xmlns:a16="http://schemas.microsoft.com/office/drawing/2014/main" id="{AE55AE72-AAD6-5C74-755E-BAE94709FC8E}"/>
                  </a:ext>
                </a:extLst>
              </p:cNvPr>
              <p:cNvSpPr>
                <a:spLocks/>
              </p:cNvSpPr>
              <p:nvPr/>
            </p:nvSpPr>
            <p:spPr bwMode="auto">
              <a:xfrm>
                <a:off x="3900107" y="549890"/>
                <a:ext cx="201" cy="65"/>
              </a:xfrm>
              <a:custGeom>
                <a:avLst/>
                <a:gdLst>
                  <a:gd name="T0" fmla="*/ 195 w 201"/>
                  <a:gd name="T1" fmla="*/ 65 h 65"/>
                  <a:gd name="T2" fmla="*/ 198 w 201"/>
                  <a:gd name="T3" fmla="*/ 65 h 65"/>
                  <a:gd name="T4" fmla="*/ 201 w 201"/>
                  <a:gd name="T5" fmla="*/ 0 h 65"/>
                  <a:gd name="T6" fmla="*/ 139 w 201"/>
                  <a:gd name="T7" fmla="*/ 0 h 65"/>
                  <a:gd name="T8" fmla="*/ 121 w 201"/>
                  <a:gd name="T9" fmla="*/ 0 h 65"/>
                  <a:gd name="T10" fmla="*/ 44 w 201"/>
                  <a:gd name="T11" fmla="*/ 0 h 65"/>
                  <a:gd name="T12" fmla="*/ 0 w 201"/>
                  <a:gd name="T13" fmla="*/ 65 h 65"/>
                  <a:gd name="T14" fmla="*/ 195 w 201"/>
                  <a:gd name="T15" fmla="*/ 65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1" h="65">
                    <a:moveTo>
                      <a:pt x="195" y="65"/>
                    </a:moveTo>
                    <a:lnTo>
                      <a:pt x="198" y="65"/>
                    </a:lnTo>
                    <a:lnTo>
                      <a:pt x="201" y="0"/>
                    </a:lnTo>
                    <a:lnTo>
                      <a:pt x="139" y="0"/>
                    </a:lnTo>
                    <a:lnTo>
                      <a:pt x="121" y="0"/>
                    </a:lnTo>
                    <a:lnTo>
                      <a:pt x="44" y="0"/>
                    </a:lnTo>
                    <a:lnTo>
                      <a:pt x="0" y="65"/>
                    </a:lnTo>
                    <a:lnTo>
                      <a:pt x="195"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63" name="Freeform 9">
                <a:extLst>
                  <a:ext uri="{FF2B5EF4-FFF2-40B4-BE49-F238E27FC236}">
                    <a16:creationId xmlns:a16="http://schemas.microsoft.com/office/drawing/2014/main" id="{26E82BAF-18B3-B351-D2E3-768677518CD4}"/>
                  </a:ext>
                </a:extLst>
              </p:cNvPr>
              <p:cNvSpPr>
                <a:spLocks/>
              </p:cNvSpPr>
              <p:nvPr/>
            </p:nvSpPr>
            <p:spPr bwMode="auto">
              <a:xfrm>
                <a:off x="3900228" y="550366"/>
                <a:ext cx="59" cy="56"/>
              </a:xfrm>
              <a:custGeom>
                <a:avLst/>
                <a:gdLst>
                  <a:gd name="T0" fmla="*/ 0 w 59"/>
                  <a:gd name="T1" fmla="*/ 0 h 56"/>
                  <a:gd name="T2" fmla="*/ 0 w 59"/>
                  <a:gd name="T3" fmla="*/ 27 h 56"/>
                  <a:gd name="T4" fmla="*/ 0 w 59"/>
                  <a:gd name="T5" fmla="*/ 27 h 56"/>
                  <a:gd name="T6" fmla="*/ 3 w 59"/>
                  <a:gd name="T7" fmla="*/ 39 h 56"/>
                  <a:gd name="T8" fmla="*/ 9 w 59"/>
                  <a:gd name="T9" fmla="*/ 47 h 56"/>
                  <a:gd name="T10" fmla="*/ 18 w 59"/>
                  <a:gd name="T11" fmla="*/ 53 h 56"/>
                  <a:gd name="T12" fmla="*/ 30 w 59"/>
                  <a:gd name="T13" fmla="*/ 56 h 56"/>
                  <a:gd name="T14" fmla="*/ 30 w 59"/>
                  <a:gd name="T15" fmla="*/ 56 h 56"/>
                  <a:gd name="T16" fmla="*/ 42 w 59"/>
                  <a:gd name="T17" fmla="*/ 53 h 56"/>
                  <a:gd name="T18" fmla="*/ 51 w 59"/>
                  <a:gd name="T19" fmla="*/ 47 h 56"/>
                  <a:gd name="T20" fmla="*/ 56 w 59"/>
                  <a:gd name="T21" fmla="*/ 39 h 56"/>
                  <a:gd name="T22" fmla="*/ 59 w 59"/>
                  <a:gd name="T23" fmla="*/ 27 h 56"/>
                  <a:gd name="T24" fmla="*/ 59 w 59"/>
                  <a:gd name="T25" fmla="*/ 0 h 56"/>
                  <a:gd name="T26" fmla="*/ 0 w 59"/>
                  <a:gd name="T2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56">
                    <a:moveTo>
                      <a:pt x="0" y="0"/>
                    </a:moveTo>
                    <a:lnTo>
                      <a:pt x="0" y="27"/>
                    </a:lnTo>
                    <a:lnTo>
                      <a:pt x="0" y="27"/>
                    </a:lnTo>
                    <a:lnTo>
                      <a:pt x="3" y="39"/>
                    </a:lnTo>
                    <a:lnTo>
                      <a:pt x="9" y="47"/>
                    </a:lnTo>
                    <a:lnTo>
                      <a:pt x="18" y="53"/>
                    </a:lnTo>
                    <a:lnTo>
                      <a:pt x="30" y="56"/>
                    </a:lnTo>
                    <a:lnTo>
                      <a:pt x="30" y="56"/>
                    </a:lnTo>
                    <a:lnTo>
                      <a:pt x="42" y="53"/>
                    </a:lnTo>
                    <a:lnTo>
                      <a:pt x="51" y="47"/>
                    </a:lnTo>
                    <a:lnTo>
                      <a:pt x="56" y="39"/>
                    </a:lnTo>
                    <a:lnTo>
                      <a:pt x="59" y="27"/>
                    </a:lnTo>
                    <a:lnTo>
                      <a:pt x="5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64" name="Freeform 10">
                <a:extLst>
                  <a:ext uri="{FF2B5EF4-FFF2-40B4-BE49-F238E27FC236}">
                    <a16:creationId xmlns:a16="http://schemas.microsoft.com/office/drawing/2014/main" id="{268AD252-BF93-0063-8309-9FC074144DFE}"/>
                  </a:ext>
                </a:extLst>
              </p:cNvPr>
              <p:cNvSpPr>
                <a:spLocks/>
              </p:cNvSpPr>
              <p:nvPr/>
            </p:nvSpPr>
            <p:spPr bwMode="auto">
              <a:xfrm>
                <a:off x="3899964" y="550366"/>
                <a:ext cx="232" cy="594"/>
              </a:xfrm>
              <a:custGeom>
                <a:avLst/>
                <a:gdLst>
                  <a:gd name="T0" fmla="*/ 0 w 232"/>
                  <a:gd name="T1" fmla="*/ 0 h 594"/>
                  <a:gd name="T2" fmla="*/ 3 w 232"/>
                  <a:gd name="T3" fmla="*/ 27 h 594"/>
                  <a:gd name="T4" fmla="*/ 3 w 232"/>
                  <a:gd name="T5" fmla="*/ 27 h 594"/>
                  <a:gd name="T6" fmla="*/ 3 w 232"/>
                  <a:gd name="T7" fmla="*/ 547 h 594"/>
                  <a:gd name="T8" fmla="*/ 3 w 232"/>
                  <a:gd name="T9" fmla="*/ 547 h 594"/>
                  <a:gd name="T10" fmla="*/ 3 w 232"/>
                  <a:gd name="T11" fmla="*/ 556 h 594"/>
                  <a:gd name="T12" fmla="*/ 6 w 232"/>
                  <a:gd name="T13" fmla="*/ 565 h 594"/>
                  <a:gd name="T14" fmla="*/ 15 w 232"/>
                  <a:gd name="T15" fmla="*/ 582 h 594"/>
                  <a:gd name="T16" fmla="*/ 33 w 232"/>
                  <a:gd name="T17" fmla="*/ 591 h 594"/>
                  <a:gd name="T18" fmla="*/ 42 w 232"/>
                  <a:gd name="T19" fmla="*/ 594 h 594"/>
                  <a:gd name="T20" fmla="*/ 51 w 232"/>
                  <a:gd name="T21" fmla="*/ 594 h 594"/>
                  <a:gd name="T22" fmla="*/ 51 w 232"/>
                  <a:gd name="T23" fmla="*/ 594 h 594"/>
                  <a:gd name="T24" fmla="*/ 60 w 232"/>
                  <a:gd name="T25" fmla="*/ 594 h 594"/>
                  <a:gd name="T26" fmla="*/ 69 w 232"/>
                  <a:gd name="T27" fmla="*/ 591 h 594"/>
                  <a:gd name="T28" fmla="*/ 83 w 232"/>
                  <a:gd name="T29" fmla="*/ 582 h 594"/>
                  <a:gd name="T30" fmla="*/ 95 w 232"/>
                  <a:gd name="T31" fmla="*/ 565 h 594"/>
                  <a:gd name="T32" fmla="*/ 95 w 232"/>
                  <a:gd name="T33" fmla="*/ 556 h 594"/>
                  <a:gd name="T34" fmla="*/ 98 w 232"/>
                  <a:gd name="T35" fmla="*/ 547 h 594"/>
                  <a:gd name="T36" fmla="*/ 98 w 232"/>
                  <a:gd name="T37" fmla="*/ 27 h 594"/>
                  <a:gd name="T38" fmla="*/ 134 w 232"/>
                  <a:gd name="T39" fmla="*/ 27 h 594"/>
                  <a:gd name="T40" fmla="*/ 134 w 232"/>
                  <a:gd name="T41" fmla="*/ 547 h 594"/>
                  <a:gd name="T42" fmla="*/ 134 w 232"/>
                  <a:gd name="T43" fmla="*/ 547 h 594"/>
                  <a:gd name="T44" fmla="*/ 134 w 232"/>
                  <a:gd name="T45" fmla="*/ 556 h 594"/>
                  <a:gd name="T46" fmla="*/ 137 w 232"/>
                  <a:gd name="T47" fmla="*/ 565 h 594"/>
                  <a:gd name="T48" fmla="*/ 146 w 232"/>
                  <a:gd name="T49" fmla="*/ 582 h 594"/>
                  <a:gd name="T50" fmla="*/ 163 w 232"/>
                  <a:gd name="T51" fmla="*/ 591 h 594"/>
                  <a:gd name="T52" fmla="*/ 172 w 232"/>
                  <a:gd name="T53" fmla="*/ 594 h 594"/>
                  <a:gd name="T54" fmla="*/ 181 w 232"/>
                  <a:gd name="T55" fmla="*/ 594 h 594"/>
                  <a:gd name="T56" fmla="*/ 181 w 232"/>
                  <a:gd name="T57" fmla="*/ 594 h 594"/>
                  <a:gd name="T58" fmla="*/ 190 w 232"/>
                  <a:gd name="T59" fmla="*/ 594 h 594"/>
                  <a:gd name="T60" fmla="*/ 199 w 232"/>
                  <a:gd name="T61" fmla="*/ 591 h 594"/>
                  <a:gd name="T62" fmla="*/ 214 w 232"/>
                  <a:gd name="T63" fmla="*/ 582 h 594"/>
                  <a:gd name="T64" fmla="*/ 226 w 232"/>
                  <a:gd name="T65" fmla="*/ 565 h 594"/>
                  <a:gd name="T66" fmla="*/ 226 w 232"/>
                  <a:gd name="T67" fmla="*/ 556 h 594"/>
                  <a:gd name="T68" fmla="*/ 229 w 232"/>
                  <a:gd name="T69" fmla="*/ 547 h 594"/>
                  <a:gd name="T70" fmla="*/ 229 w 232"/>
                  <a:gd name="T71" fmla="*/ 27 h 594"/>
                  <a:gd name="T72" fmla="*/ 229 w 232"/>
                  <a:gd name="T73" fmla="*/ 27 h 594"/>
                  <a:gd name="T74" fmla="*/ 232 w 232"/>
                  <a:gd name="T75" fmla="*/ 0 h 594"/>
                  <a:gd name="T76" fmla="*/ 0 w 232"/>
                  <a:gd name="T77"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2" h="594">
                    <a:moveTo>
                      <a:pt x="0" y="0"/>
                    </a:moveTo>
                    <a:lnTo>
                      <a:pt x="3" y="27"/>
                    </a:lnTo>
                    <a:lnTo>
                      <a:pt x="3" y="27"/>
                    </a:lnTo>
                    <a:lnTo>
                      <a:pt x="3" y="547"/>
                    </a:lnTo>
                    <a:lnTo>
                      <a:pt x="3" y="547"/>
                    </a:lnTo>
                    <a:lnTo>
                      <a:pt x="3" y="556"/>
                    </a:lnTo>
                    <a:lnTo>
                      <a:pt x="6" y="565"/>
                    </a:lnTo>
                    <a:lnTo>
                      <a:pt x="15" y="582"/>
                    </a:lnTo>
                    <a:lnTo>
                      <a:pt x="33" y="591"/>
                    </a:lnTo>
                    <a:lnTo>
                      <a:pt x="42" y="594"/>
                    </a:lnTo>
                    <a:lnTo>
                      <a:pt x="51" y="594"/>
                    </a:lnTo>
                    <a:lnTo>
                      <a:pt x="51" y="594"/>
                    </a:lnTo>
                    <a:lnTo>
                      <a:pt x="60" y="594"/>
                    </a:lnTo>
                    <a:lnTo>
                      <a:pt x="69" y="591"/>
                    </a:lnTo>
                    <a:lnTo>
                      <a:pt x="83" y="582"/>
                    </a:lnTo>
                    <a:lnTo>
                      <a:pt x="95" y="565"/>
                    </a:lnTo>
                    <a:lnTo>
                      <a:pt x="95" y="556"/>
                    </a:lnTo>
                    <a:lnTo>
                      <a:pt x="98" y="547"/>
                    </a:lnTo>
                    <a:lnTo>
                      <a:pt x="98" y="27"/>
                    </a:lnTo>
                    <a:lnTo>
                      <a:pt x="134" y="27"/>
                    </a:lnTo>
                    <a:lnTo>
                      <a:pt x="134" y="547"/>
                    </a:lnTo>
                    <a:lnTo>
                      <a:pt x="134" y="547"/>
                    </a:lnTo>
                    <a:lnTo>
                      <a:pt x="134" y="556"/>
                    </a:lnTo>
                    <a:lnTo>
                      <a:pt x="137" y="565"/>
                    </a:lnTo>
                    <a:lnTo>
                      <a:pt x="146" y="582"/>
                    </a:lnTo>
                    <a:lnTo>
                      <a:pt x="163" y="591"/>
                    </a:lnTo>
                    <a:lnTo>
                      <a:pt x="172" y="594"/>
                    </a:lnTo>
                    <a:lnTo>
                      <a:pt x="181" y="594"/>
                    </a:lnTo>
                    <a:lnTo>
                      <a:pt x="181" y="594"/>
                    </a:lnTo>
                    <a:lnTo>
                      <a:pt x="190" y="594"/>
                    </a:lnTo>
                    <a:lnTo>
                      <a:pt x="199" y="591"/>
                    </a:lnTo>
                    <a:lnTo>
                      <a:pt x="214" y="582"/>
                    </a:lnTo>
                    <a:lnTo>
                      <a:pt x="226" y="565"/>
                    </a:lnTo>
                    <a:lnTo>
                      <a:pt x="226" y="556"/>
                    </a:lnTo>
                    <a:lnTo>
                      <a:pt x="229" y="547"/>
                    </a:lnTo>
                    <a:lnTo>
                      <a:pt x="229" y="27"/>
                    </a:lnTo>
                    <a:lnTo>
                      <a:pt x="229" y="27"/>
                    </a:lnTo>
                    <a:lnTo>
                      <a:pt x="23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65" name="Freeform 11">
                <a:extLst>
                  <a:ext uri="{FF2B5EF4-FFF2-40B4-BE49-F238E27FC236}">
                    <a16:creationId xmlns:a16="http://schemas.microsoft.com/office/drawing/2014/main" id="{659D8BDC-2C12-4C46-3E8E-9554A6F74BFA}"/>
                  </a:ext>
                </a:extLst>
              </p:cNvPr>
              <p:cNvSpPr>
                <a:spLocks noEditPoints="1"/>
              </p:cNvSpPr>
              <p:nvPr/>
            </p:nvSpPr>
            <p:spPr bwMode="auto">
              <a:xfrm>
                <a:off x="3899840" y="549973"/>
                <a:ext cx="480" cy="376"/>
              </a:xfrm>
              <a:custGeom>
                <a:avLst/>
                <a:gdLst>
                  <a:gd name="T0" fmla="*/ 0 w 480"/>
                  <a:gd name="T1" fmla="*/ 0 h 376"/>
                  <a:gd name="T2" fmla="*/ 0 w 480"/>
                  <a:gd name="T3" fmla="*/ 376 h 376"/>
                  <a:gd name="T4" fmla="*/ 480 w 480"/>
                  <a:gd name="T5" fmla="*/ 376 h 376"/>
                  <a:gd name="T6" fmla="*/ 480 w 480"/>
                  <a:gd name="T7" fmla="*/ 0 h 376"/>
                  <a:gd name="T8" fmla="*/ 0 w 480"/>
                  <a:gd name="T9" fmla="*/ 0 h 376"/>
                  <a:gd name="T10" fmla="*/ 36 w 480"/>
                  <a:gd name="T11" fmla="*/ 35 h 376"/>
                  <a:gd name="T12" fmla="*/ 222 w 480"/>
                  <a:gd name="T13" fmla="*/ 35 h 376"/>
                  <a:gd name="T14" fmla="*/ 222 w 480"/>
                  <a:gd name="T15" fmla="*/ 323 h 376"/>
                  <a:gd name="T16" fmla="*/ 222 w 480"/>
                  <a:gd name="T17" fmla="*/ 323 h 376"/>
                  <a:gd name="T18" fmla="*/ 199 w 480"/>
                  <a:gd name="T19" fmla="*/ 311 h 376"/>
                  <a:gd name="T20" fmla="*/ 181 w 480"/>
                  <a:gd name="T21" fmla="*/ 302 h 376"/>
                  <a:gd name="T22" fmla="*/ 169 w 480"/>
                  <a:gd name="T23" fmla="*/ 299 h 376"/>
                  <a:gd name="T24" fmla="*/ 160 w 480"/>
                  <a:gd name="T25" fmla="*/ 299 h 376"/>
                  <a:gd name="T26" fmla="*/ 151 w 480"/>
                  <a:gd name="T27" fmla="*/ 305 h 376"/>
                  <a:gd name="T28" fmla="*/ 139 w 480"/>
                  <a:gd name="T29" fmla="*/ 311 h 376"/>
                  <a:gd name="T30" fmla="*/ 139 w 480"/>
                  <a:gd name="T31" fmla="*/ 311 h 376"/>
                  <a:gd name="T32" fmla="*/ 133 w 480"/>
                  <a:gd name="T33" fmla="*/ 317 h 376"/>
                  <a:gd name="T34" fmla="*/ 130 w 480"/>
                  <a:gd name="T35" fmla="*/ 326 h 376"/>
                  <a:gd name="T36" fmla="*/ 127 w 480"/>
                  <a:gd name="T37" fmla="*/ 341 h 376"/>
                  <a:gd name="T38" fmla="*/ 36 w 480"/>
                  <a:gd name="T39" fmla="*/ 341 h 376"/>
                  <a:gd name="T40" fmla="*/ 36 w 480"/>
                  <a:gd name="T41" fmla="*/ 35 h 376"/>
                  <a:gd name="T42" fmla="*/ 444 w 480"/>
                  <a:gd name="T43" fmla="*/ 341 h 376"/>
                  <a:gd name="T44" fmla="*/ 353 w 480"/>
                  <a:gd name="T45" fmla="*/ 341 h 376"/>
                  <a:gd name="T46" fmla="*/ 353 w 480"/>
                  <a:gd name="T47" fmla="*/ 341 h 376"/>
                  <a:gd name="T48" fmla="*/ 350 w 480"/>
                  <a:gd name="T49" fmla="*/ 326 h 376"/>
                  <a:gd name="T50" fmla="*/ 344 w 480"/>
                  <a:gd name="T51" fmla="*/ 317 h 376"/>
                  <a:gd name="T52" fmla="*/ 341 w 480"/>
                  <a:gd name="T53" fmla="*/ 311 h 376"/>
                  <a:gd name="T54" fmla="*/ 341 w 480"/>
                  <a:gd name="T55" fmla="*/ 311 h 376"/>
                  <a:gd name="T56" fmla="*/ 329 w 480"/>
                  <a:gd name="T57" fmla="*/ 305 h 376"/>
                  <a:gd name="T58" fmla="*/ 317 w 480"/>
                  <a:gd name="T59" fmla="*/ 299 h 376"/>
                  <a:gd name="T60" fmla="*/ 308 w 480"/>
                  <a:gd name="T61" fmla="*/ 299 h 376"/>
                  <a:gd name="T62" fmla="*/ 299 w 480"/>
                  <a:gd name="T63" fmla="*/ 302 h 376"/>
                  <a:gd name="T64" fmla="*/ 279 w 480"/>
                  <a:gd name="T65" fmla="*/ 311 h 376"/>
                  <a:gd name="T66" fmla="*/ 258 w 480"/>
                  <a:gd name="T67" fmla="*/ 323 h 376"/>
                  <a:gd name="T68" fmla="*/ 258 w 480"/>
                  <a:gd name="T69" fmla="*/ 35 h 376"/>
                  <a:gd name="T70" fmla="*/ 444 w 480"/>
                  <a:gd name="T71" fmla="*/ 35 h 376"/>
                  <a:gd name="T72" fmla="*/ 444 w 480"/>
                  <a:gd name="T73" fmla="*/ 34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0" h="376">
                    <a:moveTo>
                      <a:pt x="0" y="0"/>
                    </a:moveTo>
                    <a:lnTo>
                      <a:pt x="0" y="376"/>
                    </a:lnTo>
                    <a:lnTo>
                      <a:pt x="480" y="376"/>
                    </a:lnTo>
                    <a:lnTo>
                      <a:pt x="480" y="0"/>
                    </a:lnTo>
                    <a:lnTo>
                      <a:pt x="0" y="0"/>
                    </a:lnTo>
                    <a:close/>
                    <a:moveTo>
                      <a:pt x="36" y="35"/>
                    </a:moveTo>
                    <a:lnTo>
                      <a:pt x="222" y="35"/>
                    </a:lnTo>
                    <a:lnTo>
                      <a:pt x="222" y="323"/>
                    </a:lnTo>
                    <a:lnTo>
                      <a:pt x="222" y="323"/>
                    </a:lnTo>
                    <a:lnTo>
                      <a:pt x="199" y="311"/>
                    </a:lnTo>
                    <a:lnTo>
                      <a:pt x="181" y="302"/>
                    </a:lnTo>
                    <a:lnTo>
                      <a:pt x="169" y="299"/>
                    </a:lnTo>
                    <a:lnTo>
                      <a:pt x="160" y="299"/>
                    </a:lnTo>
                    <a:lnTo>
                      <a:pt x="151" y="305"/>
                    </a:lnTo>
                    <a:lnTo>
                      <a:pt x="139" y="311"/>
                    </a:lnTo>
                    <a:lnTo>
                      <a:pt x="139" y="311"/>
                    </a:lnTo>
                    <a:lnTo>
                      <a:pt x="133" y="317"/>
                    </a:lnTo>
                    <a:lnTo>
                      <a:pt x="130" y="326"/>
                    </a:lnTo>
                    <a:lnTo>
                      <a:pt x="127" y="341"/>
                    </a:lnTo>
                    <a:lnTo>
                      <a:pt x="36" y="341"/>
                    </a:lnTo>
                    <a:lnTo>
                      <a:pt x="36" y="35"/>
                    </a:lnTo>
                    <a:close/>
                    <a:moveTo>
                      <a:pt x="444" y="341"/>
                    </a:moveTo>
                    <a:lnTo>
                      <a:pt x="353" y="341"/>
                    </a:lnTo>
                    <a:lnTo>
                      <a:pt x="353" y="341"/>
                    </a:lnTo>
                    <a:lnTo>
                      <a:pt x="350" y="326"/>
                    </a:lnTo>
                    <a:lnTo>
                      <a:pt x="344" y="317"/>
                    </a:lnTo>
                    <a:lnTo>
                      <a:pt x="341" y="311"/>
                    </a:lnTo>
                    <a:lnTo>
                      <a:pt x="341" y="311"/>
                    </a:lnTo>
                    <a:lnTo>
                      <a:pt x="329" y="305"/>
                    </a:lnTo>
                    <a:lnTo>
                      <a:pt x="317" y="299"/>
                    </a:lnTo>
                    <a:lnTo>
                      <a:pt x="308" y="299"/>
                    </a:lnTo>
                    <a:lnTo>
                      <a:pt x="299" y="302"/>
                    </a:lnTo>
                    <a:lnTo>
                      <a:pt x="279" y="311"/>
                    </a:lnTo>
                    <a:lnTo>
                      <a:pt x="258" y="323"/>
                    </a:lnTo>
                    <a:lnTo>
                      <a:pt x="258" y="35"/>
                    </a:lnTo>
                    <a:lnTo>
                      <a:pt x="444" y="35"/>
                    </a:lnTo>
                    <a:lnTo>
                      <a:pt x="444" y="3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66" name="Freeform 12">
                <a:extLst>
                  <a:ext uri="{FF2B5EF4-FFF2-40B4-BE49-F238E27FC236}">
                    <a16:creationId xmlns:a16="http://schemas.microsoft.com/office/drawing/2014/main" id="{67473E76-34D7-1255-F9AC-229089D9A43E}"/>
                  </a:ext>
                </a:extLst>
              </p:cNvPr>
              <p:cNvSpPr>
                <a:spLocks/>
              </p:cNvSpPr>
              <p:nvPr/>
            </p:nvSpPr>
            <p:spPr bwMode="auto">
              <a:xfrm>
                <a:off x="3900107" y="550034"/>
                <a:ext cx="136" cy="45"/>
              </a:xfrm>
              <a:custGeom>
                <a:avLst/>
                <a:gdLst>
                  <a:gd name="T0" fmla="*/ 14 w 136"/>
                  <a:gd name="T1" fmla="*/ 21 h 45"/>
                  <a:gd name="T2" fmla="*/ 14 w 136"/>
                  <a:gd name="T3" fmla="*/ 21 h 45"/>
                  <a:gd name="T4" fmla="*/ 41 w 136"/>
                  <a:gd name="T5" fmla="*/ 18 h 45"/>
                  <a:gd name="T6" fmla="*/ 68 w 136"/>
                  <a:gd name="T7" fmla="*/ 21 h 45"/>
                  <a:gd name="T8" fmla="*/ 94 w 136"/>
                  <a:gd name="T9" fmla="*/ 27 h 45"/>
                  <a:gd name="T10" fmla="*/ 106 w 136"/>
                  <a:gd name="T11" fmla="*/ 33 h 45"/>
                  <a:gd name="T12" fmla="*/ 115 w 136"/>
                  <a:gd name="T13" fmla="*/ 42 h 45"/>
                  <a:gd name="T14" fmla="*/ 115 w 136"/>
                  <a:gd name="T15" fmla="*/ 42 h 45"/>
                  <a:gd name="T16" fmla="*/ 124 w 136"/>
                  <a:gd name="T17" fmla="*/ 45 h 45"/>
                  <a:gd name="T18" fmla="*/ 133 w 136"/>
                  <a:gd name="T19" fmla="*/ 42 h 45"/>
                  <a:gd name="T20" fmla="*/ 136 w 136"/>
                  <a:gd name="T21" fmla="*/ 36 h 45"/>
                  <a:gd name="T22" fmla="*/ 136 w 136"/>
                  <a:gd name="T23" fmla="*/ 33 h 45"/>
                  <a:gd name="T24" fmla="*/ 136 w 136"/>
                  <a:gd name="T25" fmla="*/ 30 h 45"/>
                  <a:gd name="T26" fmla="*/ 136 w 136"/>
                  <a:gd name="T27" fmla="*/ 30 h 45"/>
                  <a:gd name="T28" fmla="*/ 121 w 136"/>
                  <a:gd name="T29" fmla="*/ 18 h 45"/>
                  <a:gd name="T30" fmla="*/ 106 w 136"/>
                  <a:gd name="T31" fmla="*/ 12 h 45"/>
                  <a:gd name="T32" fmla="*/ 92 w 136"/>
                  <a:gd name="T33" fmla="*/ 6 h 45"/>
                  <a:gd name="T34" fmla="*/ 77 w 136"/>
                  <a:gd name="T35" fmla="*/ 3 h 45"/>
                  <a:gd name="T36" fmla="*/ 41 w 136"/>
                  <a:gd name="T37" fmla="*/ 0 h 45"/>
                  <a:gd name="T38" fmla="*/ 12 w 136"/>
                  <a:gd name="T39" fmla="*/ 3 h 45"/>
                  <a:gd name="T40" fmla="*/ 12 w 136"/>
                  <a:gd name="T41" fmla="*/ 3 h 45"/>
                  <a:gd name="T42" fmla="*/ 3 w 136"/>
                  <a:gd name="T43" fmla="*/ 6 h 45"/>
                  <a:gd name="T44" fmla="*/ 0 w 136"/>
                  <a:gd name="T45" fmla="*/ 12 h 45"/>
                  <a:gd name="T46" fmla="*/ 6 w 136"/>
                  <a:gd name="T47" fmla="*/ 18 h 45"/>
                  <a:gd name="T48" fmla="*/ 14 w 136"/>
                  <a:gd name="T49" fmla="*/ 21 h 45"/>
                  <a:gd name="T50" fmla="*/ 14 w 136"/>
                  <a:gd name="T51" fmla="*/ 2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 h="45">
                    <a:moveTo>
                      <a:pt x="14" y="21"/>
                    </a:moveTo>
                    <a:lnTo>
                      <a:pt x="14" y="21"/>
                    </a:lnTo>
                    <a:lnTo>
                      <a:pt x="41" y="18"/>
                    </a:lnTo>
                    <a:lnTo>
                      <a:pt x="68" y="21"/>
                    </a:lnTo>
                    <a:lnTo>
                      <a:pt x="94" y="27"/>
                    </a:lnTo>
                    <a:lnTo>
                      <a:pt x="106" y="33"/>
                    </a:lnTo>
                    <a:lnTo>
                      <a:pt x="115" y="42"/>
                    </a:lnTo>
                    <a:lnTo>
                      <a:pt x="115" y="42"/>
                    </a:lnTo>
                    <a:lnTo>
                      <a:pt x="124" y="45"/>
                    </a:lnTo>
                    <a:lnTo>
                      <a:pt x="133" y="42"/>
                    </a:lnTo>
                    <a:lnTo>
                      <a:pt x="136" y="36"/>
                    </a:lnTo>
                    <a:lnTo>
                      <a:pt x="136" y="33"/>
                    </a:lnTo>
                    <a:lnTo>
                      <a:pt x="136" y="30"/>
                    </a:lnTo>
                    <a:lnTo>
                      <a:pt x="136" y="30"/>
                    </a:lnTo>
                    <a:lnTo>
                      <a:pt x="121" y="18"/>
                    </a:lnTo>
                    <a:lnTo>
                      <a:pt x="106" y="12"/>
                    </a:lnTo>
                    <a:lnTo>
                      <a:pt x="92" y="6"/>
                    </a:lnTo>
                    <a:lnTo>
                      <a:pt x="77" y="3"/>
                    </a:lnTo>
                    <a:lnTo>
                      <a:pt x="41" y="0"/>
                    </a:lnTo>
                    <a:lnTo>
                      <a:pt x="12" y="3"/>
                    </a:lnTo>
                    <a:lnTo>
                      <a:pt x="12" y="3"/>
                    </a:lnTo>
                    <a:lnTo>
                      <a:pt x="3" y="6"/>
                    </a:lnTo>
                    <a:lnTo>
                      <a:pt x="0" y="12"/>
                    </a:lnTo>
                    <a:lnTo>
                      <a:pt x="6" y="18"/>
                    </a:lnTo>
                    <a:lnTo>
                      <a:pt x="14" y="21"/>
                    </a:lnTo>
                    <a:lnTo>
                      <a:pt x="1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67" name="Freeform 13">
                <a:extLst>
                  <a:ext uri="{FF2B5EF4-FFF2-40B4-BE49-F238E27FC236}">
                    <a16:creationId xmlns:a16="http://schemas.microsoft.com/office/drawing/2014/main" id="{9EBE10E1-06A6-505F-3A84-35D5F6E32902}"/>
                  </a:ext>
                </a:extLst>
              </p:cNvPr>
              <p:cNvSpPr>
                <a:spLocks/>
              </p:cNvSpPr>
              <p:nvPr/>
            </p:nvSpPr>
            <p:spPr bwMode="auto">
              <a:xfrm>
                <a:off x="3900107" y="550120"/>
                <a:ext cx="127" cy="47"/>
              </a:xfrm>
              <a:custGeom>
                <a:avLst/>
                <a:gdLst>
                  <a:gd name="T0" fmla="*/ 9 w 127"/>
                  <a:gd name="T1" fmla="*/ 17 h 47"/>
                  <a:gd name="T2" fmla="*/ 9 w 127"/>
                  <a:gd name="T3" fmla="*/ 17 h 47"/>
                  <a:gd name="T4" fmla="*/ 35 w 127"/>
                  <a:gd name="T5" fmla="*/ 20 h 47"/>
                  <a:gd name="T6" fmla="*/ 59 w 127"/>
                  <a:gd name="T7" fmla="*/ 23 h 47"/>
                  <a:gd name="T8" fmla="*/ 86 w 127"/>
                  <a:gd name="T9" fmla="*/ 32 h 47"/>
                  <a:gd name="T10" fmla="*/ 106 w 127"/>
                  <a:gd name="T11" fmla="*/ 44 h 47"/>
                  <a:gd name="T12" fmla="*/ 106 w 127"/>
                  <a:gd name="T13" fmla="*/ 44 h 47"/>
                  <a:gd name="T14" fmla="*/ 115 w 127"/>
                  <a:gd name="T15" fmla="*/ 47 h 47"/>
                  <a:gd name="T16" fmla="*/ 121 w 127"/>
                  <a:gd name="T17" fmla="*/ 44 h 47"/>
                  <a:gd name="T18" fmla="*/ 127 w 127"/>
                  <a:gd name="T19" fmla="*/ 38 h 47"/>
                  <a:gd name="T20" fmla="*/ 124 w 127"/>
                  <a:gd name="T21" fmla="*/ 32 h 47"/>
                  <a:gd name="T22" fmla="*/ 121 w 127"/>
                  <a:gd name="T23" fmla="*/ 29 h 47"/>
                  <a:gd name="T24" fmla="*/ 121 w 127"/>
                  <a:gd name="T25" fmla="*/ 29 h 47"/>
                  <a:gd name="T26" fmla="*/ 109 w 127"/>
                  <a:gd name="T27" fmla="*/ 23 h 47"/>
                  <a:gd name="T28" fmla="*/ 97 w 127"/>
                  <a:gd name="T29" fmla="*/ 17 h 47"/>
                  <a:gd name="T30" fmla="*/ 71 w 127"/>
                  <a:gd name="T31" fmla="*/ 8 h 47"/>
                  <a:gd name="T32" fmla="*/ 41 w 127"/>
                  <a:gd name="T33" fmla="*/ 3 h 47"/>
                  <a:gd name="T34" fmla="*/ 14 w 127"/>
                  <a:gd name="T35" fmla="*/ 0 h 47"/>
                  <a:gd name="T36" fmla="*/ 14 w 127"/>
                  <a:gd name="T37" fmla="*/ 0 h 47"/>
                  <a:gd name="T38" fmla="*/ 6 w 127"/>
                  <a:gd name="T39" fmla="*/ 3 h 47"/>
                  <a:gd name="T40" fmla="*/ 0 w 127"/>
                  <a:gd name="T41" fmla="*/ 8 h 47"/>
                  <a:gd name="T42" fmla="*/ 0 w 127"/>
                  <a:gd name="T43" fmla="*/ 14 h 47"/>
                  <a:gd name="T44" fmla="*/ 3 w 127"/>
                  <a:gd name="T45" fmla="*/ 17 h 47"/>
                  <a:gd name="T46" fmla="*/ 9 w 127"/>
                  <a:gd name="T47" fmla="*/ 17 h 47"/>
                  <a:gd name="T48" fmla="*/ 9 w 127"/>
                  <a:gd name="T49"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7" h="47">
                    <a:moveTo>
                      <a:pt x="9" y="17"/>
                    </a:moveTo>
                    <a:lnTo>
                      <a:pt x="9" y="17"/>
                    </a:lnTo>
                    <a:lnTo>
                      <a:pt x="35" y="20"/>
                    </a:lnTo>
                    <a:lnTo>
                      <a:pt x="59" y="23"/>
                    </a:lnTo>
                    <a:lnTo>
                      <a:pt x="86" y="32"/>
                    </a:lnTo>
                    <a:lnTo>
                      <a:pt x="106" y="44"/>
                    </a:lnTo>
                    <a:lnTo>
                      <a:pt x="106" y="44"/>
                    </a:lnTo>
                    <a:lnTo>
                      <a:pt x="115" y="47"/>
                    </a:lnTo>
                    <a:lnTo>
                      <a:pt x="121" y="44"/>
                    </a:lnTo>
                    <a:lnTo>
                      <a:pt x="127" y="38"/>
                    </a:lnTo>
                    <a:lnTo>
                      <a:pt x="124" y="32"/>
                    </a:lnTo>
                    <a:lnTo>
                      <a:pt x="121" y="29"/>
                    </a:lnTo>
                    <a:lnTo>
                      <a:pt x="121" y="29"/>
                    </a:lnTo>
                    <a:lnTo>
                      <a:pt x="109" y="23"/>
                    </a:lnTo>
                    <a:lnTo>
                      <a:pt x="97" y="17"/>
                    </a:lnTo>
                    <a:lnTo>
                      <a:pt x="71" y="8"/>
                    </a:lnTo>
                    <a:lnTo>
                      <a:pt x="41" y="3"/>
                    </a:lnTo>
                    <a:lnTo>
                      <a:pt x="14" y="0"/>
                    </a:lnTo>
                    <a:lnTo>
                      <a:pt x="14" y="0"/>
                    </a:lnTo>
                    <a:lnTo>
                      <a:pt x="6" y="3"/>
                    </a:lnTo>
                    <a:lnTo>
                      <a:pt x="0" y="8"/>
                    </a:lnTo>
                    <a:lnTo>
                      <a:pt x="0" y="14"/>
                    </a:lnTo>
                    <a:lnTo>
                      <a:pt x="3" y="17"/>
                    </a:lnTo>
                    <a:lnTo>
                      <a:pt x="9" y="17"/>
                    </a:lnTo>
                    <a:lnTo>
                      <a:pt x="9"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68" name="Freeform 14">
                <a:extLst>
                  <a:ext uri="{FF2B5EF4-FFF2-40B4-BE49-F238E27FC236}">
                    <a16:creationId xmlns:a16="http://schemas.microsoft.com/office/drawing/2014/main" id="{E8CEE04F-0698-2E63-4835-509D15259B76}"/>
                  </a:ext>
                </a:extLst>
              </p:cNvPr>
              <p:cNvSpPr>
                <a:spLocks/>
              </p:cNvSpPr>
              <p:nvPr/>
            </p:nvSpPr>
            <p:spPr bwMode="auto">
              <a:xfrm>
                <a:off x="3900107" y="550167"/>
                <a:ext cx="109" cy="41"/>
              </a:xfrm>
              <a:custGeom>
                <a:avLst/>
                <a:gdLst>
                  <a:gd name="T0" fmla="*/ 12 w 109"/>
                  <a:gd name="T1" fmla="*/ 17 h 41"/>
                  <a:gd name="T2" fmla="*/ 12 w 109"/>
                  <a:gd name="T3" fmla="*/ 17 h 41"/>
                  <a:gd name="T4" fmla="*/ 50 w 109"/>
                  <a:gd name="T5" fmla="*/ 23 h 41"/>
                  <a:gd name="T6" fmla="*/ 71 w 109"/>
                  <a:gd name="T7" fmla="*/ 26 h 41"/>
                  <a:gd name="T8" fmla="*/ 89 w 109"/>
                  <a:gd name="T9" fmla="*/ 38 h 41"/>
                  <a:gd name="T10" fmla="*/ 89 w 109"/>
                  <a:gd name="T11" fmla="*/ 38 h 41"/>
                  <a:gd name="T12" fmla="*/ 94 w 109"/>
                  <a:gd name="T13" fmla="*/ 41 h 41"/>
                  <a:gd name="T14" fmla="*/ 103 w 109"/>
                  <a:gd name="T15" fmla="*/ 38 h 41"/>
                  <a:gd name="T16" fmla="*/ 109 w 109"/>
                  <a:gd name="T17" fmla="*/ 32 h 41"/>
                  <a:gd name="T18" fmla="*/ 109 w 109"/>
                  <a:gd name="T19" fmla="*/ 29 h 41"/>
                  <a:gd name="T20" fmla="*/ 106 w 109"/>
                  <a:gd name="T21" fmla="*/ 26 h 41"/>
                  <a:gd name="T22" fmla="*/ 106 w 109"/>
                  <a:gd name="T23" fmla="*/ 26 h 41"/>
                  <a:gd name="T24" fmla="*/ 86 w 109"/>
                  <a:gd name="T25" fmla="*/ 14 h 41"/>
                  <a:gd name="T26" fmla="*/ 62 w 109"/>
                  <a:gd name="T27" fmla="*/ 6 h 41"/>
                  <a:gd name="T28" fmla="*/ 14 w 109"/>
                  <a:gd name="T29" fmla="*/ 0 h 41"/>
                  <a:gd name="T30" fmla="*/ 14 w 109"/>
                  <a:gd name="T31" fmla="*/ 0 h 41"/>
                  <a:gd name="T32" fmla="*/ 6 w 109"/>
                  <a:gd name="T33" fmla="*/ 0 h 41"/>
                  <a:gd name="T34" fmla="*/ 0 w 109"/>
                  <a:gd name="T35" fmla="*/ 6 h 41"/>
                  <a:gd name="T36" fmla="*/ 3 w 109"/>
                  <a:gd name="T37" fmla="*/ 11 h 41"/>
                  <a:gd name="T38" fmla="*/ 6 w 109"/>
                  <a:gd name="T39" fmla="*/ 14 h 41"/>
                  <a:gd name="T40" fmla="*/ 12 w 109"/>
                  <a:gd name="T41" fmla="*/ 17 h 41"/>
                  <a:gd name="T42" fmla="*/ 12 w 109"/>
                  <a:gd name="T43" fmla="*/ 1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41">
                    <a:moveTo>
                      <a:pt x="12" y="17"/>
                    </a:moveTo>
                    <a:lnTo>
                      <a:pt x="12" y="17"/>
                    </a:lnTo>
                    <a:lnTo>
                      <a:pt x="50" y="23"/>
                    </a:lnTo>
                    <a:lnTo>
                      <a:pt x="71" y="26"/>
                    </a:lnTo>
                    <a:lnTo>
                      <a:pt x="89" y="38"/>
                    </a:lnTo>
                    <a:lnTo>
                      <a:pt x="89" y="38"/>
                    </a:lnTo>
                    <a:lnTo>
                      <a:pt x="94" y="41"/>
                    </a:lnTo>
                    <a:lnTo>
                      <a:pt x="103" y="38"/>
                    </a:lnTo>
                    <a:lnTo>
                      <a:pt x="109" y="32"/>
                    </a:lnTo>
                    <a:lnTo>
                      <a:pt x="109" y="29"/>
                    </a:lnTo>
                    <a:lnTo>
                      <a:pt x="106" y="26"/>
                    </a:lnTo>
                    <a:lnTo>
                      <a:pt x="106" y="26"/>
                    </a:lnTo>
                    <a:lnTo>
                      <a:pt x="86" y="14"/>
                    </a:lnTo>
                    <a:lnTo>
                      <a:pt x="62" y="6"/>
                    </a:lnTo>
                    <a:lnTo>
                      <a:pt x="14" y="0"/>
                    </a:lnTo>
                    <a:lnTo>
                      <a:pt x="14" y="0"/>
                    </a:lnTo>
                    <a:lnTo>
                      <a:pt x="6" y="0"/>
                    </a:lnTo>
                    <a:lnTo>
                      <a:pt x="0" y="6"/>
                    </a:lnTo>
                    <a:lnTo>
                      <a:pt x="3" y="11"/>
                    </a:lnTo>
                    <a:lnTo>
                      <a:pt x="6" y="14"/>
                    </a:lnTo>
                    <a:lnTo>
                      <a:pt x="12" y="17"/>
                    </a:lnTo>
                    <a:lnTo>
                      <a:pt x="1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69" name="Freeform 15">
                <a:extLst>
                  <a:ext uri="{FF2B5EF4-FFF2-40B4-BE49-F238E27FC236}">
                    <a16:creationId xmlns:a16="http://schemas.microsoft.com/office/drawing/2014/main" id="{B6BDCB44-9264-6A4D-2EDD-610E64806785}"/>
                  </a:ext>
                </a:extLst>
              </p:cNvPr>
              <p:cNvSpPr>
                <a:spLocks/>
              </p:cNvSpPr>
              <p:nvPr/>
            </p:nvSpPr>
            <p:spPr bwMode="auto">
              <a:xfrm>
                <a:off x="3900110" y="550214"/>
                <a:ext cx="91" cy="32"/>
              </a:xfrm>
              <a:custGeom>
                <a:avLst/>
                <a:gdLst>
                  <a:gd name="T0" fmla="*/ 9 w 91"/>
                  <a:gd name="T1" fmla="*/ 17 h 32"/>
                  <a:gd name="T2" fmla="*/ 9 w 91"/>
                  <a:gd name="T3" fmla="*/ 17 h 32"/>
                  <a:gd name="T4" fmla="*/ 41 w 91"/>
                  <a:gd name="T5" fmla="*/ 17 h 32"/>
                  <a:gd name="T6" fmla="*/ 56 w 91"/>
                  <a:gd name="T7" fmla="*/ 20 h 32"/>
                  <a:gd name="T8" fmla="*/ 62 w 91"/>
                  <a:gd name="T9" fmla="*/ 23 h 32"/>
                  <a:gd name="T10" fmla="*/ 68 w 91"/>
                  <a:gd name="T11" fmla="*/ 29 h 32"/>
                  <a:gd name="T12" fmla="*/ 68 w 91"/>
                  <a:gd name="T13" fmla="*/ 29 h 32"/>
                  <a:gd name="T14" fmla="*/ 77 w 91"/>
                  <a:gd name="T15" fmla="*/ 32 h 32"/>
                  <a:gd name="T16" fmla="*/ 86 w 91"/>
                  <a:gd name="T17" fmla="*/ 32 h 32"/>
                  <a:gd name="T18" fmla="*/ 91 w 91"/>
                  <a:gd name="T19" fmla="*/ 29 h 32"/>
                  <a:gd name="T20" fmla="*/ 91 w 91"/>
                  <a:gd name="T21" fmla="*/ 26 h 32"/>
                  <a:gd name="T22" fmla="*/ 89 w 91"/>
                  <a:gd name="T23" fmla="*/ 20 h 32"/>
                  <a:gd name="T24" fmla="*/ 89 w 91"/>
                  <a:gd name="T25" fmla="*/ 20 h 32"/>
                  <a:gd name="T26" fmla="*/ 83 w 91"/>
                  <a:gd name="T27" fmla="*/ 14 h 32"/>
                  <a:gd name="T28" fmla="*/ 74 w 91"/>
                  <a:gd name="T29" fmla="*/ 9 h 32"/>
                  <a:gd name="T30" fmla="*/ 53 w 91"/>
                  <a:gd name="T31" fmla="*/ 3 h 32"/>
                  <a:gd name="T32" fmla="*/ 32 w 91"/>
                  <a:gd name="T33" fmla="*/ 0 h 32"/>
                  <a:gd name="T34" fmla="*/ 9 w 91"/>
                  <a:gd name="T35" fmla="*/ 0 h 32"/>
                  <a:gd name="T36" fmla="*/ 9 w 91"/>
                  <a:gd name="T37" fmla="*/ 0 h 32"/>
                  <a:gd name="T38" fmla="*/ 3 w 91"/>
                  <a:gd name="T39" fmla="*/ 0 h 32"/>
                  <a:gd name="T40" fmla="*/ 0 w 91"/>
                  <a:gd name="T41" fmla="*/ 6 h 32"/>
                  <a:gd name="T42" fmla="*/ 0 w 91"/>
                  <a:gd name="T43" fmla="*/ 11 h 32"/>
                  <a:gd name="T44" fmla="*/ 9 w 91"/>
                  <a:gd name="T45" fmla="*/ 17 h 32"/>
                  <a:gd name="T46" fmla="*/ 9 w 91"/>
                  <a:gd name="T4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1" h="32">
                    <a:moveTo>
                      <a:pt x="9" y="17"/>
                    </a:moveTo>
                    <a:lnTo>
                      <a:pt x="9" y="17"/>
                    </a:lnTo>
                    <a:lnTo>
                      <a:pt x="41" y="17"/>
                    </a:lnTo>
                    <a:lnTo>
                      <a:pt x="56" y="20"/>
                    </a:lnTo>
                    <a:lnTo>
                      <a:pt x="62" y="23"/>
                    </a:lnTo>
                    <a:lnTo>
                      <a:pt x="68" y="29"/>
                    </a:lnTo>
                    <a:lnTo>
                      <a:pt x="68" y="29"/>
                    </a:lnTo>
                    <a:lnTo>
                      <a:pt x="77" y="32"/>
                    </a:lnTo>
                    <a:lnTo>
                      <a:pt x="86" y="32"/>
                    </a:lnTo>
                    <a:lnTo>
                      <a:pt x="91" y="29"/>
                    </a:lnTo>
                    <a:lnTo>
                      <a:pt x="91" y="26"/>
                    </a:lnTo>
                    <a:lnTo>
                      <a:pt x="89" y="20"/>
                    </a:lnTo>
                    <a:lnTo>
                      <a:pt x="89" y="20"/>
                    </a:lnTo>
                    <a:lnTo>
                      <a:pt x="83" y="14"/>
                    </a:lnTo>
                    <a:lnTo>
                      <a:pt x="74" y="9"/>
                    </a:lnTo>
                    <a:lnTo>
                      <a:pt x="53" y="3"/>
                    </a:lnTo>
                    <a:lnTo>
                      <a:pt x="32" y="0"/>
                    </a:lnTo>
                    <a:lnTo>
                      <a:pt x="9" y="0"/>
                    </a:lnTo>
                    <a:lnTo>
                      <a:pt x="9" y="0"/>
                    </a:lnTo>
                    <a:lnTo>
                      <a:pt x="3" y="0"/>
                    </a:lnTo>
                    <a:lnTo>
                      <a:pt x="0" y="6"/>
                    </a:lnTo>
                    <a:lnTo>
                      <a:pt x="0" y="11"/>
                    </a:lnTo>
                    <a:lnTo>
                      <a:pt x="9" y="17"/>
                    </a:lnTo>
                    <a:lnTo>
                      <a:pt x="9"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70" name="Freeform 16">
                <a:extLst>
                  <a:ext uri="{FF2B5EF4-FFF2-40B4-BE49-F238E27FC236}">
                    <a16:creationId xmlns:a16="http://schemas.microsoft.com/office/drawing/2014/main" id="{FEB16C4B-729D-CBF3-42A1-677EAEE8EEC0}"/>
                  </a:ext>
                </a:extLst>
              </p:cNvPr>
              <p:cNvSpPr>
                <a:spLocks/>
              </p:cNvSpPr>
              <p:nvPr/>
            </p:nvSpPr>
            <p:spPr bwMode="auto">
              <a:xfrm>
                <a:off x="3900107" y="550079"/>
                <a:ext cx="136" cy="44"/>
              </a:xfrm>
              <a:custGeom>
                <a:avLst/>
                <a:gdLst>
                  <a:gd name="T0" fmla="*/ 12 w 136"/>
                  <a:gd name="T1" fmla="*/ 17 h 44"/>
                  <a:gd name="T2" fmla="*/ 12 w 136"/>
                  <a:gd name="T3" fmla="*/ 17 h 44"/>
                  <a:gd name="T4" fmla="*/ 38 w 136"/>
                  <a:gd name="T5" fmla="*/ 17 h 44"/>
                  <a:gd name="T6" fmla="*/ 65 w 136"/>
                  <a:gd name="T7" fmla="*/ 20 h 44"/>
                  <a:gd name="T8" fmla="*/ 92 w 136"/>
                  <a:gd name="T9" fmla="*/ 29 h 44"/>
                  <a:gd name="T10" fmla="*/ 118 w 136"/>
                  <a:gd name="T11" fmla="*/ 41 h 44"/>
                  <a:gd name="T12" fmla="*/ 118 w 136"/>
                  <a:gd name="T13" fmla="*/ 41 h 44"/>
                  <a:gd name="T14" fmla="*/ 124 w 136"/>
                  <a:gd name="T15" fmla="*/ 44 h 44"/>
                  <a:gd name="T16" fmla="*/ 133 w 136"/>
                  <a:gd name="T17" fmla="*/ 38 h 44"/>
                  <a:gd name="T18" fmla="*/ 136 w 136"/>
                  <a:gd name="T19" fmla="*/ 32 h 44"/>
                  <a:gd name="T20" fmla="*/ 136 w 136"/>
                  <a:gd name="T21" fmla="*/ 29 h 44"/>
                  <a:gd name="T22" fmla="*/ 130 w 136"/>
                  <a:gd name="T23" fmla="*/ 26 h 44"/>
                  <a:gd name="T24" fmla="*/ 130 w 136"/>
                  <a:gd name="T25" fmla="*/ 26 h 44"/>
                  <a:gd name="T26" fmla="*/ 103 w 136"/>
                  <a:gd name="T27" fmla="*/ 11 h 44"/>
                  <a:gd name="T28" fmla="*/ 71 w 136"/>
                  <a:gd name="T29" fmla="*/ 2 h 44"/>
                  <a:gd name="T30" fmla="*/ 41 w 136"/>
                  <a:gd name="T31" fmla="*/ 0 h 44"/>
                  <a:gd name="T32" fmla="*/ 9 w 136"/>
                  <a:gd name="T33" fmla="*/ 0 h 44"/>
                  <a:gd name="T34" fmla="*/ 9 w 136"/>
                  <a:gd name="T35" fmla="*/ 0 h 44"/>
                  <a:gd name="T36" fmla="*/ 6 w 136"/>
                  <a:gd name="T37" fmla="*/ 0 h 44"/>
                  <a:gd name="T38" fmla="*/ 0 w 136"/>
                  <a:gd name="T39" fmla="*/ 2 h 44"/>
                  <a:gd name="T40" fmla="*/ 0 w 136"/>
                  <a:gd name="T41" fmla="*/ 8 h 44"/>
                  <a:gd name="T42" fmla="*/ 3 w 136"/>
                  <a:gd name="T43" fmla="*/ 14 h 44"/>
                  <a:gd name="T44" fmla="*/ 12 w 136"/>
                  <a:gd name="T45" fmla="*/ 17 h 44"/>
                  <a:gd name="T46" fmla="*/ 12 w 136"/>
                  <a:gd name="T47" fmla="*/ 1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 h="44">
                    <a:moveTo>
                      <a:pt x="12" y="17"/>
                    </a:moveTo>
                    <a:lnTo>
                      <a:pt x="12" y="17"/>
                    </a:lnTo>
                    <a:lnTo>
                      <a:pt x="38" y="17"/>
                    </a:lnTo>
                    <a:lnTo>
                      <a:pt x="65" y="20"/>
                    </a:lnTo>
                    <a:lnTo>
                      <a:pt x="92" y="29"/>
                    </a:lnTo>
                    <a:lnTo>
                      <a:pt x="118" y="41"/>
                    </a:lnTo>
                    <a:lnTo>
                      <a:pt x="118" y="41"/>
                    </a:lnTo>
                    <a:lnTo>
                      <a:pt x="124" y="44"/>
                    </a:lnTo>
                    <a:lnTo>
                      <a:pt x="133" y="38"/>
                    </a:lnTo>
                    <a:lnTo>
                      <a:pt x="136" y="32"/>
                    </a:lnTo>
                    <a:lnTo>
                      <a:pt x="136" y="29"/>
                    </a:lnTo>
                    <a:lnTo>
                      <a:pt x="130" y="26"/>
                    </a:lnTo>
                    <a:lnTo>
                      <a:pt x="130" y="26"/>
                    </a:lnTo>
                    <a:lnTo>
                      <a:pt x="103" y="11"/>
                    </a:lnTo>
                    <a:lnTo>
                      <a:pt x="71" y="2"/>
                    </a:lnTo>
                    <a:lnTo>
                      <a:pt x="41" y="0"/>
                    </a:lnTo>
                    <a:lnTo>
                      <a:pt x="9" y="0"/>
                    </a:lnTo>
                    <a:lnTo>
                      <a:pt x="9" y="0"/>
                    </a:lnTo>
                    <a:lnTo>
                      <a:pt x="6" y="0"/>
                    </a:lnTo>
                    <a:lnTo>
                      <a:pt x="0" y="2"/>
                    </a:lnTo>
                    <a:lnTo>
                      <a:pt x="0" y="8"/>
                    </a:lnTo>
                    <a:lnTo>
                      <a:pt x="3" y="14"/>
                    </a:lnTo>
                    <a:lnTo>
                      <a:pt x="12" y="17"/>
                    </a:lnTo>
                    <a:lnTo>
                      <a:pt x="1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71" name="Freeform 17">
                <a:extLst>
                  <a:ext uri="{FF2B5EF4-FFF2-40B4-BE49-F238E27FC236}">
                    <a16:creationId xmlns:a16="http://schemas.microsoft.com/office/drawing/2014/main" id="{F90815A5-FEB6-FE4F-8457-784943C06B79}"/>
                  </a:ext>
                </a:extLst>
              </p:cNvPr>
              <p:cNvSpPr>
                <a:spLocks/>
              </p:cNvSpPr>
              <p:nvPr/>
            </p:nvSpPr>
            <p:spPr bwMode="auto">
              <a:xfrm>
                <a:off x="3899914" y="550034"/>
                <a:ext cx="136" cy="45"/>
              </a:xfrm>
              <a:custGeom>
                <a:avLst/>
                <a:gdLst>
                  <a:gd name="T0" fmla="*/ 130 w 136"/>
                  <a:gd name="T1" fmla="*/ 3 h 45"/>
                  <a:gd name="T2" fmla="*/ 130 w 136"/>
                  <a:gd name="T3" fmla="*/ 3 h 45"/>
                  <a:gd name="T4" fmla="*/ 98 w 136"/>
                  <a:gd name="T5" fmla="*/ 0 h 45"/>
                  <a:gd name="T6" fmla="*/ 65 w 136"/>
                  <a:gd name="T7" fmla="*/ 3 h 45"/>
                  <a:gd name="T8" fmla="*/ 47 w 136"/>
                  <a:gd name="T9" fmla="*/ 6 h 45"/>
                  <a:gd name="T10" fmla="*/ 33 w 136"/>
                  <a:gd name="T11" fmla="*/ 12 h 45"/>
                  <a:gd name="T12" fmla="*/ 18 w 136"/>
                  <a:gd name="T13" fmla="*/ 18 h 45"/>
                  <a:gd name="T14" fmla="*/ 6 w 136"/>
                  <a:gd name="T15" fmla="*/ 30 h 45"/>
                  <a:gd name="T16" fmla="*/ 6 w 136"/>
                  <a:gd name="T17" fmla="*/ 30 h 45"/>
                  <a:gd name="T18" fmla="*/ 0 w 136"/>
                  <a:gd name="T19" fmla="*/ 33 h 45"/>
                  <a:gd name="T20" fmla="*/ 0 w 136"/>
                  <a:gd name="T21" fmla="*/ 36 h 45"/>
                  <a:gd name="T22" fmla="*/ 3 w 136"/>
                  <a:gd name="T23" fmla="*/ 42 h 45"/>
                  <a:gd name="T24" fmla="*/ 12 w 136"/>
                  <a:gd name="T25" fmla="*/ 45 h 45"/>
                  <a:gd name="T26" fmla="*/ 21 w 136"/>
                  <a:gd name="T27" fmla="*/ 42 h 45"/>
                  <a:gd name="T28" fmla="*/ 21 w 136"/>
                  <a:gd name="T29" fmla="*/ 42 h 45"/>
                  <a:gd name="T30" fmla="*/ 30 w 136"/>
                  <a:gd name="T31" fmla="*/ 33 h 45"/>
                  <a:gd name="T32" fmla="*/ 42 w 136"/>
                  <a:gd name="T33" fmla="*/ 27 h 45"/>
                  <a:gd name="T34" fmla="*/ 68 w 136"/>
                  <a:gd name="T35" fmla="*/ 21 h 45"/>
                  <a:gd name="T36" fmla="*/ 95 w 136"/>
                  <a:gd name="T37" fmla="*/ 18 h 45"/>
                  <a:gd name="T38" fmla="*/ 122 w 136"/>
                  <a:gd name="T39" fmla="*/ 21 h 45"/>
                  <a:gd name="T40" fmla="*/ 122 w 136"/>
                  <a:gd name="T41" fmla="*/ 21 h 45"/>
                  <a:gd name="T42" fmla="*/ 130 w 136"/>
                  <a:gd name="T43" fmla="*/ 18 h 45"/>
                  <a:gd name="T44" fmla="*/ 136 w 136"/>
                  <a:gd name="T45" fmla="*/ 12 h 45"/>
                  <a:gd name="T46" fmla="*/ 136 w 136"/>
                  <a:gd name="T47" fmla="*/ 6 h 45"/>
                  <a:gd name="T48" fmla="*/ 133 w 136"/>
                  <a:gd name="T49" fmla="*/ 3 h 45"/>
                  <a:gd name="T50" fmla="*/ 130 w 136"/>
                  <a:gd name="T51" fmla="*/ 3 h 45"/>
                  <a:gd name="T52" fmla="*/ 130 w 136"/>
                  <a:gd name="T53" fmla="*/ 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6" h="45">
                    <a:moveTo>
                      <a:pt x="130" y="3"/>
                    </a:moveTo>
                    <a:lnTo>
                      <a:pt x="130" y="3"/>
                    </a:lnTo>
                    <a:lnTo>
                      <a:pt x="98" y="0"/>
                    </a:lnTo>
                    <a:lnTo>
                      <a:pt x="65" y="3"/>
                    </a:lnTo>
                    <a:lnTo>
                      <a:pt x="47" y="6"/>
                    </a:lnTo>
                    <a:lnTo>
                      <a:pt x="33" y="12"/>
                    </a:lnTo>
                    <a:lnTo>
                      <a:pt x="18" y="18"/>
                    </a:lnTo>
                    <a:lnTo>
                      <a:pt x="6" y="30"/>
                    </a:lnTo>
                    <a:lnTo>
                      <a:pt x="6" y="30"/>
                    </a:lnTo>
                    <a:lnTo>
                      <a:pt x="0" y="33"/>
                    </a:lnTo>
                    <a:lnTo>
                      <a:pt x="0" y="36"/>
                    </a:lnTo>
                    <a:lnTo>
                      <a:pt x="3" y="42"/>
                    </a:lnTo>
                    <a:lnTo>
                      <a:pt x="12" y="45"/>
                    </a:lnTo>
                    <a:lnTo>
                      <a:pt x="21" y="42"/>
                    </a:lnTo>
                    <a:lnTo>
                      <a:pt x="21" y="42"/>
                    </a:lnTo>
                    <a:lnTo>
                      <a:pt x="30" y="33"/>
                    </a:lnTo>
                    <a:lnTo>
                      <a:pt x="42" y="27"/>
                    </a:lnTo>
                    <a:lnTo>
                      <a:pt x="68" y="21"/>
                    </a:lnTo>
                    <a:lnTo>
                      <a:pt x="95" y="18"/>
                    </a:lnTo>
                    <a:lnTo>
                      <a:pt x="122" y="21"/>
                    </a:lnTo>
                    <a:lnTo>
                      <a:pt x="122" y="21"/>
                    </a:lnTo>
                    <a:lnTo>
                      <a:pt x="130" y="18"/>
                    </a:lnTo>
                    <a:lnTo>
                      <a:pt x="136" y="12"/>
                    </a:lnTo>
                    <a:lnTo>
                      <a:pt x="136" y="6"/>
                    </a:lnTo>
                    <a:lnTo>
                      <a:pt x="133" y="3"/>
                    </a:lnTo>
                    <a:lnTo>
                      <a:pt x="130" y="3"/>
                    </a:lnTo>
                    <a:lnTo>
                      <a:pt x="1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72" name="Freeform 18">
                <a:extLst>
                  <a:ext uri="{FF2B5EF4-FFF2-40B4-BE49-F238E27FC236}">
                    <a16:creationId xmlns:a16="http://schemas.microsoft.com/office/drawing/2014/main" id="{7CA3C213-06AC-9D23-F933-1F2A93ED6CBF}"/>
                  </a:ext>
                </a:extLst>
              </p:cNvPr>
              <p:cNvSpPr>
                <a:spLocks/>
              </p:cNvSpPr>
              <p:nvPr/>
            </p:nvSpPr>
            <p:spPr bwMode="auto">
              <a:xfrm>
                <a:off x="3899926" y="550120"/>
                <a:ext cx="124" cy="44"/>
              </a:xfrm>
              <a:custGeom>
                <a:avLst/>
                <a:gdLst>
                  <a:gd name="T0" fmla="*/ 115 w 124"/>
                  <a:gd name="T1" fmla="*/ 0 h 44"/>
                  <a:gd name="T2" fmla="*/ 115 w 124"/>
                  <a:gd name="T3" fmla="*/ 0 h 44"/>
                  <a:gd name="T4" fmla="*/ 86 w 124"/>
                  <a:gd name="T5" fmla="*/ 3 h 44"/>
                  <a:gd name="T6" fmla="*/ 56 w 124"/>
                  <a:gd name="T7" fmla="*/ 8 h 44"/>
                  <a:gd name="T8" fmla="*/ 27 w 124"/>
                  <a:gd name="T9" fmla="*/ 17 h 44"/>
                  <a:gd name="T10" fmla="*/ 15 w 124"/>
                  <a:gd name="T11" fmla="*/ 23 h 44"/>
                  <a:gd name="T12" fmla="*/ 3 w 124"/>
                  <a:gd name="T13" fmla="*/ 32 h 44"/>
                  <a:gd name="T14" fmla="*/ 3 w 124"/>
                  <a:gd name="T15" fmla="*/ 32 h 44"/>
                  <a:gd name="T16" fmla="*/ 0 w 124"/>
                  <a:gd name="T17" fmla="*/ 35 h 44"/>
                  <a:gd name="T18" fmla="*/ 0 w 124"/>
                  <a:gd name="T19" fmla="*/ 38 h 44"/>
                  <a:gd name="T20" fmla="*/ 3 w 124"/>
                  <a:gd name="T21" fmla="*/ 44 h 44"/>
                  <a:gd name="T22" fmla="*/ 12 w 124"/>
                  <a:gd name="T23" fmla="*/ 44 h 44"/>
                  <a:gd name="T24" fmla="*/ 21 w 124"/>
                  <a:gd name="T25" fmla="*/ 41 h 44"/>
                  <a:gd name="T26" fmla="*/ 21 w 124"/>
                  <a:gd name="T27" fmla="*/ 41 h 44"/>
                  <a:gd name="T28" fmla="*/ 41 w 124"/>
                  <a:gd name="T29" fmla="*/ 29 h 44"/>
                  <a:gd name="T30" fmla="*/ 65 w 124"/>
                  <a:gd name="T31" fmla="*/ 23 h 44"/>
                  <a:gd name="T32" fmla="*/ 92 w 124"/>
                  <a:gd name="T33" fmla="*/ 20 h 44"/>
                  <a:gd name="T34" fmla="*/ 115 w 124"/>
                  <a:gd name="T35" fmla="*/ 17 h 44"/>
                  <a:gd name="T36" fmla="*/ 115 w 124"/>
                  <a:gd name="T37" fmla="*/ 17 h 44"/>
                  <a:gd name="T38" fmla="*/ 124 w 124"/>
                  <a:gd name="T39" fmla="*/ 14 h 44"/>
                  <a:gd name="T40" fmla="*/ 124 w 124"/>
                  <a:gd name="T41" fmla="*/ 8 h 44"/>
                  <a:gd name="T42" fmla="*/ 121 w 124"/>
                  <a:gd name="T43" fmla="*/ 3 h 44"/>
                  <a:gd name="T44" fmla="*/ 115 w 124"/>
                  <a:gd name="T45" fmla="*/ 0 h 44"/>
                  <a:gd name="T46" fmla="*/ 115 w 124"/>
                  <a:gd name="T4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4" h="44">
                    <a:moveTo>
                      <a:pt x="115" y="0"/>
                    </a:moveTo>
                    <a:lnTo>
                      <a:pt x="115" y="0"/>
                    </a:lnTo>
                    <a:lnTo>
                      <a:pt x="86" y="3"/>
                    </a:lnTo>
                    <a:lnTo>
                      <a:pt x="56" y="8"/>
                    </a:lnTo>
                    <a:lnTo>
                      <a:pt x="27" y="17"/>
                    </a:lnTo>
                    <a:lnTo>
                      <a:pt x="15" y="23"/>
                    </a:lnTo>
                    <a:lnTo>
                      <a:pt x="3" y="32"/>
                    </a:lnTo>
                    <a:lnTo>
                      <a:pt x="3" y="32"/>
                    </a:lnTo>
                    <a:lnTo>
                      <a:pt x="0" y="35"/>
                    </a:lnTo>
                    <a:lnTo>
                      <a:pt x="0" y="38"/>
                    </a:lnTo>
                    <a:lnTo>
                      <a:pt x="3" y="44"/>
                    </a:lnTo>
                    <a:lnTo>
                      <a:pt x="12" y="44"/>
                    </a:lnTo>
                    <a:lnTo>
                      <a:pt x="21" y="41"/>
                    </a:lnTo>
                    <a:lnTo>
                      <a:pt x="21" y="41"/>
                    </a:lnTo>
                    <a:lnTo>
                      <a:pt x="41" y="29"/>
                    </a:lnTo>
                    <a:lnTo>
                      <a:pt x="65" y="23"/>
                    </a:lnTo>
                    <a:lnTo>
                      <a:pt x="92" y="20"/>
                    </a:lnTo>
                    <a:lnTo>
                      <a:pt x="115" y="17"/>
                    </a:lnTo>
                    <a:lnTo>
                      <a:pt x="115" y="17"/>
                    </a:lnTo>
                    <a:lnTo>
                      <a:pt x="124" y="14"/>
                    </a:lnTo>
                    <a:lnTo>
                      <a:pt x="124" y="8"/>
                    </a:lnTo>
                    <a:lnTo>
                      <a:pt x="121" y="3"/>
                    </a:lnTo>
                    <a:lnTo>
                      <a:pt x="115" y="0"/>
                    </a:ln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73" name="Freeform 19">
                <a:extLst>
                  <a:ext uri="{FF2B5EF4-FFF2-40B4-BE49-F238E27FC236}">
                    <a16:creationId xmlns:a16="http://schemas.microsoft.com/office/drawing/2014/main" id="{E39ECC8E-3975-E412-8164-F9445B395AC7}"/>
                  </a:ext>
                </a:extLst>
              </p:cNvPr>
              <p:cNvSpPr>
                <a:spLocks/>
              </p:cNvSpPr>
              <p:nvPr/>
            </p:nvSpPr>
            <p:spPr bwMode="auto">
              <a:xfrm>
                <a:off x="3899944" y="550167"/>
                <a:ext cx="106" cy="41"/>
              </a:xfrm>
              <a:custGeom>
                <a:avLst/>
                <a:gdLst>
                  <a:gd name="T0" fmla="*/ 95 w 106"/>
                  <a:gd name="T1" fmla="*/ 0 h 41"/>
                  <a:gd name="T2" fmla="*/ 95 w 106"/>
                  <a:gd name="T3" fmla="*/ 0 h 41"/>
                  <a:gd name="T4" fmla="*/ 47 w 106"/>
                  <a:gd name="T5" fmla="*/ 6 h 41"/>
                  <a:gd name="T6" fmla="*/ 23 w 106"/>
                  <a:gd name="T7" fmla="*/ 14 h 41"/>
                  <a:gd name="T8" fmla="*/ 3 w 106"/>
                  <a:gd name="T9" fmla="*/ 26 h 41"/>
                  <a:gd name="T10" fmla="*/ 3 w 106"/>
                  <a:gd name="T11" fmla="*/ 26 h 41"/>
                  <a:gd name="T12" fmla="*/ 0 w 106"/>
                  <a:gd name="T13" fmla="*/ 29 h 41"/>
                  <a:gd name="T14" fmla="*/ 0 w 106"/>
                  <a:gd name="T15" fmla="*/ 32 h 41"/>
                  <a:gd name="T16" fmla="*/ 3 w 106"/>
                  <a:gd name="T17" fmla="*/ 38 h 41"/>
                  <a:gd name="T18" fmla="*/ 9 w 106"/>
                  <a:gd name="T19" fmla="*/ 41 h 41"/>
                  <a:gd name="T20" fmla="*/ 17 w 106"/>
                  <a:gd name="T21" fmla="*/ 38 h 41"/>
                  <a:gd name="T22" fmla="*/ 17 w 106"/>
                  <a:gd name="T23" fmla="*/ 38 h 41"/>
                  <a:gd name="T24" fmla="*/ 35 w 106"/>
                  <a:gd name="T25" fmla="*/ 29 h 41"/>
                  <a:gd name="T26" fmla="*/ 56 w 106"/>
                  <a:gd name="T27" fmla="*/ 23 h 41"/>
                  <a:gd name="T28" fmla="*/ 97 w 106"/>
                  <a:gd name="T29" fmla="*/ 17 h 41"/>
                  <a:gd name="T30" fmla="*/ 97 w 106"/>
                  <a:gd name="T31" fmla="*/ 17 h 41"/>
                  <a:gd name="T32" fmla="*/ 106 w 106"/>
                  <a:gd name="T33" fmla="*/ 11 h 41"/>
                  <a:gd name="T34" fmla="*/ 106 w 106"/>
                  <a:gd name="T35" fmla="*/ 6 h 41"/>
                  <a:gd name="T36" fmla="*/ 103 w 106"/>
                  <a:gd name="T37" fmla="*/ 0 h 41"/>
                  <a:gd name="T38" fmla="*/ 95 w 106"/>
                  <a:gd name="T39" fmla="*/ 0 h 41"/>
                  <a:gd name="T40" fmla="*/ 95 w 106"/>
                  <a:gd name="T4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41">
                    <a:moveTo>
                      <a:pt x="95" y="0"/>
                    </a:moveTo>
                    <a:lnTo>
                      <a:pt x="95" y="0"/>
                    </a:lnTo>
                    <a:lnTo>
                      <a:pt x="47" y="6"/>
                    </a:lnTo>
                    <a:lnTo>
                      <a:pt x="23" y="14"/>
                    </a:lnTo>
                    <a:lnTo>
                      <a:pt x="3" y="26"/>
                    </a:lnTo>
                    <a:lnTo>
                      <a:pt x="3" y="26"/>
                    </a:lnTo>
                    <a:lnTo>
                      <a:pt x="0" y="29"/>
                    </a:lnTo>
                    <a:lnTo>
                      <a:pt x="0" y="32"/>
                    </a:lnTo>
                    <a:lnTo>
                      <a:pt x="3" y="38"/>
                    </a:lnTo>
                    <a:lnTo>
                      <a:pt x="9" y="41"/>
                    </a:lnTo>
                    <a:lnTo>
                      <a:pt x="17" y="38"/>
                    </a:lnTo>
                    <a:lnTo>
                      <a:pt x="17" y="38"/>
                    </a:lnTo>
                    <a:lnTo>
                      <a:pt x="35" y="29"/>
                    </a:lnTo>
                    <a:lnTo>
                      <a:pt x="56" y="23"/>
                    </a:lnTo>
                    <a:lnTo>
                      <a:pt x="97" y="17"/>
                    </a:lnTo>
                    <a:lnTo>
                      <a:pt x="97" y="17"/>
                    </a:lnTo>
                    <a:lnTo>
                      <a:pt x="106" y="11"/>
                    </a:lnTo>
                    <a:lnTo>
                      <a:pt x="106" y="6"/>
                    </a:lnTo>
                    <a:lnTo>
                      <a:pt x="103" y="0"/>
                    </a:lnTo>
                    <a:lnTo>
                      <a:pt x="95" y="0"/>
                    </a:ln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74" name="Freeform 20">
                <a:extLst>
                  <a:ext uri="{FF2B5EF4-FFF2-40B4-BE49-F238E27FC236}">
                    <a16:creationId xmlns:a16="http://schemas.microsoft.com/office/drawing/2014/main" id="{A58BC8F5-74B0-264C-1190-BDBA998A9EC1}"/>
                  </a:ext>
                </a:extLst>
              </p:cNvPr>
              <p:cNvSpPr>
                <a:spLocks/>
              </p:cNvSpPr>
              <p:nvPr/>
            </p:nvSpPr>
            <p:spPr bwMode="auto">
              <a:xfrm>
                <a:off x="3899959" y="550214"/>
                <a:ext cx="91" cy="35"/>
              </a:xfrm>
              <a:custGeom>
                <a:avLst/>
                <a:gdLst>
                  <a:gd name="T0" fmla="*/ 80 w 91"/>
                  <a:gd name="T1" fmla="*/ 0 h 35"/>
                  <a:gd name="T2" fmla="*/ 80 w 91"/>
                  <a:gd name="T3" fmla="*/ 0 h 35"/>
                  <a:gd name="T4" fmla="*/ 59 w 91"/>
                  <a:gd name="T5" fmla="*/ 0 h 35"/>
                  <a:gd name="T6" fmla="*/ 38 w 91"/>
                  <a:gd name="T7" fmla="*/ 3 h 35"/>
                  <a:gd name="T8" fmla="*/ 17 w 91"/>
                  <a:gd name="T9" fmla="*/ 9 h 35"/>
                  <a:gd name="T10" fmla="*/ 8 w 91"/>
                  <a:gd name="T11" fmla="*/ 14 h 35"/>
                  <a:gd name="T12" fmla="*/ 0 w 91"/>
                  <a:gd name="T13" fmla="*/ 20 h 35"/>
                  <a:gd name="T14" fmla="*/ 0 w 91"/>
                  <a:gd name="T15" fmla="*/ 20 h 35"/>
                  <a:gd name="T16" fmla="*/ 0 w 91"/>
                  <a:gd name="T17" fmla="*/ 23 h 35"/>
                  <a:gd name="T18" fmla="*/ 0 w 91"/>
                  <a:gd name="T19" fmla="*/ 26 h 35"/>
                  <a:gd name="T20" fmla="*/ 5 w 91"/>
                  <a:gd name="T21" fmla="*/ 32 h 35"/>
                  <a:gd name="T22" fmla="*/ 14 w 91"/>
                  <a:gd name="T23" fmla="*/ 35 h 35"/>
                  <a:gd name="T24" fmla="*/ 20 w 91"/>
                  <a:gd name="T25" fmla="*/ 29 h 35"/>
                  <a:gd name="T26" fmla="*/ 20 w 91"/>
                  <a:gd name="T27" fmla="*/ 29 h 35"/>
                  <a:gd name="T28" fmla="*/ 26 w 91"/>
                  <a:gd name="T29" fmla="*/ 26 h 35"/>
                  <a:gd name="T30" fmla="*/ 32 w 91"/>
                  <a:gd name="T31" fmla="*/ 20 h 35"/>
                  <a:gd name="T32" fmla="*/ 47 w 91"/>
                  <a:gd name="T33" fmla="*/ 17 h 35"/>
                  <a:gd name="T34" fmla="*/ 80 w 91"/>
                  <a:gd name="T35" fmla="*/ 17 h 35"/>
                  <a:gd name="T36" fmla="*/ 80 w 91"/>
                  <a:gd name="T37" fmla="*/ 17 h 35"/>
                  <a:gd name="T38" fmla="*/ 88 w 91"/>
                  <a:gd name="T39" fmla="*/ 11 h 35"/>
                  <a:gd name="T40" fmla="*/ 91 w 91"/>
                  <a:gd name="T41" fmla="*/ 6 h 35"/>
                  <a:gd name="T42" fmla="*/ 88 w 91"/>
                  <a:gd name="T43" fmla="*/ 0 h 35"/>
                  <a:gd name="T44" fmla="*/ 85 w 91"/>
                  <a:gd name="T45" fmla="*/ 0 h 35"/>
                  <a:gd name="T46" fmla="*/ 80 w 91"/>
                  <a:gd name="T47" fmla="*/ 0 h 35"/>
                  <a:gd name="T48" fmla="*/ 80 w 91"/>
                  <a:gd name="T4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1" h="35">
                    <a:moveTo>
                      <a:pt x="80" y="0"/>
                    </a:moveTo>
                    <a:lnTo>
                      <a:pt x="80" y="0"/>
                    </a:lnTo>
                    <a:lnTo>
                      <a:pt x="59" y="0"/>
                    </a:lnTo>
                    <a:lnTo>
                      <a:pt x="38" y="3"/>
                    </a:lnTo>
                    <a:lnTo>
                      <a:pt x="17" y="9"/>
                    </a:lnTo>
                    <a:lnTo>
                      <a:pt x="8" y="14"/>
                    </a:lnTo>
                    <a:lnTo>
                      <a:pt x="0" y="20"/>
                    </a:lnTo>
                    <a:lnTo>
                      <a:pt x="0" y="20"/>
                    </a:lnTo>
                    <a:lnTo>
                      <a:pt x="0" y="23"/>
                    </a:lnTo>
                    <a:lnTo>
                      <a:pt x="0" y="26"/>
                    </a:lnTo>
                    <a:lnTo>
                      <a:pt x="5" y="32"/>
                    </a:lnTo>
                    <a:lnTo>
                      <a:pt x="14" y="35"/>
                    </a:lnTo>
                    <a:lnTo>
                      <a:pt x="20" y="29"/>
                    </a:lnTo>
                    <a:lnTo>
                      <a:pt x="20" y="29"/>
                    </a:lnTo>
                    <a:lnTo>
                      <a:pt x="26" y="26"/>
                    </a:lnTo>
                    <a:lnTo>
                      <a:pt x="32" y="20"/>
                    </a:lnTo>
                    <a:lnTo>
                      <a:pt x="47" y="17"/>
                    </a:lnTo>
                    <a:lnTo>
                      <a:pt x="80" y="17"/>
                    </a:lnTo>
                    <a:lnTo>
                      <a:pt x="80" y="17"/>
                    </a:lnTo>
                    <a:lnTo>
                      <a:pt x="88" y="11"/>
                    </a:lnTo>
                    <a:lnTo>
                      <a:pt x="91" y="6"/>
                    </a:lnTo>
                    <a:lnTo>
                      <a:pt x="88" y="0"/>
                    </a:lnTo>
                    <a:lnTo>
                      <a:pt x="85" y="0"/>
                    </a:lnTo>
                    <a:lnTo>
                      <a:pt x="80" y="0"/>
                    </a:ln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75" name="Freeform 21">
                <a:extLst>
                  <a:ext uri="{FF2B5EF4-FFF2-40B4-BE49-F238E27FC236}">
                    <a16:creationId xmlns:a16="http://schemas.microsoft.com/office/drawing/2014/main" id="{E04B32EA-6815-5CC9-5FC5-8C2F0A3A8EFB}"/>
                  </a:ext>
                </a:extLst>
              </p:cNvPr>
              <p:cNvSpPr>
                <a:spLocks/>
              </p:cNvSpPr>
              <p:nvPr/>
            </p:nvSpPr>
            <p:spPr bwMode="auto">
              <a:xfrm>
                <a:off x="3899914" y="550079"/>
                <a:ext cx="139" cy="41"/>
              </a:xfrm>
              <a:custGeom>
                <a:avLst/>
                <a:gdLst>
                  <a:gd name="T0" fmla="*/ 130 w 139"/>
                  <a:gd name="T1" fmla="*/ 0 h 41"/>
                  <a:gd name="T2" fmla="*/ 130 w 139"/>
                  <a:gd name="T3" fmla="*/ 0 h 41"/>
                  <a:gd name="T4" fmla="*/ 98 w 139"/>
                  <a:gd name="T5" fmla="*/ 0 h 41"/>
                  <a:gd name="T6" fmla="*/ 65 w 139"/>
                  <a:gd name="T7" fmla="*/ 2 h 41"/>
                  <a:gd name="T8" fmla="*/ 36 w 139"/>
                  <a:gd name="T9" fmla="*/ 14 h 41"/>
                  <a:gd name="T10" fmla="*/ 6 w 139"/>
                  <a:gd name="T11" fmla="*/ 29 h 41"/>
                  <a:gd name="T12" fmla="*/ 6 w 139"/>
                  <a:gd name="T13" fmla="*/ 29 h 41"/>
                  <a:gd name="T14" fmla="*/ 3 w 139"/>
                  <a:gd name="T15" fmla="*/ 32 h 41"/>
                  <a:gd name="T16" fmla="*/ 0 w 139"/>
                  <a:gd name="T17" fmla="*/ 35 h 41"/>
                  <a:gd name="T18" fmla="*/ 6 w 139"/>
                  <a:gd name="T19" fmla="*/ 38 h 41"/>
                  <a:gd name="T20" fmla="*/ 12 w 139"/>
                  <a:gd name="T21" fmla="*/ 41 h 41"/>
                  <a:gd name="T22" fmla="*/ 21 w 139"/>
                  <a:gd name="T23" fmla="*/ 41 h 41"/>
                  <a:gd name="T24" fmla="*/ 21 w 139"/>
                  <a:gd name="T25" fmla="*/ 41 h 41"/>
                  <a:gd name="T26" fmla="*/ 45 w 139"/>
                  <a:gd name="T27" fmla="*/ 29 h 41"/>
                  <a:gd name="T28" fmla="*/ 71 w 139"/>
                  <a:gd name="T29" fmla="*/ 20 h 41"/>
                  <a:gd name="T30" fmla="*/ 98 w 139"/>
                  <a:gd name="T31" fmla="*/ 17 h 41"/>
                  <a:gd name="T32" fmla="*/ 125 w 139"/>
                  <a:gd name="T33" fmla="*/ 17 h 41"/>
                  <a:gd name="T34" fmla="*/ 125 w 139"/>
                  <a:gd name="T35" fmla="*/ 17 h 41"/>
                  <a:gd name="T36" fmla="*/ 133 w 139"/>
                  <a:gd name="T37" fmla="*/ 14 h 41"/>
                  <a:gd name="T38" fmla="*/ 139 w 139"/>
                  <a:gd name="T39" fmla="*/ 8 h 41"/>
                  <a:gd name="T40" fmla="*/ 136 w 139"/>
                  <a:gd name="T41" fmla="*/ 2 h 41"/>
                  <a:gd name="T42" fmla="*/ 133 w 139"/>
                  <a:gd name="T43" fmla="*/ 0 h 41"/>
                  <a:gd name="T44" fmla="*/ 130 w 139"/>
                  <a:gd name="T45" fmla="*/ 0 h 41"/>
                  <a:gd name="T46" fmla="*/ 130 w 139"/>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9" h="41">
                    <a:moveTo>
                      <a:pt x="130" y="0"/>
                    </a:moveTo>
                    <a:lnTo>
                      <a:pt x="130" y="0"/>
                    </a:lnTo>
                    <a:lnTo>
                      <a:pt x="98" y="0"/>
                    </a:lnTo>
                    <a:lnTo>
                      <a:pt x="65" y="2"/>
                    </a:lnTo>
                    <a:lnTo>
                      <a:pt x="36" y="14"/>
                    </a:lnTo>
                    <a:lnTo>
                      <a:pt x="6" y="29"/>
                    </a:lnTo>
                    <a:lnTo>
                      <a:pt x="6" y="29"/>
                    </a:lnTo>
                    <a:lnTo>
                      <a:pt x="3" y="32"/>
                    </a:lnTo>
                    <a:lnTo>
                      <a:pt x="0" y="35"/>
                    </a:lnTo>
                    <a:lnTo>
                      <a:pt x="6" y="38"/>
                    </a:lnTo>
                    <a:lnTo>
                      <a:pt x="12" y="41"/>
                    </a:lnTo>
                    <a:lnTo>
                      <a:pt x="21" y="41"/>
                    </a:lnTo>
                    <a:lnTo>
                      <a:pt x="21" y="41"/>
                    </a:lnTo>
                    <a:lnTo>
                      <a:pt x="45" y="29"/>
                    </a:lnTo>
                    <a:lnTo>
                      <a:pt x="71" y="20"/>
                    </a:lnTo>
                    <a:lnTo>
                      <a:pt x="98" y="17"/>
                    </a:lnTo>
                    <a:lnTo>
                      <a:pt x="125" y="17"/>
                    </a:lnTo>
                    <a:lnTo>
                      <a:pt x="125" y="17"/>
                    </a:lnTo>
                    <a:lnTo>
                      <a:pt x="133" y="14"/>
                    </a:lnTo>
                    <a:lnTo>
                      <a:pt x="139" y="8"/>
                    </a:lnTo>
                    <a:lnTo>
                      <a:pt x="136" y="2"/>
                    </a:lnTo>
                    <a:lnTo>
                      <a:pt x="133" y="0"/>
                    </a:lnTo>
                    <a:lnTo>
                      <a:pt x="130" y="0"/>
                    </a:lnTo>
                    <a:lnTo>
                      <a:pt x="1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grpSp>
        <p:grpSp>
          <p:nvGrpSpPr>
            <p:cNvPr id="120" name="Group 119">
              <a:extLst>
                <a:ext uri="{FF2B5EF4-FFF2-40B4-BE49-F238E27FC236}">
                  <a16:creationId xmlns:a16="http://schemas.microsoft.com/office/drawing/2014/main" id="{0EAB93FD-2EE3-0D42-4B76-B9839D358E73}"/>
                </a:ext>
              </a:extLst>
            </p:cNvPr>
            <p:cNvGrpSpPr>
              <a:grpSpLocks noChangeAspect="1"/>
            </p:cNvGrpSpPr>
            <p:nvPr/>
          </p:nvGrpSpPr>
          <p:grpSpPr bwMode="auto">
            <a:xfrm>
              <a:off x="10478712" y="1083732"/>
              <a:ext cx="723954" cy="884239"/>
              <a:chOff x="10456927" y="1081787"/>
              <a:chExt cx="480" cy="557"/>
            </a:xfrm>
            <a:solidFill>
              <a:srgbClr val="5FA04D"/>
            </a:solidFill>
          </p:grpSpPr>
          <p:sp>
            <p:nvSpPr>
              <p:cNvPr id="156" name="Freeform 5">
                <a:extLst>
                  <a:ext uri="{FF2B5EF4-FFF2-40B4-BE49-F238E27FC236}">
                    <a16:creationId xmlns:a16="http://schemas.microsoft.com/office/drawing/2014/main" id="{41AEC443-0899-9097-1D10-0A5EA4A21351}"/>
                  </a:ext>
                </a:extLst>
              </p:cNvPr>
              <p:cNvSpPr>
                <a:spLocks/>
              </p:cNvSpPr>
              <p:nvPr/>
            </p:nvSpPr>
            <p:spPr bwMode="auto">
              <a:xfrm>
                <a:off x="10457048" y="1081920"/>
                <a:ext cx="359" cy="327"/>
              </a:xfrm>
              <a:custGeom>
                <a:avLst/>
                <a:gdLst>
                  <a:gd name="T0" fmla="*/ 350 w 359"/>
                  <a:gd name="T1" fmla="*/ 277 h 327"/>
                  <a:gd name="T2" fmla="*/ 252 w 359"/>
                  <a:gd name="T3" fmla="*/ 176 h 327"/>
                  <a:gd name="T4" fmla="*/ 252 w 359"/>
                  <a:gd name="T5" fmla="*/ 176 h 327"/>
                  <a:gd name="T6" fmla="*/ 117 w 359"/>
                  <a:gd name="T7" fmla="*/ 176 h 327"/>
                  <a:gd name="T8" fmla="*/ 117 w 359"/>
                  <a:gd name="T9" fmla="*/ 0 h 327"/>
                  <a:gd name="T10" fmla="*/ 0 w 359"/>
                  <a:gd name="T11" fmla="*/ 0 h 327"/>
                  <a:gd name="T12" fmla="*/ 0 w 359"/>
                  <a:gd name="T13" fmla="*/ 235 h 327"/>
                  <a:gd name="T14" fmla="*/ 227 w 359"/>
                  <a:gd name="T15" fmla="*/ 235 h 327"/>
                  <a:gd name="T16" fmla="*/ 309 w 359"/>
                  <a:gd name="T17" fmla="*/ 318 h 327"/>
                  <a:gd name="T18" fmla="*/ 309 w 359"/>
                  <a:gd name="T19" fmla="*/ 318 h 327"/>
                  <a:gd name="T20" fmla="*/ 309 w 359"/>
                  <a:gd name="T21" fmla="*/ 318 h 327"/>
                  <a:gd name="T22" fmla="*/ 314 w 359"/>
                  <a:gd name="T23" fmla="*/ 322 h 327"/>
                  <a:gd name="T24" fmla="*/ 319 w 359"/>
                  <a:gd name="T25" fmla="*/ 325 h 327"/>
                  <a:gd name="T26" fmla="*/ 325 w 359"/>
                  <a:gd name="T27" fmla="*/ 326 h 327"/>
                  <a:gd name="T28" fmla="*/ 330 w 359"/>
                  <a:gd name="T29" fmla="*/ 327 h 327"/>
                  <a:gd name="T30" fmla="*/ 330 w 359"/>
                  <a:gd name="T31" fmla="*/ 327 h 327"/>
                  <a:gd name="T32" fmla="*/ 336 w 359"/>
                  <a:gd name="T33" fmla="*/ 326 h 327"/>
                  <a:gd name="T34" fmla="*/ 341 w 359"/>
                  <a:gd name="T35" fmla="*/ 325 h 327"/>
                  <a:gd name="T36" fmla="*/ 346 w 359"/>
                  <a:gd name="T37" fmla="*/ 322 h 327"/>
                  <a:gd name="T38" fmla="*/ 350 w 359"/>
                  <a:gd name="T39" fmla="*/ 318 h 327"/>
                  <a:gd name="T40" fmla="*/ 350 w 359"/>
                  <a:gd name="T41" fmla="*/ 318 h 327"/>
                  <a:gd name="T42" fmla="*/ 354 w 359"/>
                  <a:gd name="T43" fmla="*/ 314 h 327"/>
                  <a:gd name="T44" fmla="*/ 358 w 359"/>
                  <a:gd name="T45" fmla="*/ 309 h 327"/>
                  <a:gd name="T46" fmla="*/ 359 w 359"/>
                  <a:gd name="T47" fmla="*/ 303 h 327"/>
                  <a:gd name="T48" fmla="*/ 359 w 359"/>
                  <a:gd name="T49" fmla="*/ 298 h 327"/>
                  <a:gd name="T50" fmla="*/ 359 w 359"/>
                  <a:gd name="T51" fmla="*/ 291 h 327"/>
                  <a:gd name="T52" fmla="*/ 358 w 359"/>
                  <a:gd name="T53" fmla="*/ 287 h 327"/>
                  <a:gd name="T54" fmla="*/ 354 w 359"/>
                  <a:gd name="T55" fmla="*/ 280 h 327"/>
                  <a:gd name="T56" fmla="*/ 350 w 359"/>
                  <a:gd name="T57" fmla="*/ 277 h 327"/>
                  <a:gd name="T58" fmla="*/ 350 w 359"/>
                  <a:gd name="T59" fmla="*/ 27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9" h="327">
                    <a:moveTo>
                      <a:pt x="350" y="277"/>
                    </a:moveTo>
                    <a:lnTo>
                      <a:pt x="252" y="176"/>
                    </a:lnTo>
                    <a:lnTo>
                      <a:pt x="252" y="176"/>
                    </a:lnTo>
                    <a:lnTo>
                      <a:pt x="117" y="176"/>
                    </a:lnTo>
                    <a:lnTo>
                      <a:pt x="117" y="0"/>
                    </a:lnTo>
                    <a:lnTo>
                      <a:pt x="0" y="0"/>
                    </a:lnTo>
                    <a:lnTo>
                      <a:pt x="0" y="235"/>
                    </a:lnTo>
                    <a:lnTo>
                      <a:pt x="227" y="235"/>
                    </a:lnTo>
                    <a:lnTo>
                      <a:pt x="309" y="318"/>
                    </a:lnTo>
                    <a:lnTo>
                      <a:pt x="309" y="318"/>
                    </a:lnTo>
                    <a:lnTo>
                      <a:pt x="309" y="318"/>
                    </a:lnTo>
                    <a:lnTo>
                      <a:pt x="314" y="322"/>
                    </a:lnTo>
                    <a:lnTo>
                      <a:pt x="319" y="325"/>
                    </a:lnTo>
                    <a:lnTo>
                      <a:pt x="325" y="326"/>
                    </a:lnTo>
                    <a:lnTo>
                      <a:pt x="330" y="327"/>
                    </a:lnTo>
                    <a:lnTo>
                      <a:pt x="330" y="327"/>
                    </a:lnTo>
                    <a:lnTo>
                      <a:pt x="336" y="326"/>
                    </a:lnTo>
                    <a:lnTo>
                      <a:pt x="341" y="325"/>
                    </a:lnTo>
                    <a:lnTo>
                      <a:pt x="346" y="322"/>
                    </a:lnTo>
                    <a:lnTo>
                      <a:pt x="350" y="318"/>
                    </a:lnTo>
                    <a:lnTo>
                      <a:pt x="350" y="318"/>
                    </a:lnTo>
                    <a:lnTo>
                      <a:pt x="354" y="314"/>
                    </a:lnTo>
                    <a:lnTo>
                      <a:pt x="358" y="309"/>
                    </a:lnTo>
                    <a:lnTo>
                      <a:pt x="359" y="303"/>
                    </a:lnTo>
                    <a:lnTo>
                      <a:pt x="359" y="298"/>
                    </a:lnTo>
                    <a:lnTo>
                      <a:pt x="359" y="291"/>
                    </a:lnTo>
                    <a:lnTo>
                      <a:pt x="358" y="287"/>
                    </a:lnTo>
                    <a:lnTo>
                      <a:pt x="354" y="280"/>
                    </a:lnTo>
                    <a:lnTo>
                      <a:pt x="350" y="277"/>
                    </a:lnTo>
                    <a:lnTo>
                      <a:pt x="350" y="2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57" name="Freeform 6">
                <a:extLst>
                  <a:ext uri="{FF2B5EF4-FFF2-40B4-BE49-F238E27FC236}">
                    <a16:creationId xmlns:a16="http://schemas.microsoft.com/office/drawing/2014/main" id="{EAF93187-3E5B-EAAB-253E-A15923696DE0}"/>
                  </a:ext>
                </a:extLst>
              </p:cNvPr>
              <p:cNvSpPr>
                <a:spLocks/>
              </p:cNvSpPr>
              <p:nvPr/>
            </p:nvSpPr>
            <p:spPr bwMode="auto">
              <a:xfrm>
                <a:off x="10457048" y="1081787"/>
                <a:ext cx="117" cy="118"/>
              </a:xfrm>
              <a:custGeom>
                <a:avLst/>
                <a:gdLst>
                  <a:gd name="T0" fmla="*/ 59 w 117"/>
                  <a:gd name="T1" fmla="*/ 0 h 118"/>
                  <a:gd name="T2" fmla="*/ 59 w 117"/>
                  <a:gd name="T3" fmla="*/ 0 h 118"/>
                  <a:gd name="T4" fmla="*/ 46 w 117"/>
                  <a:gd name="T5" fmla="*/ 1 h 118"/>
                  <a:gd name="T6" fmla="*/ 35 w 117"/>
                  <a:gd name="T7" fmla="*/ 5 h 118"/>
                  <a:gd name="T8" fmla="*/ 26 w 117"/>
                  <a:gd name="T9" fmla="*/ 10 h 118"/>
                  <a:gd name="T10" fmla="*/ 17 w 117"/>
                  <a:gd name="T11" fmla="*/ 17 h 118"/>
                  <a:gd name="T12" fmla="*/ 10 w 117"/>
                  <a:gd name="T13" fmla="*/ 26 h 118"/>
                  <a:gd name="T14" fmla="*/ 5 w 117"/>
                  <a:gd name="T15" fmla="*/ 37 h 118"/>
                  <a:gd name="T16" fmla="*/ 1 w 117"/>
                  <a:gd name="T17" fmla="*/ 48 h 118"/>
                  <a:gd name="T18" fmla="*/ 0 w 117"/>
                  <a:gd name="T19" fmla="*/ 59 h 118"/>
                  <a:gd name="T20" fmla="*/ 0 w 117"/>
                  <a:gd name="T21" fmla="*/ 59 h 118"/>
                  <a:gd name="T22" fmla="*/ 1 w 117"/>
                  <a:gd name="T23" fmla="*/ 71 h 118"/>
                  <a:gd name="T24" fmla="*/ 5 w 117"/>
                  <a:gd name="T25" fmla="*/ 82 h 118"/>
                  <a:gd name="T26" fmla="*/ 10 w 117"/>
                  <a:gd name="T27" fmla="*/ 92 h 118"/>
                  <a:gd name="T28" fmla="*/ 17 w 117"/>
                  <a:gd name="T29" fmla="*/ 101 h 118"/>
                  <a:gd name="T30" fmla="*/ 26 w 117"/>
                  <a:gd name="T31" fmla="*/ 108 h 118"/>
                  <a:gd name="T32" fmla="*/ 35 w 117"/>
                  <a:gd name="T33" fmla="*/ 113 h 118"/>
                  <a:gd name="T34" fmla="*/ 46 w 117"/>
                  <a:gd name="T35" fmla="*/ 117 h 118"/>
                  <a:gd name="T36" fmla="*/ 59 w 117"/>
                  <a:gd name="T37" fmla="*/ 118 h 118"/>
                  <a:gd name="T38" fmla="*/ 59 w 117"/>
                  <a:gd name="T39" fmla="*/ 118 h 118"/>
                  <a:gd name="T40" fmla="*/ 70 w 117"/>
                  <a:gd name="T41" fmla="*/ 117 h 118"/>
                  <a:gd name="T42" fmla="*/ 81 w 117"/>
                  <a:gd name="T43" fmla="*/ 113 h 118"/>
                  <a:gd name="T44" fmla="*/ 92 w 117"/>
                  <a:gd name="T45" fmla="*/ 108 h 118"/>
                  <a:gd name="T46" fmla="*/ 100 w 117"/>
                  <a:gd name="T47" fmla="*/ 101 h 118"/>
                  <a:gd name="T48" fmla="*/ 107 w 117"/>
                  <a:gd name="T49" fmla="*/ 92 h 118"/>
                  <a:gd name="T50" fmla="*/ 112 w 117"/>
                  <a:gd name="T51" fmla="*/ 82 h 118"/>
                  <a:gd name="T52" fmla="*/ 116 w 117"/>
                  <a:gd name="T53" fmla="*/ 71 h 118"/>
                  <a:gd name="T54" fmla="*/ 117 w 117"/>
                  <a:gd name="T55" fmla="*/ 59 h 118"/>
                  <a:gd name="T56" fmla="*/ 117 w 117"/>
                  <a:gd name="T57" fmla="*/ 59 h 118"/>
                  <a:gd name="T58" fmla="*/ 116 w 117"/>
                  <a:gd name="T59" fmla="*/ 48 h 118"/>
                  <a:gd name="T60" fmla="*/ 112 w 117"/>
                  <a:gd name="T61" fmla="*/ 37 h 118"/>
                  <a:gd name="T62" fmla="*/ 107 w 117"/>
                  <a:gd name="T63" fmla="*/ 26 h 118"/>
                  <a:gd name="T64" fmla="*/ 100 w 117"/>
                  <a:gd name="T65" fmla="*/ 17 h 118"/>
                  <a:gd name="T66" fmla="*/ 92 w 117"/>
                  <a:gd name="T67" fmla="*/ 10 h 118"/>
                  <a:gd name="T68" fmla="*/ 81 w 117"/>
                  <a:gd name="T69" fmla="*/ 5 h 118"/>
                  <a:gd name="T70" fmla="*/ 70 w 117"/>
                  <a:gd name="T71" fmla="*/ 1 h 118"/>
                  <a:gd name="T72" fmla="*/ 59 w 117"/>
                  <a:gd name="T73" fmla="*/ 0 h 118"/>
                  <a:gd name="T74" fmla="*/ 59 w 117"/>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18">
                    <a:moveTo>
                      <a:pt x="59" y="0"/>
                    </a:moveTo>
                    <a:lnTo>
                      <a:pt x="59" y="0"/>
                    </a:lnTo>
                    <a:lnTo>
                      <a:pt x="46" y="1"/>
                    </a:lnTo>
                    <a:lnTo>
                      <a:pt x="35" y="5"/>
                    </a:lnTo>
                    <a:lnTo>
                      <a:pt x="26" y="10"/>
                    </a:lnTo>
                    <a:lnTo>
                      <a:pt x="17" y="17"/>
                    </a:lnTo>
                    <a:lnTo>
                      <a:pt x="10" y="26"/>
                    </a:lnTo>
                    <a:lnTo>
                      <a:pt x="5" y="37"/>
                    </a:lnTo>
                    <a:lnTo>
                      <a:pt x="1" y="48"/>
                    </a:lnTo>
                    <a:lnTo>
                      <a:pt x="0" y="59"/>
                    </a:lnTo>
                    <a:lnTo>
                      <a:pt x="0" y="59"/>
                    </a:lnTo>
                    <a:lnTo>
                      <a:pt x="1" y="71"/>
                    </a:lnTo>
                    <a:lnTo>
                      <a:pt x="5" y="82"/>
                    </a:lnTo>
                    <a:lnTo>
                      <a:pt x="10" y="92"/>
                    </a:lnTo>
                    <a:lnTo>
                      <a:pt x="17" y="101"/>
                    </a:lnTo>
                    <a:lnTo>
                      <a:pt x="26" y="108"/>
                    </a:lnTo>
                    <a:lnTo>
                      <a:pt x="35" y="113"/>
                    </a:lnTo>
                    <a:lnTo>
                      <a:pt x="46" y="117"/>
                    </a:lnTo>
                    <a:lnTo>
                      <a:pt x="59" y="118"/>
                    </a:lnTo>
                    <a:lnTo>
                      <a:pt x="59" y="118"/>
                    </a:lnTo>
                    <a:lnTo>
                      <a:pt x="70" y="117"/>
                    </a:lnTo>
                    <a:lnTo>
                      <a:pt x="81" y="113"/>
                    </a:lnTo>
                    <a:lnTo>
                      <a:pt x="92" y="108"/>
                    </a:lnTo>
                    <a:lnTo>
                      <a:pt x="100" y="101"/>
                    </a:lnTo>
                    <a:lnTo>
                      <a:pt x="107" y="92"/>
                    </a:lnTo>
                    <a:lnTo>
                      <a:pt x="112" y="82"/>
                    </a:lnTo>
                    <a:lnTo>
                      <a:pt x="116" y="71"/>
                    </a:lnTo>
                    <a:lnTo>
                      <a:pt x="117" y="59"/>
                    </a:lnTo>
                    <a:lnTo>
                      <a:pt x="117" y="59"/>
                    </a:lnTo>
                    <a:lnTo>
                      <a:pt x="116" y="48"/>
                    </a:lnTo>
                    <a:lnTo>
                      <a:pt x="112" y="37"/>
                    </a:lnTo>
                    <a:lnTo>
                      <a:pt x="107" y="26"/>
                    </a:lnTo>
                    <a:lnTo>
                      <a:pt x="100" y="17"/>
                    </a:lnTo>
                    <a:lnTo>
                      <a:pt x="92" y="10"/>
                    </a:lnTo>
                    <a:lnTo>
                      <a:pt x="81" y="5"/>
                    </a:lnTo>
                    <a:lnTo>
                      <a:pt x="70" y="1"/>
                    </a:lnTo>
                    <a:lnTo>
                      <a:pt x="59" y="0"/>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58" name="Freeform 7">
                <a:extLst>
                  <a:ext uri="{FF2B5EF4-FFF2-40B4-BE49-F238E27FC236}">
                    <a16:creationId xmlns:a16="http://schemas.microsoft.com/office/drawing/2014/main" id="{CB77F2A2-EA22-9550-F826-A19999051B69}"/>
                  </a:ext>
                </a:extLst>
              </p:cNvPr>
              <p:cNvSpPr>
                <a:spLocks/>
              </p:cNvSpPr>
              <p:nvPr/>
            </p:nvSpPr>
            <p:spPr bwMode="auto">
              <a:xfrm>
                <a:off x="10456927" y="1081980"/>
                <a:ext cx="377" cy="364"/>
              </a:xfrm>
              <a:custGeom>
                <a:avLst/>
                <a:gdLst>
                  <a:gd name="T0" fmla="*/ 195 w 377"/>
                  <a:gd name="T1" fmla="*/ 325 h 364"/>
                  <a:gd name="T2" fmla="*/ 164 w 377"/>
                  <a:gd name="T3" fmla="*/ 321 h 364"/>
                  <a:gd name="T4" fmla="*/ 134 w 377"/>
                  <a:gd name="T5" fmla="*/ 312 h 364"/>
                  <a:gd name="T6" fmla="*/ 109 w 377"/>
                  <a:gd name="T7" fmla="*/ 298 h 364"/>
                  <a:gd name="T8" fmla="*/ 85 w 377"/>
                  <a:gd name="T9" fmla="*/ 278 h 364"/>
                  <a:gd name="T10" fmla="*/ 66 w 377"/>
                  <a:gd name="T11" fmla="*/ 255 h 364"/>
                  <a:gd name="T12" fmla="*/ 51 w 377"/>
                  <a:gd name="T13" fmla="*/ 229 h 364"/>
                  <a:gd name="T14" fmla="*/ 43 w 377"/>
                  <a:gd name="T15" fmla="*/ 200 h 364"/>
                  <a:gd name="T16" fmla="*/ 39 w 377"/>
                  <a:gd name="T17" fmla="*/ 168 h 364"/>
                  <a:gd name="T18" fmla="*/ 40 w 377"/>
                  <a:gd name="T19" fmla="*/ 149 h 364"/>
                  <a:gd name="T20" fmla="*/ 48 w 377"/>
                  <a:gd name="T21" fmla="*/ 116 h 364"/>
                  <a:gd name="T22" fmla="*/ 62 w 377"/>
                  <a:gd name="T23" fmla="*/ 86 h 364"/>
                  <a:gd name="T24" fmla="*/ 83 w 377"/>
                  <a:gd name="T25" fmla="*/ 59 h 364"/>
                  <a:gd name="T26" fmla="*/ 96 w 377"/>
                  <a:gd name="T27" fmla="*/ 0 h 364"/>
                  <a:gd name="T28" fmla="*/ 85 w 377"/>
                  <a:gd name="T29" fmla="*/ 6 h 364"/>
                  <a:gd name="T30" fmla="*/ 66 w 377"/>
                  <a:gd name="T31" fmla="*/ 22 h 364"/>
                  <a:gd name="T32" fmla="*/ 49 w 377"/>
                  <a:gd name="T33" fmla="*/ 39 h 364"/>
                  <a:gd name="T34" fmla="*/ 33 w 377"/>
                  <a:gd name="T35" fmla="*/ 59 h 364"/>
                  <a:gd name="T36" fmla="*/ 21 w 377"/>
                  <a:gd name="T37" fmla="*/ 81 h 364"/>
                  <a:gd name="T38" fmla="*/ 11 w 377"/>
                  <a:gd name="T39" fmla="*/ 104 h 364"/>
                  <a:gd name="T40" fmla="*/ 4 w 377"/>
                  <a:gd name="T41" fmla="*/ 128 h 364"/>
                  <a:gd name="T42" fmla="*/ 1 w 377"/>
                  <a:gd name="T43" fmla="*/ 154 h 364"/>
                  <a:gd name="T44" fmla="*/ 0 w 377"/>
                  <a:gd name="T45" fmla="*/ 168 h 364"/>
                  <a:gd name="T46" fmla="*/ 5 w 377"/>
                  <a:gd name="T47" fmla="*/ 207 h 364"/>
                  <a:gd name="T48" fmla="*/ 16 w 377"/>
                  <a:gd name="T49" fmla="*/ 244 h 364"/>
                  <a:gd name="T50" fmla="*/ 34 w 377"/>
                  <a:gd name="T51" fmla="*/ 277 h 364"/>
                  <a:gd name="T52" fmla="*/ 57 w 377"/>
                  <a:gd name="T53" fmla="*/ 306 h 364"/>
                  <a:gd name="T54" fmla="*/ 87 w 377"/>
                  <a:gd name="T55" fmla="*/ 330 h 364"/>
                  <a:gd name="T56" fmla="*/ 120 w 377"/>
                  <a:gd name="T57" fmla="*/ 348 h 364"/>
                  <a:gd name="T58" fmla="*/ 156 w 377"/>
                  <a:gd name="T59" fmla="*/ 359 h 364"/>
                  <a:gd name="T60" fmla="*/ 195 w 377"/>
                  <a:gd name="T61" fmla="*/ 364 h 364"/>
                  <a:gd name="T62" fmla="*/ 211 w 377"/>
                  <a:gd name="T63" fmla="*/ 363 h 364"/>
                  <a:gd name="T64" fmla="*/ 241 w 377"/>
                  <a:gd name="T65" fmla="*/ 358 h 364"/>
                  <a:gd name="T66" fmla="*/ 269 w 377"/>
                  <a:gd name="T67" fmla="*/ 349 h 364"/>
                  <a:gd name="T68" fmla="*/ 294 w 377"/>
                  <a:gd name="T69" fmla="*/ 337 h 364"/>
                  <a:gd name="T70" fmla="*/ 318 w 377"/>
                  <a:gd name="T71" fmla="*/ 320 h 364"/>
                  <a:gd name="T72" fmla="*/ 340 w 377"/>
                  <a:gd name="T73" fmla="*/ 300 h 364"/>
                  <a:gd name="T74" fmla="*/ 357 w 377"/>
                  <a:gd name="T75" fmla="*/ 278 h 364"/>
                  <a:gd name="T76" fmla="*/ 371 w 377"/>
                  <a:gd name="T77" fmla="*/ 252 h 364"/>
                  <a:gd name="T78" fmla="*/ 346 w 377"/>
                  <a:gd name="T79" fmla="*/ 208 h 364"/>
                  <a:gd name="T80" fmla="*/ 342 w 377"/>
                  <a:gd name="T81" fmla="*/ 220 h 364"/>
                  <a:gd name="T82" fmla="*/ 332 w 377"/>
                  <a:gd name="T83" fmla="*/ 244 h 364"/>
                  <a:gd name="T84" fmla="*/ 318 w 377"/>
                  <a:gd name="T85" fmla="*/ 265 h 364"/>
                  <a:gd name="T86" fmla="*/ 300 w 377"/>
                  <a:gd name="T87" fmla="*/ 283 h 364"/>
                  <a:gd name="T88" fmla="*/ 281 w 377"/>
                  <a:gd name="T89" fmla="*/ 299 h 364"/>
                  <a:gd name="T90" fmla="*/ 259 w 377"/>
                  <a:gd name="T91" fmla="*/ 311 h 364"/>
                  <a:gd name="T92" fmla="*/ 235 w 377"/>
                  <a:gd name="T93" fmla="*/ 320 h 364"/>
                  <a:gd name="T94" fmla="*/ 209 w 377"/>
                  <a:gd name="T95" fmla="*/ 324 h 364"/>
                  <a:gd name="T96" fmla="*/ 195 w 377"/>
                  <a:gd name="T97" fmla="*/ 325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7" h="364">
                    <a:moveTo>
                      <a:pt x="195" y="325"/>
                    </a:moveTo>
                    <a:lnTo>
                      <a:pt x="195" y="325"/>
                    </a:lnTo>
                    <a:lnTo>
                      <a:pt x="180" y="324"/>
                    </a:lnTo>
                    <a:lnTo>
                      <a:pt x="164" y="321"/>
                    </a:lnTo>
                    <a:lnTo>
                      <a:pt x="149" y="317"/>
                    </a:lnTo>
                    <a:lnTo>
                      <a:pt x="134" y="312"/>
                    </a:lnTo>
                    <a:lnTo>
                      <a:pt x="121" y="305"/>
                    </a:lnTo>
                    <a:lnTo>
                      <a:pt x="109" y="298"/>
                    </a:lnTo>
                    <a:lnTo>
                      <a:pt x="96" y="288"/>
                    </a:lnTo>
                    <a:lnTo>
                      <a:pt x="85" y="278"/>
                    </a:lnTo>
                    <a:lnTo>
                      <a:pt x="75" y="267"/>
                    </a:lnTo>
                    <a:lnTo>
                      <a:pt x="66" y="255"/>
                    </a:lnTo>
                    <a:lnTo>
                      <a:pt x="59" y="243"/>
                    </a:lnTo>
                    <a:lnTo>
                      <a:pt x="51" y="229"/>
                    </a:lnTo>
                    <a:lnTo>
                      <a:pt x="46" y="214"/>
                    </a:lnTo>
                    <a:lnTo>
                      <a:pt x="43" y="200"/>
                    </a:lnTo>
                    <a:lnTo>
                      <a:pt x="40" y="184"/>
                    </a:lnTo>
                    <a:lnTo>
                      <a:pt x="39" y="168"/>
                    </a:lnTo>
                    <a:lnTo>
                      <a:pt x="39" y="168"/>
                    </a:lnTo>
                    <a:lnTo>
                      <a:pt x="40" y="149"/>
                    </a:lnTo>
                    <a:lnTo>
                      <a:pt x="44" y="132"/>
                    </a:lnTo>
                    <a:lnTo>
                      <a:pt x="48" y="116"/>
                    </a:lnTo>
                    <a:lnTo>
                      <a:pt x="55" y="100"/>
                    </a:lnTo>
                    <a:lnTo>
                      <a:pt x="62" y="86"/>
                    </a:lnTo>
                    <a:lnTo>
                      <a:pt x="72" y="71"/>
                    </a:lnTo>
                    <a:lnTo>
                      <a:pt x="83" y="59"/>
                    </a:lnTo>
                    <a:lnTo>
                      <a:pt x="96" y="47"/>
                    </a:lnTo>
                    <a:lnTo>
                      <a:pt x="96" y="0"/>
                    </a:lnTo>
                    <a:lnTo>
                      <a:pt x="96" y="0"/>
                    </a:lnTo>
                    <a:lnTo>
                      <a:pt x="85" y="6"/>
                    </a:lnTo>
                    <a:lnTo>
                      <a:pt x="76" y="13"/>
                    </a:lnTo>
                    <a:lnTo>
                      <a:pt x="66" y="22"/>
                    </a:lnTo>
                    <a:lnTo>
                      <a:pt x="57" y="30"/>
                    </a:lnTo>
                    <a:lnTo>
                      <a:pt x="49" y="39"/>
                    </a:lnTo>
                    <a:lnTo>
                      <a:pt x="40" y="49"/>
                    </a:lnTo>
                    <a:lnTo>
                      <a:pt x="33" y="59"/>
                    </a:lnTo>
                    <a:lnTo>
                      <a:pt x="27" y="70"/>
                    </a:lnTo>
                    <a:lnTo>
                      <a:pt x="21" y="81"/>
                    </a:lnTo>
                    <a:lnTo>
                      <a:pt x="16" y="92"/>
                    </a:lnTo>
                    <a:lnTo>
                      <a:pt x="11" y="104"/>
                    </a:lnTo>
                    <a:lnTo>
                      <a:pt x="7" y="116"/>
                    </a:lnTo>
                    <a:lnTo>
                      <a:pt x="4" y="128"/>
                    </a:lnTo>
                    <a:lnTo>
                      <a:pt x="2" y="141"/>
                    </a:lnTo>
                    <a:lnTo>
                      <a:pt x="1" y="154"/>
                    </a:lnTo>
                    <a:lnTo>
                      <a:pt x="0" y="168"/>
                    </a:lnTo>
                    <a:lnTo>
                      <a:pt x="0" y="168"/>
                    </a:lnTo>
                    <a:lnTo>
                      <a:pt x="1" y="187"/>
                    </a:lnTo>
                    <a:lnTo>
                      <a:pt x="5" y="207"/>
                    </a:lnTo>
                    <a:lnTo>
                      <a:pt x="9" y="225"/>
                    </a:lnTo>
                    <a:lnTo>
                      <a:pt x="16" y="244"/>
                    </a:lnTo>
                    <a:lnTo>
                      <a:pt x="24" y="261"/>
                    </a:lnTo>
                    <a:lnTo>
                      <a:pt x="34" y="277"/>
                    </a:lnTo>
                    <a:lnTo>
                      <a:pt x="45" y="292"/>
                    </a:lnTo>
                    <a:lnTo>
                      <a:pt x="57" y="306"/>
                    </a:lnTo>
                    <a:lnTo>
                      <a:pt x="71" y="319"/>
                    </a:lnTo>
                    <a:lnTo>
                      <a:pt x="87" y="330"/>
                    </a:lnTo>
                    <a:lnTo>
                      <a:pt x="103" y="339"/>
                    </a:lnTo>
                    <a:lnTo>
                      <a:pt x="120" y="348"/>
                    </a:lnTo>
                    <a:lnTo>
                      <a:pt x="138" y="354"/>
                    </a:lnTo>
                    <a:lnTo>
                      <a:pt x="156" y="359"/>
                    </a:lnTo>
                    <a:lnTo>
                      <a:pt x="176" y="363"/>
                    </a:lnTo>
                    <a:lnTo>
                      <a:pt x="195" y="364"/>
                    </a:lnTo>
                    <a:lnTo>
                      <a:pt x="195" y="364"/>
                    </a:lnTo>
                    <a:lnTo>
                      <a:pt x="211" y="363"/>
                    </a:lnTo>
                    <a:lnTo>
                      <a:pt x="226" y="362"/>
                    </a:lnTo>
                    <a:lnTo>
                      <a:pt x="241" y="358"/>
                    </a:lnTo>
                    <a:lnTo>
                      <a:pt x="254" y="354"/>
                    </a:lnTo>
                    <a:lnTo>
                      <a:pt x="269" y="349"/>
                    </a:lnTo>
                    <a:lnTo>
                      <a:pt x="282" y="343"/>
                    </a:lnTo>
                    <a:lnTo>
                      <a:pt x="294" y="337"/>
                    </a:lnTo>
                    <a:lnTo>
                      <a:pt x="307" y="328"/>
                    </a:lnTo>
                    <a:lnTo>
                      <a:pt x="318" y="320"/>
                    </a:lnTo>
                    <a:lnTo>
                      <a:pt x="329" y="310"/>
                    </a:lnTo>
                    <a:lnTo>
                      <a:pt x="340" y="300"/>
                    </a:lnTo>
                    <a:lnTo>
                      <a:pt x="348" y="289"/>
                    </a:lnTo>
                    <a:lnTo>
                      <a:pt x="357" y="278"/>
                    </a:lnTo>
                    <a:lnTo>
                      <a:pt x="364" y="266"/>
                    </a:lnTo>
                    <a:lnTo>
                      <a:pt x="371" y="252"/>
                    </a:lnTo>
                    <a:lnTo>
                      <a:pt x="377" y="239"/>
                    </a:lnTo>
                    <a:lnTo>
                      <a:pt x="346" y="208"/>
                    </a:lnTo>
                    <a:lnTo>
                      <a:pt x="346" y="208"/>
                    </a:lnTo>
                    <a:lnTo>
                      <a:pt x="342" y="220"/>
                    </a:lnTo>
                    <a:lnTo>
                      <a:pt x="337" y="233"/>
                    </a:lnTo>
                    <a:lnTo>
                      <a:pt x="332" y="244"/>
                    </a:lnTo>
                    <a:lnTo>
                      <a:pt x="325" y="255"/>
                    </a:lnTo>
                    <a:lnTo>
                      <a:pt x="318" y="265"/>
                    </a:lnTo>
                    <a:lnTo>
                      <a:pt x="310" y="274"/>
                    </a:lnTo>
                    <a:lnTo>
                      <a:pt x="300" y="283"/>
                    </a:lnTo>
                    <a:lnTo>
                      <a:pt x="291" y="292"/>
                    </a:lnTo>
                    <a:lnTo>
                      <a:pt x="281" y="299"/>
                    </a:lnTo>
                    <a:lnTo>
                      <a:pt x="270" y="305"/>
                    </a:lnTo>
                    <a:lnTo>
                      <a:pt x="259" y="311"/>
                    </a:lnTo>
                    <a:lnTo>
                      <a:pt x="247" y="316"/>
                    </a:lnTo>
                    <a:lnTo>
                      <a:pt x="235" y="320"/>
                    </a:lnTo>
                    <a:lnTo>
                      <a:pt x="222" y="322"/>
                    </a:lnTo>
                    <a:lnTo>
                      <a:pt x="209" y="324"/>
                    </a:lnTo>
                    <a:lnTo>
                      <a:pt x="195" y="325"/>
                    </a:lnTo>
                    <a:lnTo>
                      <a:pt x="195" y="3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grpSp>
        <p:grpSp>
          <p:nvGrpSpPr>
            <p:cNvPr id="121" name="Group 120">
              <a:extLst>
                <a:ext uri="{FF2B5EF4-FFF2-40B4-BE49-F238E27FC236}">
                  <a16:creationId xmlns:a16="http://schemas.microsoft.com/office/drawing/2014/main" id="{B3CEE4F0-EF55-CE67-70D1-C9D68197C948}"/>
                </a:ext>
              </a:extLst>
            </p:cNvPr>
            <p:cNvGrpSpPr>
              <a:grpSpLocks noChangeAspect="1"/>
            </p:cNvGrpSpPr>
            <p:nvPr/>
          </p:nvGrpSpPr>
          <p:grpSpPr bwMode="auto">
            <a:xfrm>
              <a:off x="9404075" y="734314"/>
              <a:ext cx="723952" cy="763588"/>
              <a:chOff x="9423710" y="734314"/>
              <a:chExt cx="480" cy="481"/>
            </a:xfrm>
            <a:solidFill>
              <a:srgbClr val="5FA04D"/>
            </a:solidFill>
          </p:grpSpPr>
          <p:sp>
            <p:nvSpPr>
              <p:cNvPr id="149" name="Freeform 5">
                <a:extLst>
                  <a:ext uri="{FF2B5EF4-FFF2-40B4-BE49-F238E27FC236}">
                    <a16:creationId xmlns:a16="http://schemas.microsoft.com/office/drawing/2014/main" id="{E354342F-963E-8379-7F93-59F3459C9718}"/>
                  </a:ext>
                </a:extLst>
              </p:cNvPr>
              <p:cNvSpPr>
                <a:spLocks/>
              </p:cNvSpPr>
              <p:nvPr/>
            </p:nvSpPr>
            <p:spPr bwMode="auto">
              <a:xfrm>
                <a:off x="9423905" y="734314"/>
                <a:ext cx="125" cy="126"/>
              </a:xfrm>
              <a:custGeom>
                <a:avLst/>
                <a:gdLst>
                  <a:gd name="T0" fmla="*/ 125 w 125"/>
                  <a:gd name="T1" fmla="*/ 0 h 126"/>
                  <a:gd name="T2" fmla="*/ 125 w 125"/>
                  <a:gd name="T3" fmla="*/ 0 h 126"/>
                  <a:gd name="T4" fmla="*/ 114 w 125"/>
                  <a:gd name="T5" fmla="*/ 2 h 126"/>
                  <a:gd name="T6" fmla="*/ 102 w 125"/>
                  <a:gd name="T7" fmla="*/ 4 h 126"/>
                  <a:gd name="T8" fmla="*/ 90 w 125"/>
                  <a:gd name="T9" fmla="*/ 7 h 126"/>
                  <a:gd name="T10" fmla="*/ 79 w 125"/>
                  <a:gd name="T11" fmla="*/ 12 h 126"/>
                  <a:gd name="T12" fmla="*/ 68 w 125"/>
                  <a:gd name="T13" fmla="*/ 18 h 126"/>
                  <a:gd name="T14" fmla="*/ 58 w 125"/>
                  <a:gd name="T15" fmla="*/ 24 h 126"/>
                  <a:gd name="T16" fmla="*/ 48 w 125"/>
                  <a:gd name="T17" fmla="*/ 32 h 126"/>
                  <a:gd name="T18" fmla="*/ 39 w 125"/>
                  <a:gd name="T19" fmla="*/ 40 h 126"/>
                  <a:gd name="T20" fmla="*/ 39 w 125"/>
                  <a:gd name="T21" fmla="*/ 40 h 126"/>
                  <a:gd name="T22" fmla="*/ 30 w 125"/>
                  <a:gd name="T23" fmla="*/ 50 h 126"/>
                  <a:gd name="T24" fmla="*/ 23 w 125"/>
                  <a:gd name="T25" fmla="*/ 59 h 126"/>
                  <a:gd name="T26" fmla="*/ 16 w 125"/>
                  <a:gd name="T27" fmla="*/ 70 h 126"/>
                  <a:gd name="T28" fmla="*/ 11 w 125"/>
                  <a:gd name="T29" fmla="*/ 81 h 126"/>
                  <a:gd name="T30" fmla="*/ 7 w 125"/>
                  <a:gd name="T31" fmla="*/ 92 h 126"/>
                  <a:gd name="T32" fmla="*/ 3 w 125"/>
                  <a:gd name="T33" fmla="*/ 103 h 126"/>
                  <a:gd name="T34" fmla="*/ 1 w 125"/>
                  <a:gd name="T35" fmla="*/ 114 h 126"/>
                  <a:gd name="T36" fmla="*/ 0 w 125"/>
                  <a:gd name="T37" fmla="*/ 126 h 126"/>
                  <a:gd name="T38" fmla="*/ 0 w 125"/>
                  <a:gd name="T39" fmla="*/ 126 h 126"/>
                  <a:gd name="T40" fmla="*/ 11 w 125"/>
                  <a:gd name="T41" fmla="*/ 125 h 126"/>
                  <a:gd name="T42" fmla="*/ 23 w 125"/>
                  <a:gd name="T43" fmla="*/ 123 h 126"/>
                  <a:gd name="T44" fmla="*/ 33 w 125"/>
                  <a:gd name="T45" fmla="*/ 119 h 126"/>
                  <a:gd name="T46" fmla="*/ 45 w 125"/>
                  <a:gd name="T47" fmla="*/ 114 h 126"/>
                  <a:gd name="T48" fmla="*/ 56 w 125"/>
                  <a:gd name="T49" fmla="*/ 109 h 126"/>
                  <a:gd name="T50" fmla="*/ 66 w 125"/>
                  <a:gd name="T51" fmla="*/ 103 h 126"/>
                  <a:gd name="T52" fmla="*/ 76 w 125"/>
                  <a:gd name="T53" fmla="*/ 95 h 126"/>
                  <a:gd name="T54" fmla="*/ 85 w 125"/>
                  <a:gd name="T55" fmla="*/ 87 h 126"/>
                  <a:gd name="T56" fmla="*/ 85 w 125"/>
                  <a:gd name="T57" fmla="*/ 87 h 126"/>
                  <a:gd name="T58" fmla="*/ 94 w 125"/>
                  <a:gd name="T59" fmla="*/ 77 h 126"/>
                  <a:gd name="T60" fmla="*/ 101 w 125"/>
                  <a:gd name="T61" fmla="*/ 68 h 126"/>
                  <a:gd name="T62" fmla="*/ 107 w 125"/>
                  <a:gd name="T63" fmla="*/ 57 h 126"/>
                  <a:gd name="T64" fmla="*/ 113 w 125"/>
                  <a:gd name="T65" fmla="*/ 47 h 126"/>
                  <a:gd name="T66" fmla="*/ 118 w 125"/>
                  <a:gd name="T67" fmla="*/ 35 h 126"/>
                  <a:gd name="T68" fmla="*/ 121 w 125"/>
                  <a:gd name="T69" fmla="*/ 23 h 126"/>
                  <a:gd name="T70" fmla="*/ 123 w 125"/>
                  <a:gd name="T71" fmla="*/ 12 h 126"/>
                  <a:gd name="T72" fmla="*/ 125 w 125"/>
                  <a:gd name="T73" fmla="*/ 0 h 126"/>
                  <a:gd name="T74" fmla="*/ 125 w 125"/>
                  <a:gd name="T7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 h="126">
                    <a:moveTo>
                      <a:pt x="125" y="0"/>
                    </a:moveTo>
                    <a:lnTo>
                      <a:pt x="125" y="0"/>
                    </a:lnTo>
                    <a:lnTo>
                      <a:pt x="114" y="2"/>
                    </a:lnTo>
                    <a:lnTo>
                      <a:pt x="102" y="4"/>
                    </a:lnTo>
                    <a:lnTo>
                      <a:pt x="90" y="7"/>
                    </a:lnTo>
                    <a:lnTo>
                      <a:pt x="79" y="12"/>
                    </a:lnTo>
                    <a:lnTo>
                      <a:pt x="68" y="18"/>
                    </a:lnTo>
                    <a:lnTo>
                      <a:pt x="58" y="24"/>
                    </a:lnTo>
                    <a:lnTo>
                      <a:pt x="48" y="32"/>
                    </a:lnTo>
                    <a:lnTo>
                      <a:pt x="39" y="40"/>
                    </a:lnTo>
                    <a:lnTo>
                      <a:pt x="39" y="40"/>
                    </a:lnTo>
                    <a:lnTo>
                      <a:pt x="30" y="50"/>
                    </a:lnTo>
                    <a:lnTo>
                      <a:pt x="23" y="59"/>
                    </a:lnTo>
                    <a:lnTo>
                      <a:pt x="16" y="70"/>
                    </a:lnTo>
                    <a:lnTo>
                      <a:pt x="11" y="81"/>
                    </a:lnTo>
                    <a:lnTo>
                      <a:pt x="7" y="92"/>
                    </a:lnTo>
                    <a:lnTo>
                      <a:pt x="3" y="103"/>
                    </a:lnTo>
                    <a:lnTo>
                      <a:pt x="1" y="114"/>
                    </a:lnTo>
                    <a:lnTo>
                      <a:pt x="0" y="126"/>
                    </a:lnTo>
                    <a:lnTo>
                      <a:pt x="0" y="126"/>
                    </a:lnTo>
                    <a:lnTo>
                      <a:pt x="11" y="125"/>
                    </a:lnTo>
                    <a:lnTo>
                      <a:pt x="23" y="123"/>
                    </a:lnTo>
                    <a:lnTo>
                      <a:pt x="33" y="119"/>
                    </a:lnTo>
                    <a:lnTo>
                      <a:pt x="45" y="114"/>
                    </a:lnTo>
                    <a:lnTo>
                      <a:pt x="56" y="109"/>
                    </a:lnTo>
                    <a:lnTo>
                      <a:pt x="66" y="103"/>
                    </a:lnTo>
                    <a:lnTo>
                      <a:pt x="76" y="95"/>
                    </a:lnTo>
                    <a:lnTo>
                      <a:pt x="85" y="87"/>
                    </a:lnTo>
                    <a:lnTo>
                      <a:pt x="85" y="87"/>
                    </a:lnTo>
                    <a:lnTo>
                      <a:pt x="94" y="77"/>
                    </a:lnTo>
                    <a:lnTo>
                      <a:pt x="101" y="68"/>
                    </a:lnTo>
                    <a:lnTo>
                      <a:pt x="107" y="57"/>
                    </a:lnTo>
                    <a:lnTo>
                      <a:pt x="113" y="47"/>
                    </a:lnTo>
                    <a:lnTo>
                      <a:pt x="118" y="35"/>
                    </a:lnTo>
                    <a:lnTo>
                      <a:pt x="121" y="23"/>
                    </a:lnTo>
                    <a:lnTo>
                      <a:pt x="123" y="12"/>
                    </a:lnTo>
                    <a:lnTo>
                      <a:pt x="125" y="0"/>
                    </a:lnTo>
                    <a:lnTo>
                      <a:pt x="1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50" name="Freeform 6">
                <a:extLst>
                  <a:ext uri="{FF2B5EF4-FFF2-40B4-BE49-F238E27FC236}">
                    <a16:creationId xmlns:a16="http://schemas.microsoft.com/office/drawing/2014/main" id="{CED29F08-82D3-A8B6-6CCB-18152F4F9E7B}"/>
                  </a:ext>
                </a:extLst>
              </p:cNvPr>
              <p:cNvSpPr>
                <a:spLocks/>
              </p:cNvSpPr>
              <p:nvPr/>
            </p:nvSpPr>
            <p:spPr bwMode="auto">
              <a:xfrm>
                <a:off x="9423710" y="734360"/>
                <a:ext cx="354" cy="435"/>
              </a:xfrm>
              <a:custGeom>
                <a:avLst/>
                <a:gdLst>
                  <a:gd name="T0" fmla="*/ 168 w 354"/>
                  <a:gd name="T1" fmla="*/ 285 h 435"/>
                  <a:gd name="T2" fmla="*/ 169 w 354"/>
                  <a:gd name="T3" fmla="*/ 262 h 435"/>
                  <a:gd name="T4" fmla="*/ 182 w 354"/>
                  <a:gd name="T5" fmla="*/ 251 h 435"/>
                  <a:gd name="T6" fmla="*/ 354 w 354"/>
                  <a:gd name="T7" fmla="*/ 251 h 435"/>
                  <a:gd name="T8" fmla="*/ 350 w 354"/>
                  <a:gd name="T9" fmla="*/ 218 h 435"/>
                  <a:gd name="T10" fmla="*/ 340 w 354"/>
                  <a:gd name="T11" fmla="*/ 188 h 435"/>
                  <a:gd name="T12" fmla="*/ 326 w 354"/>
                  <a:gd name="T13" fmla="*/ 160 h 435"/>
                  <a:gd name="T14" fmla="*/ 306 w 354"/>
                  <a:gd name="T15" fmla="*/ 135 h 435"/>
                  <a:gd name="T16" fmla="*/ 282 w 354"/>
                  <a:gd name="T17" fmla="*/ 115 h 435"/>
                  <a:gd name="T18" fmla="*/ 256 w 354"/>
                  <a:gd name="T19" fmla="*/ 98 h 435"/>
                  <a:gd name="T20" fmla="*/ 226 w 354"/>
                  <a:gd name="T21" fmla="*/ 86 h 435"/>
                  <a:gd name="T22" fmla="*/ 195 w 354"/>
                  <a:gd name="T23" fmla="*/ 80 h 435"/>
                  <a:gd name="T24" fmla="*/ 195 w 354"/>
                  <a:gd name="T25" fmla="*/ 0 h 435"/>
                  <a:gd name="T26" fmla="*/ 161 w 354"/>
                  <a:gd name="T27" fmla="*/ 80 h 435"/>
                  <a:gd name="T28" fmla="*/ 144 w 354"/>
                  <a:gd name="T29" fmla="*/ 83 h 435"/>
                  <a:gd name="T30" fmla="*/ 112 w 354"/>
                  <a:gd name="T31" fmla="*/ 92 h 435"/>
                  <a:gd name="T32" fmla="*/ 84 w 354"/>
                  <a:gd name="T33" fmla="*/ 107 h 435"/>
                  <a:gd name="T34" fmla="*/ 58 w 354"/>
                  <a:gd name="T35" fmla="*/ 126 h 435"/>
                  <a:gd name="T36" fmla="*/ 36 w 354"/>
                  <a:gd name="T37" fmla="*/ 150 h 435"/>
                  <a:gd name="T38" fmla="*/ 19 w 354"/>
                  <a:gd name="T39" fmla="*/ 178 h 435"/>
                  <a:gd name="T40" fmla="*/ 7 w 354"/>
                  <a:gd name="T41" fmla="*/ 207 h 435"/>
                  <a:gd name="T42" fmla="*/ 1 w 354"/>
                  <a:gd name="T43" fmla="*/ 240 h 435"/>
                  <a:gd name="T44" fmla="*/ 0 w 354"/>
                  <a:gd name="T45" fmla="*/ 257 h 435"/>
                  <a:gd name="T46" fmla="*/ 3 w 354"/>
                  <a:gd name="T47" fmla="*/ 293 h 435"/>
                  <a:gd name="T48" fmla="*/ 14 w 354"/>
                  <a:gd name="T49" fmla="*/ 326 h 435"/>
                  <a:gd name="T50" fmla="*/ 31 w 354"/>
                  <a:gd name="T51" fmla="*/ 357 h 435"/>
                  <a:gd name="T52" fmla="*/ 52 w 354"/>
                  <a:gd name="T53" fmla="*/ 383 h 435"/>
                  <a:gd name="T54" fmla="*/ 78 w 354"/>
                  <a:gd name="T55" fmla="*/ 404 h 435"/>
                  <a:gd name="T56" fmla="*/ 108 w 354"/>
                  <a:gd name="T57" fmla="*/ 421 h 435"/>
                  <a:gd name="T58" fmla="*/ 142 w 354"/>
                  <a:gd name="T59" fmla="*/ 431 h 435"/>
                  <a:gd name="T60" fmla="*/ 178 w 354"/>
                  <a:gd name="T61" fmla="*/ 435 h 435"/>
                  <a:gd name="T62" fmla="*/ 195 w 354"/>
                  <a:gd name="T63" fmla="*/ 434 h 435"/>
                  <a:gd name="T64" fmla="*/ 227 w 354"/>
                  <a:gd name="T65" fmla="*/ 428 h 435"/>
                  <a:gd name="T66" fmla="*/ 243 w 354"/>
                  <a:gd name="T67" fmla="*/ 422 h 435"/>
                  <a:gd name="T68" fmla="*/ 213 w 354"/>
                  <a:gd name="T69" fmla="*/ 397 h 435"/>
                  <a:gd name="T70" fmla="*/ 188 w 354"/>
                  <a:gd name="T71" fmla="*/ 364 h 435"/>
                  <a:gd name="T72" fmla="*/ 180 w 354"/>
                  <a:gd name="T73" fmla="*/ 346 h 435"/>
                  <a:gd name="T74" fmla="*/ 173 w 354"/>
                  <a:gd name="T75" fmla="*/ 327 h 435"/>
                  <a:gd name="T76" fmla="*/ 169 w 354"/>
                  <a:gd name="T77" fmla="*/ 306 h 435"/>
                  <a:gd name="T78" fmla="*/ 168 w 354"/>
                  <a:gd name="T79" fmla="*/ 285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4" h="435">
                    <a:moveTo>
                      <a:pt x="168" y="285"/>
                    </a:moveTo>
                    <a:lnTo>
                      <a:pt x="168" y="285"/>
                    </a:lnTo>
                    <a:lnTo>
                      <a:pt x="168" y="273"/>
                    </a:lnTo>
                    <a:lnTo>
                      <a:pt x="169" y="262"/>
                    </a:lnTo>
                    <a:lnTo>
                      <a:pt x="171" y="251"/>
                    </a:lnTo>
                    <a:lnTo>
                      <a:pt x="182" y="251"/>
                    </a:lnTo>
                    <a:lnTo>
                      <a:pt x="354" y="251"/>
                    </a:lnTo>
                    <a:lnTo>
                      <a:pt x="354" y="251"/>
                    </a:lnTo>
                    <a:lnTo>
                      <a:pt x="353" y="235"/>
                    </a:lnTo>
                    <a:lnTo>
                      <a:pt x="350" y="218"/>
                    </a:lnTo>
                    <a:lnTo>
                      <a:pt x="346" y="203"/>
                    </a:lnTo>
                    <a:lnTo>
                      <a:pt x="340" y="188"/>
                    </a:lnTo>
                    <a:lnTo>
                      <a:pt x="333" y="173"/>
                    </a:lnTo>
                    <a:lnTo>
                      <a:pt x="326" y="160"/>
                    </a:lnTo>
                    <a:lnTo>
                      <a:pt x="316" y="147"/>
                    </a:lnTo>
                    <a:lnTo>
                      <a:pt x="306" y="135"/>
                    </a:lnTo>
                    <a:lnTo>
                      <a:pt x="295" y="125"/>
                    </a:lnTo>
                    <a:lnTo>
                      <a:pt x="282" y="115"/>
                    </a:lnTo>
                    <a:lnTo>
                      <a:pt x="270" y="106"/>
                    </a:lnTo>
                    <a:lnTo>
                      <a:pt x="256" y="98"/>
                    </a:lnTo>
                    <a:lnTo>
                      <a:pt x="241" y="92"/>
                    </a:lnTo>
                    <a:lnTo>
                      <a:pt x="226" y="86"/>
                    </a:lnTo>
                    <a:lnTo>
                      <a:pt x="210" y="83"/>
                    </a:lnTo>
                    <a:lnTo>
                      <a:pt x="195" y="80"/>
                    </a:lnTo>
                    <a:lnTo>
                      <a:pt x="195" y="80"/>
                    </a:lnTo>
                    <a:lnTo>
                      <a:pt x="195" y="0"/>
                    </a:lnTo>
                    <a:lnTo>
                      <a:pt x="161" y="0"/>
                    </a:lnTo>
                    <a:lnTo>
                      <a:pt x="161" y="80"/>
                    </a:lnTo>
                    <a:lnTo>
                      <a:pt x="161" y="80"/>
                    </a:lnTo>
                    <a:lnTo>
                      <a:pt x="144" y="83"/>
                    </a:lnTo>
                    <a:lnTo>
                      <a:pt x="128" y="86"/>
                    </a:lnTo>
                    <a:lnTo>
                      <a:pt x="112" y="92"/>
                    </a:lnTo>
                    <a:lnTo>
                      <a:pt x="97" y="99"/>
                    </a:lnTo>
                    <a:lnTo>
                      <a:pt x="84" y="107"/>
                    </a:lnTo>
                    <a:lnTo>
                      <a:pt x="70" y="116"/>
                    </a:lnTo>
                    <a:lnTo>
                      <a:pt x="58" y="126"/>
                    </a:lnTo>
                    <a:lnTo>
                      <a:pt x="47" y="137"/>
                    </a:lnTo>
                    <a:lnTo>
                      <a:pt x="36" y="150"/>
                    </a:lnTo>
                    <a:lnTo>
                      <a:pt x="27" y="163"/>
                    </a:lnTo>
                    <a:lnTo>
                      <a:pt x="19" y="178"/>
                    </a:lnTo>
                    <a:lnTo>
                      <a:pt x="13" y="191"/>
                    </a:lnTo>
                    <a:lnTo>
                      <a:pt x="7" y="207"/>
                    </a:lnTo>
                    <a:lnTo>
                      <a:pt x="3" y="223"/>
                    </a:lnTo>
                    <a:lnTo>
                      <a:pt x="1" y="240"/>
                    </a:lnTo>
                    <a:lnTo>
                      <a:pt x="0" y="257"/>
                    </a:lnTo>
                    <a:lnTo>
                      <a:pt x="0" y="257"/>
                    </a:lnTo>
                    <a:lnTo>
                      <a:pt x="1" y="275"/>
                    </a:lnTo>
                    <a:lnTo>
                      <a:pt x="3" y="293"/>
                    </a:lnTo>
                    <a:lnTo>
                      <a:pt x="8" y="310"/>
                    </a:lnTo>
                    <a:lnTo>
                      <a:pt x="14" y="326"/>
                    </a:lnTo>
                    <a:lnTo>
                      <a:pt x="21" y="342"/>
                    </a:lnTo>
                    <a:lnTo>
                      <a:pt x="31" y="357"/>
                    </a:lnTo>
                    <a:lnTo>
                      <a:pt x="40" y="370"/>
                    </a:lnTo>
                    <a:lnTo>
                      <a:pt x="52" y="383"/>
                    </a:lnTo>
                    <a:lnTo>
                      <a:pt x="64" y="394"/>
                    </a:lnTo>
                    <a:lnTo>
                      <a:pt x="78" y="404"/>
                    </a:lnTo>
                    <a:lnTo>
                      <a:pt x="93" y="413"/>
                    </a:lnTo>
                    <a:lnTo>
                      <a:pt x="108" y="421"/>
                    </a:lnTo>
                    <a:lnTo>
                      <a:pt x="125" y="427"/>
                    </a:lnTo>
                    <a:lnTo>
                      <a:pt x="142" y="431"/>
                    </a:lnTo>
                    <a:lnTo>
                      <a:pt x="159" y="434"/>
                    </a:lnTo>
                    <a:lnTo>
                      <a:pt x="178" y="435"/>
                    </a:lnTo>
                    <a:lnTo>
                      <a:pt x="178" y="435"/>
                    </a:lnTo>
                    <a:lnTo>
                      <a:pt x="195" y="434"/>
                    </a:lnTo>
                    <a:lnTo>
                      <a:pt x="211" y="432"/>
                    </a:lnTo>
                    <a:lnTo>
                      <a:pt x="227" y="428"/>
                    </a:lnTo>
                    <a:lnTo>
                      <a:pt x="243" y="422"/>
                    </a:lnTo>
                    <a:lnTo>
                      <a:pt x="243" y="422"/>
                    </a:lnTo>
                    <a:lnTo>
                      <a:pt x="226" y="410"/>
                    </a:lnTo>
                    <a:lnTo>
                      <a:pt x="213" y="397"/>
                    </a:lnTo>
                    <a:lnTo>
                      <a:pt x="200" y="381"/>
                    </a:lnTo>
                    <a:lnTo>
                      <a:pt x="188" y="364"/>
                    </a:lnTo>
                    <a:lnTo>
                      <a:pt x="184" y="356"/>
                    </a:lnTo>
                    <a:lnTo>
                      <a:pt x="180" y="346"/>
                    </a:lnTo>
                    <a:lnTo>
                      <a:pt x="177" y="336"/>
                    </a:lnTo>
                    <a:lnTo>
                      <a:pt x="173" y="327"/>
                    </a:lnTo>
                    <a:lnTo>
                      <a:pt x="171" y="316"/>
                    </a:lnTo>
                    <a:lnTo>
                      <a:pt x="169" y="306"/>
                    </a:lnTo>
                    <a:lnTo>
                      <a:pt x="168" y="295"/>
                    </a:lnTo>
                    <a:lnTo>
                      <a:pt x="168" y="285"/>
                    </a:lnTo>
                    <a:lnTo>
                      <a:pt x="168"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51" name="Freeform 7">
                <a:extLst>
                  <a:ext uri="{FF2B5EF4-FFF2-40B4-BE49-F238E27FC236}">
                    <a16:creationId xmlns:a16="http://schemas.microsoft.com/office/drawing/2014/main" id="{A6C1E91E-A002-7265-3365-F0A4282F2128}"/>
                  </a:ext>
                </a:extLst>
              </p:cNvPr>
              <p:cNvSpPr>
                <a:spLocks/>
              </p:cNvSpPr>
              <p:nvPr/>
            </p:nvSpPr>
            <p:spPr bwMode="auto">
              <a:xfrm>
                <a:off x="9423957" y="734658"/>
                <a:ext cx="78" cy="109"/>
              </a:xfrm>
              <a:custGeom>
                <a:avLst/>
                <a:gdLst>
                  <a:gd name="T0" fmla="*/ 0 w 78"/>
                  <a:gd name="T1" fmla="*/ 78 h 109"/>
                  <a:gd name="T2" fmla="*/ 0 w 78"/>
                  <a:gd name="T3" fmla="*/ 78 h 109"/>
                  <a:gd name="T4" fmla="*/ 9 w 78"/>
                  <a:gd name="T5" fmla="*/ 84 h 109"/>
                  <a:gd name="T6" fmla="*/ 17 w 78"/>
                  <a:gd name="T7" fmla="*/ 90 h 109"/>
                  <a:gd name="T8" fmla="*/ 27 w 78"/>
                  <a:gd name="T9" fmla="*/ 96 h 109"/>
                  <a:gd name="T10" fmla="*/ 36 w 78"/>
                  <a:gd name="T11" fmla="*/ 101 h 109"/>
                  <a:gd name="T12" fmla="*/ 46 w 78"/>
                  <a:gd name="T13" fmla="*/ 104 h 109"/>
                  <a:gd name="T14" fmla="*/ 56 w 78"/>
                  <a:gd name="T15" fmla="*/ 107 h 109"/>
                  <a:gd name="T16" fmla="*/ 67 w 78"/>
                  <a:gd name="T17" fmla="*/ 108 h 109"/>
                  <a:gd name="T18" fmla="*/ 78 w 78"/>
                  <a:gd name="T19" fmla="*/ 109 h 109"/>
                  <a:gd name="T20" fmla="*/ 78 w 78"/>
                  <a:gd name="T21" fmla="*/ 0 h 109"/>
                  <a:gd name="T22" fmla="*/ 69 w 78"/>
                  <a:gd name="T23" fmla="*/ 9 h 109"/>
                  <a:gd name="T24" fmla="*/ 0 w 78"/>
                  <a:gd name="T25"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09">
                    <a:moveTo>
                      <a:pt x="0" y="78"/>
                    </a:moveTo>
                    <a:lnTo>
                      <a:pt x="0" y="78"/>
                    </a:lnTo>
                    <a:lnTo>
                      <a:pt x="9" y="84"/>
                    </a:lnTo>
                    <a:lnTo>
                      <a:pt x="17" y="90"/>
                    </a:lnTo>
                    <a:lnTo>
                      <a:pt x="27" y="96"/>
                    </a:lnTo>
                    <a:lnTo>
                      <a:pt x="36" y="101"/>
                    </a:lnTo>
                    <a:lnTo>
                      <a:pt x="46" y="104"/>
                    </a:lnTo>
                    <a:lnTo>
                      <a:pt x="56" y="107"/>
                    </a:lnTo>
                    <a:lnTo>
                      <a:pt x="67" y="108"/>
                    </a:lnTo>
                    <a:lnTo>
                      <a:pt x="78" y="109"/>
                    </a:lnTo>
                    <a:lnTo>
                      <a:pt x="78" y="0"/>
                    </a:lnTo>
                    <a:lnTo>
                      <a:pt x="69" y="9"/>
                    </a:lnTo>
                    <a:lnTo>
                      <a:pt x="0"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52" name="Freeform 8">
                <a:extLst>
                  <a:ext uri="{FF2B5EF4-FFF2-40B4-BE49-F238E27FC236}">
                    <a16:creationId xmlns:a16="http://schemas.microsoft.com/office/drawing/2014/main" id="{2D7BBEA7-EE3D-3AA1-1CA4-6E2BA9A9897D}"/>
                  </a:ext>
                </a:extLst>
              </p:cNvPr>
              <p:cNvSpPr>
                <a:spLocks/>
              </p:cNvSpPr>
              <p:nvPr/>
            </p:nvSpPr>
            <p:spPr bwMode="auto">
              <a:xfrm>
                <a:off x="9424045" y="734658"/>
                <a:ext cx="78" cy="109"/>
              </a:xfrm>
              <a:custGeom>
                <a:avLst/>
                <a:gdLst>
                  <a:gd name="T0" fmla="*/ 0 w 78"/>
                  <a:gd name="T1" fmla="*/ 0 h 109"/>
                  <a:gd name="T2" fmla="*/ 0 w 78"/>
                  <a:gd name="T3" fmla="*/ 109 h 109"/>
                  <a:gd name="T4" fmla="*/ 0 w 78"/>
                  <a:gd name="T5" fmla="*/ 109 h 109"/>
                  <a:gd name="T6" fmla="*/ 11 w 78"/>
                  <a:gd name="T7" fmla="*/ 108 h 109"/>
                  <a:gd name="T8" fmla="*/ 21 w 78"/>
                  <a:gd name="T9" fmla="*/ 107 h 109"/>
                  <a:gd name="T10" fmla="*/ 32 w 78"/>
                  <a:gd name="T11" fmla="*/ 104 h 109"/>
                  <a:gd name="T12" fmla="*/ 42 w 78"/>
                  <a:gd name="T13" fmla="*/ 101 h 109"/>
                  <a:gd name="T14" fmla="*/ 52 w 78"/>
                  <a:gd name="T15" fmla="*/ 96 h 109"/>
                  <a:gd name="T16" fmla="*/ 60 w 78"/>
                  <a:gd name="T17" fmla="*/ 90 h 109"/>
                  <a:gd name="T18" fmla="*/ 70 w 78"/>
                  <a:gd name="T19" fmla="*/ 84 h 109"/>
                  <a:gd name="T20" fmla="*/ 78 w 78"/>
                  <a:gd name="T21" fmla="*/ 78 h 109"/>
                  <a:gd name="T22" fmla="*/ 0 w 78"/>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09">
                    <a:moveTo>
                      <a:pt x="0" y="0"/>
                    </a:moveTo>
                    <a:lnTo>
                      <a:pt x="0" y="109"/>
                    </a:lnTo>
                    <a:lnTo>
                      <a:pt x="0" y="109"/>
                    </a:lnTo>
                    <a:lnTo>
                      <a:pt x="11" y="108"/>
                    </a:lnTo>
                    <a:lnTo>
                      <a:pt x="21" y="107"/>
                    </a:lnTo>
                    <a:lnTo>
                      <a:pt x="32" y="104"/>
                    </a:lnTo>
                    <a:lnTo>
                      <a:pt x="42" y="101"/>
                    </a:lnTo>
                    <a:lnTo>
                      <a:pt x="52" y="96"/>
                    </a:lnTo>
                    <a:lnTo>
                      <a:pt x="60" y="90"/>
                    </a:lnTo>
                    <a:lnTo>
                      <a:pt x="70" y="84"/>
                    </a:lnTo>
                    <a:lnTo>
                      <a:pt x="78" y="7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53" name="Freeform 9">
                <a:extLst>
                  <a:ext uri="{FF2B5EF4-FFF2-40B4-BE49-F238E27FC236}">
                    <a16:creationId xmlns:a16="http://schemas.microsoft.com/office/drawing/2014/main" id="{5E786A47-8476-ADC5-E3A7-366B29F9599D}"/>
                  </a:ext>
                </a:extLst>
              </p:cNvPr>
              <p:cNvSpPr>
                <a:spLocks noEditPoints="1"/>
              </p:cNvSpPr>
              <p:nvPr/>
            </p:nvSpPr>
            <p:spPr bwMode="auto">
              <a:xfrm>
                <a:off x="9423891" y="734623"/>
                <a:ext cx="299" cy="172"/>
              </a:xfrm>
              <a:custGeom>
                <a:avLst/>
                <a:gdLst>
                  <a:gd name="T0" fmla="*/ 1 w 299"/>
                  <a:gd name="T1" fmla="*/ 0 h 172"/>
                  <a:gd name="T2" fmla="*/ 0 w 299"/>
                  <a:gd name="T3" fmla="*/ 11 h 172"/>
                  <a:gd name="T4" fmla="*/ 0 w 299"/>
                  <a:gd name="T5" fmla="*/ 22 h 172"/>
                  <a:gd name="T6" fmla="*/ 3 w 299"/>
                  <a:gd name="T7" fmla="*/ 52 h 172"/>
                  <a:gd name="T8" fmla="*/ 11 w 299"/>
                  <a:gd name="T9" fmla="*/ 80 h 172"/>
                  <a:gd name="T10" fmla="*/ 25 w 299"/>
                  <a:gd name="T11" fmla="*/ 105 h 172"/>
                  <a:gd name="T12" fmla="*/ 43 w 299"/>
                  <a:gd name="T13" fmla="*/ 128 h 172"/>
                  <a:gd name="T14" fmla="*/ 65 w 299"/>
                  <a:gd name="T15" fmla="*/ 147 h 172"/>
                  <a:gd name="T16" fmla="*/ 91 w 299"/>
                  <a:gd name="T17" fmla="*/ 160 h 172"/>
                  <a:gd name="T18" fmla="*/ 119 w 299"/>
                  <a:gd name="T19" fmla="*/ 169 h 172"/>
                  <a:gd name="T20" fmla="*/ 149 w 299"/>
                  <a:gd name="T21" fmla="*/ 172 h 172"/>
                  <a:gd name="T22" fmla="*/ 165 w 299"/>
                  <a:gd name="T23" fmla="*/ 171 h 172"/>
                  <a:gd name="T24" fmla="*/ 193 w 299"/>
                  <a:gd name="T25" fmla="*/ 165 h 172"/>
                  <a:gd name="T26" fmla="*/ 221 w 299"/>
                  <a:gd name="T27" fmla="*/ 154 h 172"/>
                  <a:gd name="T28" fmla="*/ 244 w 299"/>
                  <a:gd name="T29" fmla="*/ 137 h 172"/>
                  <a:gd name="T30" fmla="*/ 264 w 299"/>
                  <a:gd name="T31" fmla="*/ 117 h 172"/>
                  <a:gd name="T32" fmla="*/ 280 w 299"/>
                  <a:gd name="T33" fmla="*/ 94 h 172"/>
                  <a:gd name="T34" fmla="*/ 292 w 299"/>
                  <a:gd name="T35" fmla="*/ 66 h 172"/>
                  <a:gd name="T36" fmla="*/ 298 w 299"/>
                  <a:gd name="T37" fmla="*/ 37 h 172"/>
                  <a:gd name="T38" fmla="*/ 299 w 299"/>
                  <a:gd name="T39" fmla="*/ 22 h 172"/>
                  <a:gd name="T40" fmla="*/ 297 w 299"/>
                  <a:gd name="T41" fmla="*/ 0 h 172"/>
                  <a:gd name="T42" fmla="*/ 282 w 299"/>
                  <a:gd name="T43" fmla="*/ 22 h 172"/>
                  <a:gd name="T44" fmla="*/ 282 w 299"/>
                  <a:gd name="T45" fmla="*/ 34 h 172"/>
                  <a:gd name="T46" fmla="*/ 277 w 299"/>
                  <a:gd name="T47" fmla="*/ 59 h 172"/>
                  <a:gd name="T48" fmla="*/ 268 w 299"/>
                  <a:gd name="T49" fmla="*/ 82 h 172"/>
                  <a:gd name="T50" fmla="*/ 256 w 299"/>
                  <a:gd name="T51" fmla="*/ 103 h 172"/>
                  <a:gd name="T52" fmla="*/ 247 w 299"/>
                  <a:gd name="T53" fmla="*/ 113 h 172"/>
                  <a:gd name="T54" fmla="*/ 243 w 299"/>
                  <a:gd name="T55" fmla="*/ 117 h 172"/>
                  <a:gd name="T56" fmla="*/ 240 w 299"/>
                  <a:gd name="T57" fmla="*/ 120 h 172"/>
                  <a:gd name="T58" fmla="*/ 240 w 299"/>
                  <a:gd name="T59" fmla="*/ 120 h 172"/>
                  <a:gd name="T60" fmla="*/ 221 w 299"/>
                  <a:gd name="T61" fmla="*/ 135 h 172"/>
                  <a:gd name="T62" fmla="*/ 200 w 299"/>
                  <a:gd name="T63" fmla="*/ 146 h 172"/>
                  <a:gd name="T64" fmla="*/ 177 w 299"/>
                  <a:gd name="T65" fmla="*/ 153 h 172"/>
                  <a:gd name="T66" fmla="*/ 154 w 299"/>
                  <a:gd name="T67" fmla="*/ 155 h 172"/>
                  <a:gd name="T68" fmla="*/ 149 w 299"/>
                  <a:gd name="T69" fmla="*/ 156 h 172"/>
                  <a:gd name="T70" fmla="*/ 149 w 299"/>
                  <a:gd name="T71" fmla="*/ 156 h 172"/>
                  <a:gd name="T72" fmla="*/ 144 w 299"/>
                  <a:gd name="T73" fmla="*/ 155 h 172"/>
                  <a:gd name="T74" fmla="*/ 132 w 299"/>
                  <a:gd name="T75" fmla="*/ 154 h 172"/>
                  <a:gd name="T76" fmla="*/ 109 w 299"/>
                  <a:gd name="T77" fmla="*/ 150 h 172"/>
                  <a:gd name="T78" fmla="*/ 88 w 299"/>
                  <a:gd name="T79" fmla="*/ 140 h 172"/>
                  <a:gd name="T80" fmla="*/ 67 w 299"/>
                  <a:gd name="T81" fmla="*/ 128 h 172"/>
                  <a:gd name="T82" fmla="*/ 58 w 299"/>
                  <a:gd name="T83" fmla="*/ 120 h 172"/>
                  <a:gd name="T84" fmla="*/ 51 w 299"/>
                  <a:gd name="T85" fmla="*/ 113 h 172"/>
                  <a:gd name="T86" fmla="*/ 51 w 299"/>
                  <a:gd name="T87" fmla="*/ 113 h 172"/>
                  <a:gd name="T88" fmla="*/ 36 w 299"/>
                  <a:gd name="T89" fmla="*/ 93 h 172"/>
                  <a:gd name="T90" fmla="*/ 25 w 299"/>
                  <a:gd name="T91" fmla="*/ 70 h 172"/>
                  <a:gd name="T92" fmla="*/ 18 w 299"/>
                  <a:gd name="T93" fmla="*/ 47 h 172"/>
                  <a:gd name="T94" fmla="*/ 16 w 299"/>
                  <a:gd name="T95" fmla="*/ 22 h 172"/>
                  <a:gd name="T96" fmla="*/ 282 w 299"/>
                  <a:gd name="T97" fmla="*/ 1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9" h="172">
                    <a:moveTo>
                      <a:pt x="297" y="0"/>
                    </a:moveTo>
                    <a:lnTo>
                      <a:pt x="1" y="0"/>
                    </a:lnTo>
                    <a:lnTo>
                      <a:pt x="1" y="0"/>
                    </a:lnTo>
                    <a:lnTo>
                      <a:pt x="0" y="11"/>
                    </a:lnTo>
                    <a:lnTo>
                      <a:pt x="0" y="22"/>
                    </a:lnTo>
                    <a:lnTo>
                      <a:pt x="0" y="22"/>
                    </a:lnTo>
                    <a:lnTo>
                      <a:pt x="0" y="37"/>
                    </a:lnTo>
                    <a:lnTo>
                      <a:pt x="3" y="52"/>
                    </a:lnTo>
                    <a:lnTo>
                      <a:pt x="6" y="66"/>
                    </a:lnTo>
                    <a:lnTo>
                      <a:pt x="11" y="80"/>
                    </a:lnTo>
                    <a:lnTo>
                      <a:pt x="18" y="94"/>
                    </a:lnTo>
                    <a:lnTo>
                      <a:pt x="25" y="105"/>
                    </a:lnTo>
                    <a:lnTo>
                      <a:pt x="34" y="117"/>
                    </a:lnTo>
                    <a:lnTo>
                      <a:pt x="43" y="128"/>
                    </a:lnTo>
                    <a:lnTo>
                      <a:pt x="54" y="137"/>
                    </a:lnTo>
                    <a:lnTo>
                      <a:pt x="65" y="147"/>
                    </a:lnTo>
                    <a:lnTo>
                      <a:pt x="78" y="154"/>
                    </a:lnTo>
                    <a:lnTo>
                      <a:pt x="91" y="160"/>
                    </a:lnTo>
                    <a:lnTo>
                      <a:pt x="104" y="165"/>
                    </a:lnTo>
                    <a:lnTo>
                      <a:pt x="119" y="169"/>
                    </a:lnTo>
                    <a:lnTo>
                      <a:pt x="134" y="171"/>
                    </a:lnTo>
                    <a:lnTo>
                      <a:pt x="149" y="172"/>
                    </a:lnTo>
                    <a:lnTo>
                      <a:pt x="149" y="172"/>
                    </a:lnTo>
                    <a:lnTo>
                      <a:pt x="165" y="171"/>
                    </a:lnTo>
                    <a:lnTo>
                      <a:pt x="180" y="169"/>
                    </a:lnTo>
                    <a:lnTo>
                      <a:pt x="193" y="165"/>
                    </a:lnTo>
                    <a:lnTo>
                      <a:pt x="207" y="160"/>
                    </a:lnTo>
                    <a:lnTo>
                      <a:pt x="221" y="154"/>
                    </a:lnTo>
                    <a:lnTo>
                      <a:pt x="232" y="147"/>
                    </a:lnTo>
                    <a:lnTo>
                      <a:pt x="244" y="137"/>
                    </a:lnTo>
                    <a:lnTo>
                      <a:pt x="255" y="128"/>
                    </a:lnTo>
                    <a:lnTo>
                      <a:pt x="264" y="117"/>
                    </a:lnTo>
                    <a:lnTo>
                      <a:pt x="273" y="105"/>
                    </a:lnTo>
                    <a:lnTo>
                      <a:pt x="280" y="94"/>
                    </a:lnTo>
                    <a:lnTo>
                      <a:pt x="286" y="80"/>
                    </a:lnTo>
                    <a:lnTo>
                      <a:pt x="292" y="66"/>
                    </a:lnTo>
                    <a:lnTo>
                      <a:pt x="296" y="52"/>
                    </a:lnTo>
                    <a:lnTo>
                      <a:pt x="298" y="37"/>
                    </a:lnTo>
                    <a:lnTo>
                      <a:pt x="299" y="22"/>
                    </a:lnTo>
                    <a:lnTo>
                      <a:pt x="299" y="22"/>
                    </a:lnTo>
                    <a:lnTo>
                      <a:pt x="298" y="11"/>
                    </a:lnTo>
                    <a:lnTo>
                      <a:pt x="297" y="0"/>
                    </a:lnTo>
                    <a:lnTo>
                      <a:pt x="297" y="0"/>
                    </a:lnTo>
                    <a:close/>
                    <a:moveTo>
                      <a:pt x="282" y="22"/>
                    </a:moveTo>
                    <a:lnTo>
                      <a:pt x="282" y="22"/>
                    </a:lnTo>
                    <a:lnTo>
                      <a:pt x="282" y="34"/>
                    </a:lnTo>
                    <a:lnTo>
                      <a:pt x="280" y="47"/>
                    </a:lnTo>
                    <a:lnTo>
                      <a:pt x="277" y="59"/>
                    </a:lnTo>
                    <a:lnTo>
                      <a:pt x="274" y="70"/>
                    </a:lnTo>
                    <a:lnTo>
                      <a:pt x="268" y="82"/>
                    </a:lnTo>
                    <a:lnTo>
                      <a:pt x="262" y="93"/>
                    </a:lnTo>
                    <a:lnTo>
                      <a:pt x="256" y="103"/>
                    </a:lnTo>
                    <a:lnTo>
                      <a:pt x="247" y="113"/>
                    </a:lnTo>
                    <a:lnTo>
                      <a:pt x="247" y="113"/>
                    </a:lnTo>
                    <a:lnTo>
                      <a:pt x="243" y="117"/>
                    </a:lnTo>
                    <a:lnTo>
                      <a:pt x="243" y="117"/>
                    </a:lnTo>
                    <a:lnTo>
                      <a:pt x="243" y="117"/>
                    </a:lnTo>
                    <a:lnTo>
                      <a:pt x="240" y="120"/>
                    </a:lnTo>
                    <a:lnTo>
                      <a:pt x="240" y="120"/>
                    </a:lnTo>
                    <a:lnTo>
                      <a:pt x="240" y="120"/>
                    </a:lnTo>
                    <a:lnTo>
                      <a:pt x="230" y="128"/>
                    </a:lnTo>
                    <a:lnTo>
                      <a:pt x="221" y="135"/>
                    </a:lnTo>
                    <a:lnTo>
                      <a:pt x="210" y="140"/>
                    </a:lnTo>
                    <a:lnTo>
                      <a:pt x="200" y="146"/>
                    </a:lnTo>
                    <a:lnTo>
                      <a:pt x="189" y="150"/>
                    </a:lnTo>
                    <a:lnTo>
                      <a:pt x="177" y="153"/>
                    </a:lnTo>
                    <a:lnTo>
                      <a:pt x="166" y="154"/>
                    </a:lnTo>
                    <a:lnTo>
                      <a:pt x="154" y="155"/>
                    </a:lnTo>
                    <a:lnTo>
                      <a:pt x="154" y="156"/>
                    </a:lnTo>
                    <a:lnTo>
                      <a:pt x="149" y="156"/>
                    </a:lnTo>
                    <a:lnTo>
                      <a:pt x="149" y="156"/>
                    </a:lnTo>
                    <a:lnTo>
                      <a:pt x="149" y="156"/>
                    </a:lnTo>
                    <a:lnTo>
                      <a:pt x="144" y="156"/>
                    </a:lnTo>
                    <a:lnTo>
                      <a:pt x="144" y="155"/>
                    </a:lnTo>
                    <a:lnTo>
                      <a:pt x="144" y="155"/>
                    </a:lnTo>
                    <a:lnTo>
                      <a:pt x="132" y="154"/>
                    </a:lnTo>
                    <a:lnTo>
                      <a:pt x="120" y="153"/>
                    </a:lnTo>
                    <a:lnTo>
                      <a:pt x="109" y="150"/>
                    </a:lnTo>
                    <a:lnTo>
                      <a:pt x="98" y="146"/>
                    </a:lnTo>
                    <a:lnTo>
                      <a:pt x="88" y="140"/>
                    </a:lnTo>
                    <a:lnTo>
                      <a:pt x="77" y="135"/>
                    </a:lnTo>
                    <a:lnTo>
                      <a:pt x="67" y="128"/>
                    </a:lnTo>
                    <a:lnTo>
                      <a:pt x="59" y="120"/>
                    </a:lnTo>
                    <a:lnTo>
                      <a:pt x="58" y="120"/>
                    </a:lnTo>
                    <a:lnTo>
                      <a:pt x="55" y="117"/>
                    </a:lnTo>
                    <a:lnTo>
                      <a:pt x="51" y="113"/>
                    </a:lnTo>
                    <a:lnTo>
                      <a:pt x="51" y="113"/>
                    </a:lnTo>
                    <a:lnTo>
                      <a:pt x="51" y="113"/>
                    </a:lnTo>
                    <a:lnTo>
                      <a:pt x="43" y="103"/>
                    </a:lnTo>
                    <a:lnTo>
                      <a:pt x="36" y="93"/>
                    </a:lnTo>
                    <a:lnTo>
                      <a:pt x="29" y="82"/>
                    </a:lnTo>
                    <a:lnTo>
                      <a:pt x="25" y="70"/>
                    </a:lnTo>
                    <a:lnTo>
                      <a:pt x="21" y="59"/>
                    </a:lnTo>
                    <a:lnTo>
                      <a:pt x="18" y="47"/>
                    </a:lnTo>
                    <a:lnTo>
                      <a:pt x="16" y="34"/>
                    </a:lnTo>
                    <a:lnTo>
                      <a:pt x="16" y="22"/>
                    </a:lnTo>
                    <a:lnTo>
                      <a:pt x="16" y="16"/>
                    </a:lnTo>
                    <a:lnTo>
                      <a:pt x="282" y="16"/>
                    </a:lnTo>
                    <a:lnTo>
                      <a:pt x="282"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54" name="Freeform 10">
                <a:extLst>
                  <a:ext uri="{FF2B5EF4-FFF2-40B4-BE49-F238E27FC236}">
                    <a16:creationId xmlns:a16="http://schemas.microsoft.com/office/drawing/2014/main" id="{F0BFD01F-7BC5-CAD5-A476-EE4AC39EB1AB}"/>
                  </a:ext>
                </a:extLst>
              </p:cNvPr>
              <p:cNvSpPr>
                <a:spLocks/>
              </p:cNvSpPr>
              <p:nvPr/>
            </p:nvSpPr>
            <p:spPr bwMode="auto">
              <a:xfrm>
                <a:off x="9424053" y="734650"/>
                <a:ext cx="110" cy="78"/>
              </a:xfrm>
              <a:custGeom>
                <a:avLst/>
                <a:gdLst>
                  <a:gd name="T0" fmla="*/ 110 w 110"/>
                  <a:gd name="T1" fmla="*/ 0 h 78"/>
                  <a:gd name="T2" fmla="*/ 0 w 110"/>
                  <a:gd name="T3" fmla="*/ 0 h 78"/>
                  <a:gd name="T4" fmla="*/ 78 w 110"/>
                  <a:gd name="T5" fmla="*/ 78 h 78"/>
                  <a:gd name="T6" fmla="*/ 78 w 110"/>
                  <a:gd name="T7" fmla="*/ 78 h 78"/>
                  <a:gd name="T8" fmla="*/ 84 w 110"/>
                  <a:gd name="T9" fmla="*/ 70 h 78"/>
                  <a:gd name="T10" fmla="*/ 90 w 110"/>
                  <a:gd name="T11" fmla="*/ 61 h 78"/>
                  <a:gd name="T12" fmla="*/ 96 w 110"/>
                  <a:gd name="T13" fmla="*/ 52 h 78"/>
                  <a:gd name="T14" fmla="*/ 100 w 110"/>
                  <a:gd name="T15" fmla="*/ 42 h 78"/>
                  <a:gd name="T16" fmla="*/ 104 w 110"/>
                  <a:gd name="T17" fmla="*/ 32 h 78"/>
                  <a:gd name="T18" fmla="*/ 106 w 110"/>
                  <a:gd name="T19" fmla="*/ 22 h 78"/>
                  <a:gd name="T20" fmla="*/ 108 w 110"/>
                  <a:gd name="T21" fmla="*/ 12 h 78"/>
                  <a:gd name="T22" fmla="*/ 110 w 110"/>
                  <a:gd name="T23" fmla="*/ 0 h 78"/>
                  <a:gd name="T24" fmla="*/ 110 w 110"/>
                  <a:gd name="T2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78">
                    <a:moveTo>
                      <a:pt x="110" y="0"/>
                    </a:moveTo>
                    <a:lnTo>
                      <a:pt x="0" y="0"/>
                    </a:lnTo>
                    <a:lnTo>
                      <a:pt x="78" y="78"/>
                    </a:lnTo>
                    <a:lnTo>
                      <a:pt x="78" y="78"/>
                    </a:lnTo>
                    <a:lnTo>
                      <a:pt x="84" y="70"/>
                    </a:lnTo>
                    <a:lnTo>
                      <a:pt x="90" y="61"/>
                    </a:lnTo>
                    <a:lnTo>
                      <a:pt x="96" y="52"/>
                    </a:lnTo>
                    <a:lnTo>
                      <a:pt x="100" y="42"/>
                    </a:lnTo>
                    <a:lnTo>
                      <a:pt x="104" y="32"/>
                    </a:lnTo>
                    <a:lnTo>
                      <a:pt x="106" y="22"/>
                    </a:lnTo>
                    <a:lnTo>
                      <a:pt x="108" y="12"/>
                    </a:lnTo>
                    <a:lnTo>
                      <a:pt x="110" y="0"/>
                    </a:lnTo>
                    <a:lnTo>
                      <a:pt x="1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55" name="Freeform 11">
                <a:extLst>
                  <a:ext uri="{FF2B5EF4-FFF2-40B4-BE49-F238E27FC236}">
                    <a16:creationId xmlns:a16="http://schemas.microsoft.com/office/drawing/2014/main" id="{44A43490-F8F8-19CB-9359-37E1C4B3519A}"/>
                  </a:ext>
                </a:extLst>
              </p:cNvPr>
              <p:cNvSpPr>
                <a:spLocks/>
              </p:cNvSpPr>
              <p:nvPr/>
            </p:nvSpPr>
            <p:spPr bwMode="auto">
              <a:xfrm>
                <a:off x="9423917" y="734650"/>
                <a:ext cx="110" cy="78"/>
              </a:xfrm>
              <a:custGeom>
                <a:avLst/>
                <a:gdLst>
                  <a:gd name="T0" fmla="*/ 77 w 110"/>
                  <a:gd name="T1" fmla="*/ 33 h 78"/>
                  <a:gd name="T2" fmla="*/ 110 w 110"/>
                  <a:gd name="T3" fmla="*/ 0 h 78"/>
                  <a:gd name="T4" fmla="*/ 0 w 110"/>
                  <a:gd name="T5" fmla="*/ 0 h 78"/>
                  <a:gd name="T6" fmla="*/ 0 w 110"/>
                  <a:gd name="T7" fmla="*/ 0 h 78"/>
                  <a:gd name="T8" fmla="*/ 1 w 110"/>
                  <a:gd name="T9" fmla="*/ 12 h 78"/>
                  <a:gd name="T10" fmla="*/ 3 w 110"/>
                  <a:gd name="T11" fmla="*/ 22 h 78"/>
                  <a:gd name="T12" fmla="*/ 6 w 110"/>
                  <a:gd name="T13" fmla="*/ 32 h 78"/>
                  <a:gd name="T14" fmla="*/ 10 w 110"/>
                  <a:gd name="T15" fmla="*/ 42 h 78"/>
                  <a:gd name="T16" fmla="*/ 14 w 110"/>
                  <a:gd name="T17" fmla="*/ 52 h 78"/>
                  <a:gd name="T18" fmla="*/ 19 w 110"/>
                  <a:gd name="T19" fmla="*/ 61 h 78"/>
                  <a:gd name="T20" fmla="*/ 26 w 110"/>
                  <a:gd name="T21" fmla="*/ 70 h 78"/>
                  <a:gd name="T22" fmla="*/ 33 w 110"/>
                  <a:gd name="T23" fmla="*/ 78 h 78"/>
                  <a:gd name="T24" fmla="*/ 77 w 110"/>
                  <a:gd name="T25" fmla="*/ 3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78">
                    <a:moveTo>
                      <a:pt x="77" y="33"/>
                    </a:moveTo>
                    <a:lnTo>
                      <a:pt x="110" y="0"/>
                    </a:lnTo>
                    <a:lnTo>
                      <a:pt x="0" y="0"/>
                    </a:lnTo>
                    <a:lnTo>
                      <a:pt x="0" y="0"/>
                    </a:lnTo>
                    <a:lnTo>
                      <a:pt x="1" y="12"/>
                    </a:lnTo>
                    <a:lnTo>
                      <a:pt x="3" y="22"/>
                    </a:lnTo>
                    <a:lnTo>
                      <a:pt x="6" y="32"/>
                    </a:lnTo>
                    <a:lnTo>
                      <a:pt x="10" y="42"/>
                    </a:lnTo>
                    <a:lnTo>
                      <a:pt x="14" y="52"/>
                    </a:lnTo>
                    <a:lnTo>
                      <a:pt x="19" y="61"/>
                    </a:lnTo>
                    <a:lnTo>
                      <a:pt x="26" y="70"/>
                    </a:lnTo>
                    <a:lnTo>
                      <a:pt x="33" y="78"/>
                    </a:lnTo>
                    <a:lnTo>
                      <a:pt x="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grpSp>
        <p:grpSp>
          <p:nvGrpSpPr>
            <p:cNvPr id="122" name="Group 121">
              <a:extLst>
                <a:ext uri="{FF2B5EF4-FFF2-40B4-BE49-F238E27FC236}">
                  <a16:creationId xmlns:a16="http://schemas.microsoft.com/office/drawing/2014/main" id="{43E047F2-E74D-CAEB-FD19-ADA764A5225D}"/>
                </a:ext>
              </a:extLst>
            </p:cNvPr>
            <p:cNvGrpSpPr>
              <a:grpSpLocks noChangeAspect="1"/>
            </p:cNvGrpSpPr>
            <p:nvPr/>
          </p:nvGrpSpPr>
          <p:grpSpPr bwMode="auto">
            <a:xfrm>
              <a:off x="8549085" y="1091645"/>
              <a:ext cx="394012" cy="885600"/>
              <a:chOff x="8584855" y="1093779"/>
              <a:chExt cx="480" cy="1025"/>
            </a:xfrm>
            <a:solidFill>
              <a:srgbClr val="5FA04D"/>
            </a:solidFill>
          </p:grpSpPr>
          <p:sp>
            <p:nvSpPr>
              <p:cNvPr id="147" name="Freeform 5">
                <a:extLst>
                  <a:ext uri="{FF2B5EF4-FFF2-40B4-BE49-F238E27FC236}">
                    <a16:creationId xmlns:a16="http://schemas.microsoft.com/office/drawing/2014/main" id="{E9D7F8DA-F4AF-70E8-71D7-16304E600F91}"/>
                  </a:ext>
                </a:extLst>
              </p:cNvPr>
              <p:cNvSpPr>
                <a:spLocks/>
              </p:cNvSpPr>
              <p:nvPr/>
            </p:nvSpPr>
            <p:spPr bwMode="auto">
              <a:xfrm>
                <a:off x="8584973" y="1094212"/>
                <a:ext cx="99" cy="64"/>
              </a:xfrm>
              <a:custGeom>
                <a:avLst/>
                <a:gdLst>
                  <a:gd name="T0" fmla="*/ 95 w 99"/>
                  <a:gd name="T1" fmla="*/ 50 h 64"/>
                  <a:gd name="T2" fmla="*/ 95 w 99"/>
                  <a:gd name="T3" fmla="*/ 50 h 64"/>
                  <a:gd name="T4" fmla="*/ 97 w 99"/>
                  <a:gd name="T5" fmla="*/ 41 h 64"/>
                  <a:gd name="T6" fmla="*/ 99 w 99"/>
                  <a:gd name="T7" fmla="*/ 32 h 64"/>
                  <a:gd name="T8" fmla="*/ 99 w 99"/>
                  <a:gd name="T9" fmla="*/ 32 h 64"/>
                  <a:gd name="T10" fmla="*/ 97 w 99"/>
                  <a:gd name="T11" fmla="*/ 21 h 64"/>
                  <a:gd name="T12" fmla="*/ 93 w 99"/>
                  <a:gd name="T13" fmla="*/ 12 h 64"/>
                  <a:gd name="T14" fmla="*/ 93 w 99"/>
                  <a:gd name="T15" fmla="*/ 12 h 64"/>
                  <a:gd name="T16" fmla="*/ 86 w 99"/>
                  <a:gd name="T17" fmla="*/ 5 h 64"/>
                  <a:gd name="T18" fmla="*/ 74 w 99"/>
                  <a:gd name="T19" fmla="*/ 3 h 64"/>
                  <a:gd name="T20" fmla="*/ 74 w 99"/>
                  <a:gd name="T21" fmla="*/ 3 h 64"/>
                  <a:gd name="T22" fmla="*/ 38 w 99"/>
                  <a:gd name="T23" fmla="*/ 0 h 64"/>
                  <a:gd name="T24" fmla="*/ 0 w 99"/>
                  <a:gd name="T25" fmla="*/ 0 h 64"/>
                  <a:gd name="T26" fmla="*/ 0 w 99"/>
                  <a:gd name="T27" fmla="*/ 64 h 64"/>
                  <a:gd name="T28" fmla="*/ 36 w 99"/>
                  <a:gd name="T29" fmla="*/ 64 h 64"/>
                  <a:gd name="T30" fmla="*/ 36 w 99"/>
                  <a:gd name="T31" fmla="*/ 64 h 64"/>
                  <a:gd name="T32" fmla="*/ 65 w 99"/>
                  <a:gd name="T33" fmla="*/ 61 h 64"/>
                  <a:gd name="T34" fmla="*/ 81 w 99"/>
                  <a:gd name="T35" fmla="*/ 59 h 64"/>
                  <a:gd name="T36" fmla="*/ 81 w 99"/>
                  <a:gd name="T37" fmla="*/ 59 h 64"/>
                  <a:gd name="T38" fmla="*/ 88 w 99"/>
                  <a:gd name="T39" fmla="*/ 55 h 64"/>
                  <a:gd name="T40" fmla="*/ 95 w 99"/>
                  <a:gd name="T41" fmla="*/ 50 h 64"/>
                  <a:gd name="T42" fmla="*/ 95 w 99"/>
                  <a:gd name="T43"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9" h="64">
                    <a:moveTo>
                      <a:pt x="95" y="50"/>
                    </a:moveTo>
                    <a:lnTo>
                      <a:pt x="95" y="50"/>
                    </a:lnTo>
                    <a:lnTo>
                      <a:pt x="97" y="41"/>
                    </a:lnTo>
                    <a:lnTo>
                      <a:pt x="99" y="32"/>
                    </a:lnTo>
                    <a:lnTo>
                      <a:pt x="99" y="32"/>
                    </a:lnTo>
                    <a:lnTo>
                      <a:pt x="97" y="21"/>
                    </a:lnTo>
                    <a:lnTo>
                      <a:pt x="93" y="12"/>
                    </a:lnTo>
                    <a:lnTo>
                      <a:pt x="93" y="12"/>
                    </a:lnTo>
                    <a:lnTo>
                      <a:pt x="86" y="5"/>
                    </a:lnTo>
                    <a:lnTo>
                      <a:pt x="74" y="3"/>
                    </a:lnTo>
                    <a:lnTo>
                      <a:pt x="74" y="3"/>
                    </a:lnTo>
                    <a:lnTo>
                      <a:pt x="38" y="0"/>
                    </a:lnTo>
                    <a:lnTo>
                      <a:pt x="0" y="0"/>
                    </a:lnTo>
                    <a:lnTo>
                      <a:pt x="0" y="64"/>
                    </a:lnTo>
                    <a:lnTo>
                      <a:pt x="36" y="64"/>
                    </a:lnTo>
                    <a:lnTo>
                      <a:pt x="36" y="64"/>
                    </a:lnTo>
                    <a:lnTo>
                      <a:pt x="65" y="61"/>
                    </a:lnTo>
                    <a:lnTo>
                      <a:pt x="81" y="59"/>
                    </a:lnTo>
                    <a:lnTo>
                      <a:pt x="81" y="59"/>
                    </a:lnTo>
                    <a:lnTo>
                      <a:pt x="88" y="55"/>
                    </a:lnTo>
                    <a:lnTo>
                      <a:pt x="95" y="50"/>
                    </a:lnTo>
                    <a:lnTo>
                      <a:pt x="95"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48" name="Freeform 6">
                <a:extLst>
                  <a:ext uri="{FF2B5EF4-FFF2-40B4-BE49-F238E27FC236}">
                    <a16:creationId xmlns:a16="http://schemas.microsoft.com/office/drawing/2014/main" id="{F1AC6BA3-6F68-AE08-5394-B16A432311EF}"/>
                  </a:ext>
                </a:extLst>
              </p:cNvPr>
              <p:cNvSpPr>
                <a:spLocks noEditPoints="1"/>
              </p:cNvSpPr>
              <p:nvPr/>
            </p:nvSpPr>
            <p:spPr bwMode="auto">
              <a:xfrm>
                <a:off x="8584855" y="1093779"/>
                <a:ext cx="480" cy="1025"/>
              </a:xfrm>
              <a:custGeom>
                <a:avLst/>
                <a:gdLst>
                  <a:gd name="T0" fmla="*/ 460 w 480"/>
                  <a:gd name="T1" fmla="*/ 18 h 1025"/>
                  <a:gd name="T2" fmla="*/ 401 w 480"/>
                  <a:gd name="T3" fmla="*/ 9 h 1025"/>
                  <a:gd name="T4" fmla="*/ 240 w 480"/>
                  <a:gd name="T5" fmla="*/ 0 h 1025"/>
                  <a:gd name="T6" fmla="*/ 18 w 480"/>
                  <a:gd name="T7" fmla="*/ 18 h 1025"/>
                  <a:gd name="T8" fmla="*/ 0 w 480"/>
                  <a:gd name="T9" fmla="*/ 214 h 1025"/>
                  <a:gd name="T10" fmla="*/ 5 w 480"/>
                  <a:gd name="T11" fmla="*/ 1000 h 1025"/>
                  <a:gd name="T12" fmla="*/ 147 w 480"/>
                  <a:gd name="T13" fmla="*/ 1023 h 1025"/>
                  <a:gd name="T14" fmla="*/ 410 w 480"/>
                  <a:gd name="T15" fmla="*/ 1016 h 1025"/>
                  <a:gd name="T16" fmla="*/ 480 w 480"/>
                  <a:gd name="T17" fmla="*/ 993 h 1025"/>
                  <a:gd name="T18" fmla="*/ 480 w 480"/>
                  <a:gd name="T19" fmla="*/ 32 h 1025"/>
                  <a:gd name="T20" fmla="*/ 63 w 480"/>
                  <a:gd name="T21" fmla="*/ 29 h 1025"/>
                  <a:gd name="T22" fmla="*/ 75 w 480"/>
                  <a:gd name="T23" fmla="*/ 27 h 1025"/>
                  <a:gd name="T24" fmla="*/ 88 w 480"/>
                  <a:gd name="T25" fmla="*/ 25 h 1025"/>
                  <a:gd name="T26" fmla="*/ 104 w 480"/>
                  <a:gd name="T27" fmla="*/ 23 h 1025"/>
                  <a:gd name="T28" fmla="*/ 136 w 480"/>
                  <a:gd name="T29" fmla="*/ 20 h 1025"/>
                  <a:gd name="T30" fmla="*/ 152 w 480"/>
                  <a:gd name="T31" fmla="*/ 20 h 1025"/>
                  <a:gd name="T32" fmla="*/ 174 w 480"/>
                  <a:gd name="T33" fmla="*/ 20 h 1025"/>
                  <a:gd name="T34" fmla="*/ 197 w 480"/>
                  <a:gd name="T35" fmla="*/ 18 h 1025"/>
                  <a:gd name="T36" fmla="*/ 240 w 480"/>
                  <a:gd name="T37" fmla="*/ 18 h 1025"/>
                  <a:gd name="T38" fmla="*/ 265 w 480"/>
                  <a:gd name="T39" fmla="*/ 18 h 1025"/>
                  <a:gd name="T40" fmla="*/ 303 w 480"/>
                  <a:gd name="T41" fmla="*/ 20 h 1025"/>
                  <a:gd name="T42" fmla="*/ 322 w 480"/>
                  <a:gd name="T43" fmla="*/ 20 h 1025"/>
                  <a:gd name="T44" fmla="*/ 344 w 480"/>
                  <a:gd name="T45" fmla="*/ 20 h 1025"/>
                  <a:gd name="T46" fmla="*/ 362 w 480"/>
                  <a:gd name="T47" fmla="*/ 23 h 1025"/>
                  <a:gd name="T48" fmla="*/ 389 w 480"/>
                  <a:gd name="T49" fmla="*/ 25 h 1025"/>
                  <a:gd name="T50" fmla="*/ 403 w 480"/>
                  <a:gd name="T51" fmla="*/ 27 h 1025"/>
                  <a:gd name="T52" fmla="*/ 417 w 480"/>
                  <a:gd name="T53" fmla="*/ 29 h 1025"/>
                  <a:gd name="T54" fmla="*/ 428 w 480"/>
                  <a:gd name="T55" fmla="*/ 29 h 1025"/>
                  <a:gd name="T56" fmla="*/ 303 w 480"/>
                  <a:gd name="T57" fmla="*/ 43 h 1025"/>
                  <a:gd name="T58" fmla="*/ 79 w 480"/>
                  <a:gd name="T59" fmla="*/ 36 h 1025"/>
                  <a:gd name="T60" fmla="*/ 385 w 480"/>
                  <a:gd name="T61" fmla="*/ 54 h 1025"/>
                  <a:gd name="T62" fmla="*/ 326 w 480"/>
                  <a:gd name="T63" fmla="*/ 59 h 1025"/>
                  <a:gd name="T64" fmla="*/ 308 w 480"/>
                  <a:gd name="T65" fmla="*/ 226 h 1025"/>
                  <a:gd name="T66" fmla="*/ 308 w 480"/>
                  <a:gd name="T67" fmla="*/ 61 h 1025"/>
                  <a:gd name="T68" fmla="*/ 172 w 480"/>
                  <a:gd name="T69" fmla="*/ 61 h 1025"/>
                  <a:gd name="T70" fmla="*/ 154 w 480"/>
                  <a:gd name="T71" fmla="*/ 226 h 1025"/>
                  <a:gd name="T72" fmla="*/ 154 w 480"/>
                  <a:gd name="T73" fmla="*/ 59 h 1025"/>
                  <a:gd name="T74" fmla="*/ 77 w 480"/>
                  <a:gd name="T75" fmla="*/ 54 h 1025"/>
                  <a:gd name="T76" fmla="*/ 18 w 480"/>
                  <a:gd name="T77" fmla="*/ 43 h 1025"/>
                  <a:gd name="T78" fmla="*/ 161 w 480"/>
                  <a:gd name="T79" fmla="*/ 540 h 1025"/>
                  <a:gd name="T80" fmla="*/ 118 w 480"/>
                  <a:gd name="T81" fmla="*/ 535 h 1025"/>
                  <a:gd name="T82" fmla="*/ 172 w 480"/>
                  <a:gd name="T83" fmla="*/ 393 h 1025"/>
                  <a:gd name="T84" fmla="*/ 245 w 480"/>
                  <a:gd name="T85" fmla="*/ 409 h 1025"/>
                  <a:gd name="T86" fmla="*/ 265 w 480"/>
                  <a:gd name="T87" fmla="*/ 440 h 1025"/>
                  <a:gd name="T88" fmla="*/ 263 w 480"/>
                  <a:gd name="T89" fmla="*/ 485 h 1025"/>
                  <a:gd name="T90" fmla="*/ 231 w 480"/>
                  <a:gd name="T91" fmla="*/ 522 h 1025"/>
                  <a:gd name="T92" fmla="*/ 231 w 480"/>
                  <a:gd name="T93" fmla="*/ 549 h 1025"/>
                  <a:gd name="T94" fmla="*/ 229 w 480"/>
                  <a:gd name="T95" fmla="*/ 634 h 1025"/>
                  <a:gd name="T96" fmla="*/ 238 w 480"/>
                  <a:gd name="T97" fmla="*/ 842 h 1025"/>
                  <a:gd name="T98" fmla="*/ 360 w 480"/>
                  <a:gd name="T99" fmla="*/ 668 h 1025"/>
                  <a:gd name="T100" fmla="*/ 462 w 480"/>
                  <a:gd name="T101" fmla="*/ 208 h 1025"/>
                  <a:gd name="T102" fmla="*/ 403 w 480"/>
                  <a:gd name="T103" fmla="*/ 54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0" h="1025">
                    <a:moveTo>
                      <a:pt x="480" y="32"/>
                    </a:moveTo>
                    <a:lnTo>
                      <a:pt x="480" y="32"/>
                    </a:lnTo>
                    <a:lnTo>
                      <a:pt x="478" y="27"/>
                    </a:lnTo>
                    <a:lnTo>
                      <a:pt x="473" y="25"/>
                    </a:lnTo>
                    <a:lnTo>
                      <a:pt x="460" y="18"/>
                    </a:lnTo>
                    <a:lnTo>
                      <a:pt x="439" y="14"/>
                    </a:lnTo>
                    <a:lnTo>
                      <a:pt x="410" y="9"/>
                    </a:lnTo>
                    <a:lnTo>
                      <a:pt x="410" y="9"/>
                    </a:lnTo>
                    <a:lnTo>
                      <a:pt x="401" y="9"/>
                    </a:lnTo>
                    <a:lnTo>
                      <a:pt x="401" y="9"/>
                    </a:lnTo>
                    <a:lnTo>
                      <a:pt x="365" y="5"/>
                    </a:lnTo>
                    <a:lnTo>
                      <a:pt x="365" y="5"/>
                    </a:lnTo>
                    <a:lnTo>
                      <a:pt x="306" y="2"/>
                    </a:lnTo>
                    <a:lnTo>
                      <a:pt x="240" y="0"/>
                    </a:lnTo>
                    <a:lnTo>
                      <a:pt x="240" y="0"/>
                    </a:lnTo>
                    <a:lnTo>
                      <a:pt x="147" y="2"/>
                    </a:lnTo>
                    <a:lnTo>
                      <a:pt x="106" y="5"/>
                    </a:lnTo>
                    <a:lnTo>
                      <a:pt x="70" y="9"/>
                    </a:lnTo>
                    <a:lnTo>
                      <a:pt x="41" y="14"/>
                    </a:lnTo>
                    <a:lnTo>
                      <a:pt x="18" y="18"/>
                    </a:lnTo>
                    <a:lnTo>
                      <a:pt x="5" y="25"/>
                    </a:lnTo>
                    <a:lnTo>
                      <a:pt x="0" y="27"/>
                    </a:lnTo>
                    <a:lnTo>
                      <a:pt x="0" y="32"/>
                    </a:lnTo>
                    <a:lnTo>
                      <a:pt x="0" y="32"/>
                    </a:lnTo>
                    <a:lnTo>
                      <a:pt x="0" y="214"/>
                    </a:lnTo>
                    <a:lnTo>
                      <a:pt x="0" y="287"/>
                    </a:lnTo>
                    <a:lnTo>
                      <a:pt x="0" y="993"/>
                    </a:lnTo>
                    <a:lnTo>
                      <a:pt x="0" y="993"/>
                    </a:lnTo>
                    <a:lnTo>
                      <a:pt x="0" y="996"/>
                    </a:lnTo>
                    <a:lnTo>
                      <a:pt x="5" y="1000"/>
                    </a:lnTo>
                    <a:lnTo>
                      <a:pt x="18" y="1005"/>
                    </a:lnTo>
                    <a:lnTo>
                      <a:pt x="41" y="1011"/>
                    </a:lnTo>
                    <a:lnTo>
                      <a:pt x="70" y="1016"/>
                    </a:lnTo>
                    <a:lnTo>
                      <a:pt x="106" y="1018"/>
                    </a:lnTo>
                    <a:lnTo>
                      <a:pt x="147" y="1023"/>
                    </a:lnTo>
                    <a:lnTo>
                      <a:pt x="240" y="1025"/>
                    </a:lnTo>
                    <a:lnTo>
                      <a:pt x="240" y="1025"/>
                    </a:lnTo>
                    <a:lnTo>
                      <a:pt x="333" y="1023"/>
                    </a:lnTo>
                    <a:lnTo>
                      <a:pt x="374" y="1018"/>
                    </a:lnTo>
                    <a:lnTo>
                      <a:pt x="410" y="1016"/>
                    </a:lnTo>
                    <a:lnTo>
                      <a:pt x="439" y="1011"/>
                    </a:lnTo>
                    <a:lnTo>
                      <a:pt x="460" y="1005"/>
                    </a:lnTo>
                    <a:lnTo>
                      <a:pt x="473" y="1000"/>
                    </a:lnTo>
                    <a:lnTo>
                      <a:pt x="478" y="996"/>
                    </a:lnTo>
                    <a:lnTo>
                      <a:pt x="480" y="993"/>
                    </a:lnTo>
                    <a:lnTo>
                      <a:pt x="480" y="287"/>
                    </a:lnTo>
                    <a:lnTo>
                      <a:pt x="480" y="212"/>
                    </a:lnTo>
                    <a:lnTo>
                      <a:pt x="480" y="32"/>
                    </a:lnTo>
                    <a:lnTo>
                      <a:pt x="480" y="32"/>
                    </a:lnTo>
                    <a:lnTo>
                      <a:pt x="480" y="32"/>
                    </a:lnTo>
                    <a:close/>
                    <a:moveTo>
                      <a:pt x="52" y="29"/>
                    </a:moveTo>
                    <a:lnTo>
                      <a:pt x="52" y="29"/>
                    </a:lnTo>
                    <a:lnTo>
                      <a:pt x="52" y="29"/>
                    </a:lnTo>
                    <a:lnTo>
                      <a:pt x="52" y="29"/>
                    </a:lnTo>
                    <a:lnTo>
                      <a:pt x="63" y="29"/>
                    </a:lnTo>
                    <a:lnTo>
                      <a:pt x="63" y="29"/>
                    </a:lnTo>
                    <a:lnTo>
                      <a:pt x="63" y="27"/>
                    </a:lnTo>
                    <a:lnTo>
                      <a:pt x="63" y="27"/>
                    </a:lnTo>
                    <a:lnTo>
                      <a:pt x="75" y="27"/>
                    </a:lnTo>
                    <a:lnTo>
                      <a:pt x="75" y="27"/>
                    </a:lnTo>
                    <a:lnTo>
                      <a:pt x="77" y="27"/>
                    </a:lnTo>
                    <a:lnTo>
                      <a:pt x="77" y="27"/>
                    </a:lnTo>
                    <a:lnTo>
                      <a:pt x="86" y="25"/>
                    </a:lnTo>
                    <a:lnTo>
                      <a:pt x="86" y="25"/>
                    </a:lnTo>
                    <a:lnTo>
                      <a:pt x="88" y="25"/>
                    </a:lnTo>
                    <a:lnTo>
                      <a:pt x="88" y="25"/>
                    </a:lnTo>
                    <a:lnTo>
                      <a:pt x="102" y="25"/>
                    </a:lnTo>
                    <a:lnTo>
                      <a:pt x="102" y="25"/>
                    </a:lnTo>
                    <a:lnTo>
                      <a:pt x="104" y="23"/>
                    </a:lnTo>
                    <a:lnTo>
                      <a:pt x="104" y="23"/>
                    </a:lnTo>
                    <a:lnTo>
                      <a:pt x="115" y="23"/>
                    </a:lnTo>
                    <a:lnTo>
                      <a:pt x="115" y="23"/>
                    </a:lnTo>
                    <a:lnTo>
                      <a:pt x="120" y="23"/>
                    </a:lnTo>
                    <a:lnTo>
                      <a:pt x="120" y="23"/>
                    </a:lnTo>
                    <a:lnTo>
                      <a:pt x="136" y="20"/>
                    </a:lnTo>
                    <a:lnTo>
                      <a:pt x="136" y="20"/>
                    </a:lnTo>
                    <a:lnTo>
                      <a:pt x="136" y="20"/>
                    </a:lnTo>
                    <a:lnTo>
                      <a:pt x="136" y="20"/>
                    </a:lnTo>
                    <a:lnTo>
                      <a:pt x="152" y="20"/>
                    </a:lnTo>
                    <a:lnTo>
                      <a:pt x="152" y="20"/>
                    </a:lnTo>
                    <a:lnTo>
                      <a:pt x="156" y="20"/>
                    </a:lnTo>
                    <a:lnTo>
                      <a:pt x="156" y="20"/>
                    </a:lnTo>
                    <a:lnTo>
                      <a:pt x="170" y="20"/>
                    </a:lnTo>
                    <a:lnTo>
                      <a:pt x="170" y="20"/>
                    </a:lnTo>
                    <a:lnTo>
                      <a:pt x="174" y="20"/>
                    </a:lnTo>
                    <a:lnTo>
                      <a:pt x="174" y="20"/>
                    </a:lnTo>
                    <a:lnTo>
                      <a:pt x="192" y="18"/>
                    </a:lnTo>
                    <a:lnTo>
                      <a:pt x="192" y="18"/>
                    </a:lnTo>
                    <a:lnTo>
                      <a:pt x="197" y="18"/>
                    </a:lnTo>
                    <a:lnTo>
                      <a:pt x="197" y="18"/>
                    </a:lnTo>
                    <a:lnTo>
                      <a:pt x="213" y="18"/>
                    </a:lnTo>
                    <a:lnTo>
                      <a:pt x="213" y="18"/>
                    </a:lnTo>
                    <a:lnTo>
                      <a:pt x="220" y="18"/>
                    </a:lnTo>
                    <a:lnTo>
                      <a:pt x="220" y="18"/>
                    </a:lnTo>
                    <a:lnTo>
                      <a:pt x="240" y="18"/>
                    </a:lnTo>
                    <a:lnTo>
                      <a:pt x="240" y="18"/>
                    </a:lnTo>
                    <a:lnTo>
                      <a:pt x="260" y="18"/>
                    </a:lnTo>
                    <a:lnTo>
                      <a:pt x="260" y="18"/>
                    </a:lnTo>
                    <a:lnTo>
                      <a:pt x="265" y="18"/>
                    </a:lnTo>
                    <a:lnTo>
                      <a:pt x="265" y="18"/>
                    </a:lnTo>
                    <a:lnTo>
                      <a:pt x="281" y="18"/>
                    </a:lnTo>
                    <a:lnTo>
                      <a:pt x="281" y="18"/>
                    </a:lnTo>
                    <a:lnTo>
                      <a:pt x="285" y="18"/>
                    </a:lnTo>
                    <a:lnTo>
                      <a:pt x="285" y="18"/>
                    </a:lnTo>
                    <a:lnTo>
                      <a:pt x="303" y="20"/>
                    </a:lnTo>
                    <a:lnTo>
                      <a:pt x="303" y="20"/>
                    </a:lnTo>
                    <a:lnTo>
                      <a:pt x="308" y="20"/>
                    </a:lnTo>
                    <a:lnTo>
                      <a:pt x="308" y="20"/>
                    </a:lnTo>
                    <a:lnTo>
                      <a:pt x="322" y="20"/>
                    </a:lnTo>
                    <a:lnTo>
                      <a:pt x="322" y="20"/>
                    </a:lnTo>
                    <a:lnTo>
                      <a:pt x="326" y="20"/>
                    </a:lnTo>
                    <a:lnTo>
                      <a:pt x="326" y="20"/>
                    </a:lnTo>
                    <a:lnTo>
                      <a:pt x="342" y="20"/>
                    </a:lnTo>
                    <a:lnTo>
                      <a:pt x="342" y="20"/>
                    </a:lnTo>
                    <a:lnTo>
                      <a:pt x="344" y="20"/>
                    </a:lnTo>
                    <a:lnTo>
                      <a:pt x="344" y="20"/>
                    </a:lnTo>
                    <a:lnTo>
                      <a:pt x="358" y="23"/>
                    </a:lnTo>
                    <a:lnTo>
                      <a:pt x="358" y="23"/>
                    </a:lnTo>
                    <a:lnTo>
                      <a:pt x="362" y="23"/>
                    </a:lnTo>
                    <a:lnTo>
                      <a:pt x="362" y="23"/>
                    </a:lnTo>
                    <a:lnTo>
                      <a:pt x="374" y="23"/>
                    </a:lnTo>
                    <a:lnTo>
                      <a:pt x="374" y="23"/>
                    </a:lnTo>
                    <a:lnTo>
                      <a:pt x="378" y="25"/>
                    </a:lnTo>
                    <a:lnTo>
                      <a:pt x="378" y="25"/>
                    </a:lnTo>
                    <a:lnTo>
                      <a:pt x="389" y="25"/>
                    </a:lnTo>
                    <a:lnTo>
                      <a:pt x="389" y="25"/>
                    </a:lnTo>
                    <a:lnTo>
                      <a:pt x="392" y="25"/>
                    </a:lnTo>
                    <a:lnTo>
                      <a:pt x="392" y="25"/>
                    </a:lnTo>
                    <a:lnTo>
                      <a:pt x="403" y="27"/>
                    </a:lnTo>
                    <a:lnTo>
                      <a:pt x="403" y="27"/>
                    </a:lnTo>
                    <a:lnTo>
                      <a:pt x="405" y="27"/>
                    </a:lnTo>
                    <a:lnTo>
                      <a:pt x="405" y="27"/>
                    </a:lnTo>
                    <a:lnTo>
                      <a:pt x="414" y="27"/>
                    </a:lnTo>
                    <a:lnTo>
                      <a:pt x="414" y="27"/>
                    </a:lnTo>
                    <a:lnTo>
                      <a:pt x="417" y="29"/>
                    </a:lnTo>
                    <a:lnTo>
                      <a:pt x="417" y="29"/>
                    </a:lnTo>
                    <a:lnTo>
                      <a:pt x="426" y="29"/>
                    </a:lnTo>
                    <a:lnTo>
                      <a:pt x="426" y="29"/>
                    </a:lnTo>
                    <a:lnTo>
                      <a:pt x="428" y="29"/>
                    </a:lnTo>
                    <a:lnTo>
                      <a:pt x="428" y="29"/>
                    </a:lnTo>
                    <a:lnTo>
                      <a:pt x="432" y="32"/>
                    </a:lnTo>
                    <a:lnTo>
                      <a:pt x="432" y="32"/>
                    </a:lnTo>
                    <a:lnTo>
                      <a:pt x="398" y="36"/>
                    </a:lnTo>
                    <a:lnTo>
                      <a:pt x="355" y="38"/>
                    </a:lnTo>
                    <a:lnTo>
                      <a:pt x="303" y="43"/>
                    </a:lnTo>
                    <a:lnTo>
                      <a:pt x="240" y="43"/>
                    </a:lnTo>
                    <a:lnTo>
                      <a:pt x="240" y="43"/>
                    </a:lnTo>
                    <a:lnTo>
                      <a:pt x="177" y="43"/>
                    </a:lnTo>
                    <a:lnTo>
                      <a:pt x="122" y="38"/>
                    </a:lnTo>
                    <a:lnTo>
                      <a:pt x="79" y="36"/>
                    </a:lnTo>
                    <a:lnTo>
                      <a:pt x="48" y="32"/>
                    </a:lnTo>
                    <a:lnTo>
                      <a:pt x="48" y="32"/>
                    </a:lnTo>
                    <a:lnTo>
                      <a:pt x="52" y="29"/>
                    </a:lnTo>
                    <a:lnTo>
                      <a:pt x="52" y="29"/>
                    </a:lnTo>
                    <a:close/>
                    <a:moveTo>
                      <a:pt x="385" y="54"/>
                    </a:moveTo>
                    <a:lnTo>
                      <a:pt x="385" y="221"/>
                    </a:lnTo>
                    <a:lnTo>
                      <a:pt x="385" y="221"/>
                    </a:lnTo>
                    <a:lnTo>
                      <a:pt x="326" y="226"/>
                    </a:lnTo>
                    <a:lnTo>
                      <a:pt x="326" y="59"/>
                    </a:lnTo>
                    <a:lnTo>
                      <a:pt x="326" y="59"/>
                    </a:lnTo>
                    <a:lnTo>
                      <a:pt x="385" y="54"/>
                    </a:lnTo>
                    <a:lnTo>
                      <a:pt x="385" y="54"/>
                    </a:lnTo>
                    <a:close/>
                    <a:moveTo>
                      <a:pt x="308" y="61"/>
                    </a:moveTo>
                    <a:lnTo>
                      <a:pt x="308" y="226"/>
                    </a:lnTo>
                    <a:lnTo>
                      <a:pt x="308" y="226"/>
                    </a:lnTo>
                    <a:lnTo>
                      <a:pt x="249" y="228"/>
                    </a:lnTo>
                    <a:lnTo>
                      <a:pt x="249" y="61"/>
                    </a:lnTo>
                    <a:lnTo>
                      <a:pt x="249" y="61"/>
                    </a:lnTo>
                    <a:lnTo>
                      <a:pt x="308" y="61"/>
                    </a:lnTo>
                    <a:lnTo>
                      <a:pt x="308" y="61"/>
                    </a:lnTo>
                    <a:close/>
                    <a:moveTo>
                      <a:pt x="231" y="61"/>
                    </a:moveTo>
                    <a:lnTo>
                      <a:pt x="231" y="228"/>
                    </a:lnTo>
                    <a:lnTo>
                      <a:pt x="231" y="228"/>
                    </a:lnTo>
                    <a:lnTo>
                      <a:pt x="172" y="226"/>
                    </a:lnTo>
                    <a:lnTo>
                      <a:pt x="172" y="61"/>
                    </a:lnTo>
                    <a:lnTo>
                      <a:pt x="172" y="61"/>
                    </a:lnTo>
                    <a:lnTo>
                      <a:pt x="231" y="61"/>
                    </a:lnTo>
                    <a:lnTo>
                      <a:pt x="231" y="61"/>
                    </a:lnTo>
                    <a:close/>
                    <a:moveTo>
                      <a:pt x="154" y="59"/>
                    </a:moveTo>
                    <a:lnTo>
                      <a:pt x="154" y="226"/>
                    </a:lnTo>
                    <a:lnTo>
                      <a:pt x="154" y="226"/>
                    </a:lnTo>
                    <a:lnTo>
                      <a:pt x="95" y="221"/>
                    </a:lnTo>
                    <a:lnTo>
                      <a:pt x="95" y="54"/>
                    </a:lnTo>
                    <a:lnTo>
                      <a:pt x="95" y="54"/>
                    </a:lnTo>
                    <a:lnTo>
                      <a:pt x="154" y="59"/>
                    </a:lnTo>
                    <a:lnTo>
                      <a:pt x="154" y="59"/>
                    </a:lnTo>
                    <a:close/>
                    <a:moveTo>
                      <a:pt x="18" y="43"/>
                    </a:moveTo>
                    <a:lnTo>
                      <a:pt x="18" y="43"/>
                    </a:lnTo>
                    <a:lnTo>
                      <a:pt x="43" y="47"/>
                    </a:lnTo>
                    <a:lnTo>
                      <a:pt x="77" y="54"/>
                    </a:lnTo>
                    <a:lnTo>
                      <a:pt x="77" y="219"/>
                    </a:lnTo>
                    <a:lnTo>
                      <a:pt x="77" y="219"/>
                    </a:lnTo>
                    <a:lnTo>
                      <a:pt x="38" y="214"/>
                    </a:lnTo>
                    <a:lnTo>
                      <a:pt x="18" y="208"/>
                    </a:lnTo>
                    <a:lnTo>
                      <a:pt x="18" y="43"/>
                    </a:lnTo>
                    <a:close/>
                    <a:moveTo>
                      <a:pt x="195" y="582"/>
                    </a:moveTo>
                    <a:lnTo>
                      <a:pt x="195" y="582"/>
                    </a:lnTo>
                    <a:lnTo>
                      <a:pt x="168" y="546"/>
                    </a:lnTo>
                    <a:lnTo>
                      <a:pt x="168" y="546"/>
                    </a:lnTo>
                    <a:lnTo>
                      <a:pt x="161" y="540"/>
                    </a:lnTo>
                    <a:lnTo>
                      <a:pt x="154" y="537"/>
                    </a:lnTo>
                    <a:lnTo>
                      <a:pt x="154" y="537"/>
                    </a:lnTo>
                    <a:lnTo>
                      <a:pt x="143" y="535"/>
                    </a:lnTo>
                    <a:lnTo>
                      <a:pt x="129" y="535"/>
                    </a:lnTo>
                    <a:lnTo>
                      <a:pt x="118" y="535"/>
                    </a:lnTo>
                    <a:lnTo>
                      <a:pt x="118" y="634"/>
                    </a:lnTo>
                    <a:lnTo>
                      <a:pt x="70" y="634"/>
                    </a:lnTo>
                    <a:lnTo>
                      <a:pt x="70" y="393"/>
                    </a:lnTo>
                    <a:lnTo>
                      <a:pt x="172" y="393"/>
                    </a:lnTo>
                    <a:lnTo>
                      <a:pt x="172" y="393"/>
                    </a:lnTo>
                    <a:lnTo>
                      <a:pt x="206" y="395"/>
                    </a:lnTo>
                    <a:lnTo>
                      <a:pt x="229" y="400"/>
                    </a:lnTo>
                    <a:lnTo>
                      <a:pt x="229" y="400"/>
                    </a:lnTo>
                    <a:lnTo>
                      <a:pt x="238" y="404"/>
                    </a:lnTo>
                    <a:lnTo>
                      <a:pt x="245" y="409"/>
                    </a:lnTo>
                    <a:lnTo>
                      <a:pt x="251" y="415"/>
                    </a:lnTo>
                    <a:lnTo>
                      <a:pt x="258" y="424"/>
                    </a:lnTo>
                    <a:lnTo>
                      <a:pt x="258" y="424"/>
                    </a:lnTo>
                    <a:lnTo>
                      <a:pt x="263" y="431"/>
                    </a:lnTo>
                    <a:lnTo>
                      <a:pt x="265" y="440"/>
                    </a:lnTo>
                    <a:lnTo>
                      <a:pt x="267" y="452"/>
                    </a:lnTo>
                    <a:lnTo>
                      <a:pt x="267" y="461"/>
                    </a:lnTo>
                    <a:lnTo>
                      <a:pt x="267" y="461"/>
                    </a:lnTo>
                    <a:lnTo>
                      <a:pt x="267" y="474"/>
                    </a:lnTo>
                    <a:lnTo>
                      <a:pt x="263" y="485"/>
                    </a:lnTo>
                    <a:lnTo>
                      <a:pt x="258" y="497"/>
                    </a:lnTo>
                    <a:lnTo>
                      <a:pt x="251" y="506"/>
                    </a:lnTo>
                    <a:lnTo>
                      <a:pt x="251" y="506"/>
                    </a:lnTo>
                    <a:lnTo>
                      <a:pt x="242" y="515"/>
                    </a:lnTo>
                    <a:lnTo>
                      <a:pt x="231" y="522"/>
                    </a:lnTo>
                    <a:lnTo>
                      <a:pt x="220" y="526"/>
                    </a:lnTo>
                    <a:lnTo>
                      <a:pt x="204" y="528"/>
                    </a:lnTo>
                    <a:lnTo>
                      <a:pt x="204" y="528"/>
                    </a:lnTo>
                    <a:lnTo>
                      <a:pt x="217" y="537"/>
                    </a:lnTo>
                    <a:lnTo>
                      <a:pt x="231" y="549"/>
                    </a:lnTo>
                    <a:lnTo>
                      <a:pt x="231" y="549"/>
                    </a:lnTo>
                    <a:lnTo>
                      <a:pt x="242" y="564"/>
                    </a:lnTo>
                    <a:lnTo>
                      <a:pt x="258" y="587"/>
                    </a:lnTo>
                    <a:lnTo>
                      <a:pt x="288" y="634"/>
                    </a:lnTo>
                    <a:lnTo>
                      <a:pt x="229" y="634"/>
                    </a:lnTo>
                    <a:lnTo>
                      <a:pt x="195" y="582"/>
                    </a:lnTo>
                    <a:close/>
                    <a:moveTo>
                      <a:pt x="362" y="842"/>
                    </a:moveTo>
                    <a:lnTo>
                      <a:pt x="328" y="790"/>
                    </a:lnTo>
                    <a:lnTo>
                      <a:pt x="292" y="842"/>
                    </a:lnTo>
                    <a:lnTo>
                      <a:pt x="238" y="842"/>
                    </a:lnTo>
                    <a:lnTo>
                      <a:pt x="301" y="754"/>
                    </a:lnTo>
                    <a:lnTo>
                      <a:pt x="240" y="668"/>
                    </a:lnTo>
                    <a:lnTo>
                      <a:pt x="297" y="668"/>
                    </a:lnTo>
                    <a:lnTo>
                      <a:pt x="328" y="716"/>
                    </a:lnTo>
                    <a:lnTo>
                      <a:pt x="360" y="668"/>
                    </a:lnTo>
                    <a:lnTo>
                      <a:pt x="414" y="668"/>
                    </a:lnTo>
                    <a:lnTo>
                      <a:pt x="355" y="752"/>
                    </a:lnTo>
                    <a:lnTo>
                      <a:pt x="421" y="842"/>
                    </a:lnTo>
                    <a:lnTo>
                      <a:pt x="362" y="842"/>
                    </a:lnTo>
                    <a:close/>
                    <a:moveTo>
                      <a:pt x="462" y="208"/>
                    </a:moveTo>
                    <a:lnTo>
                      <a:pt x="462" y="208"/>
                    </a:lnTo>
                    <a:lnTo>
                      <a:pt x="439" y="214"/>
                    </a:lnTo>
                    <a:lnTo>
                      <a:pt x="403" y="219"/>
                    </a:lnTo>
                    <a:lnTo>
                      <a:pt x="403" y="54"/>
                    </a:lnTo>
                    <a:lnTo>
                      <a:pt x="403" y="54"/>
                    </a:lnTo>
                    <a:lnTo>
                      <a:pt x="437" y="47"/>
                    </a:lnTo>
                    <a:lnTo>
                      <a:pt x="462" y="43"/>
                    </a:lnTo>
                    <a:lnTo>
                      <a:pt x="462" y="2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grpSp>
        <p:sp>
          <p:nvSpPr>
            <p:cNvPr id="123" name="Freeform 5">
              <a:extLst>
                <a:ext uri="{FF2B5EF4-FFF2-40B4-BE49-F238E27FC236}">
                  <a16:creationId xmlns:a16="http://schemas.microsoft.com/office/drawing/2014/main" id="{467AF113-D747-6923-D4E2-A77763C38C06}"/>
                </a:ext>
              </a:extLst>
            </p:cNvPr>
            <p:cNvSpPr>
              <a:spLocks noEditPoints="1"/>
            </p:cNvSpPr>
            <p:nvPr/>
          </p:nvSpPr>
          <p:spPr bwMode="auto">
            <a:xfrm>
              <a:off x="1307043" y="1116995"/>
              <a:ext cx="723953" cy="653763"/>
            </a:xfrm>
            <a:custGeom>
              <a:avLst/>
              <a:gdLst>
                <a:gd name="T0" fmla="*/ 64 w 480"/>
                <a:gd name="T1" fmla="*/ 190 h 483"/>
                <a:gd name="T2" fmla="*/ 473 w 480"/>
                <a:gd name="T3" fmla="*/ 81 h 483"/>
                <a:gd name="T4" fmla="*/ 450 w 480"/>
                <a:gd name="T5" fmla="*/ 0 h 483"/>
                <a:gd name="T6" fmla="*/ 0 w 480"/>
                <a:gd name="T7" fmla="*/ 121 h 483"/>
                <a:gd name="T8" fmla="*/ 13 w 480"/>
                <a:gd name="T9" fmla="*/ 204 h 483"/>
                <a:gd name="T10" fmla="*/ 13 w 480"/>
                <a:gd name="T11" fmla="*/ 274 h 483"/>
                <a:gd name="T12" fmla="*/ 13 w 480"/>
                <a:gd name="T13" fmla="*/ 483 h 483"/>
                <a:gd name="T14" fmla="*/ 480 w 480"/>
                <a:gd name="T15" fmla="*/ 483 h 483"/>
                <a:gd name="T16" fmla="*/ 480 w 480"/>
                <a:gd name="T17" fmla="*/ 274 h 483"/>
                <a:gd name="T18" fmla="*/ 480 w 480"/>
                <a:gd name="T19" fmla="*/ 190 h 483"/>
                <a:gd name="T20" fmla="*/ 64 w 480"/>
                <a:gd name="T21" fmla="*/ 190 h 483"/>
                <a:gd name="T22" fmla="*/ 360 w 480"/>
                <a:gd name="T23" fmla="*/ 38 h 483"/>
                <a:gd name="T24" fmla="*/ 438 w 480"/>
                <a:gd name="T25" fmla="*/ 18 h 483"/>
                <a:gd name="T26" fmla="*/ 421 w 480"/>
                <a:gd name="T27" fmla="*/ 80 h 483"/>
                <a:gd name="T28" fmla="*/ 344 w 480"/>
                <a:gd name="T29" fmla="*/ 101 h 483"/>
                <a:gd name="T30" fmla="*/ 360 w 480"/>
                <a:gd name="T31" fmla="*/ 38 h 483"/>
                <a:gd name="T32" fmla="*/ 203 w 480"/>
                <a:gd name="T33" fmla="*/ 81 h 483"/>
                <a:gd name="T34" fmla="*/ 281 w 480"/>
                <a:gd name="T35" fmla="*/ 60 h 483"/>
                <a:gd name="T36" fmla="*/ 265 w 480"/>
                <a:gd name="T37" fmla="*/ 122 h 483"/>
                <a:gd name="T38" fmla="*/ 188 w 480"/>
                <a:gd name="T39" fmla="*/ 144 h 483"/>
                <a:gd name="T40" fmla="*/ 203 w 480"/>
                <a:gd name="T41" fmla="*/ 81 h 483"/>
                <a:gd name="T42" fmla="*/ 48 w 480"/>
                <a:gd name="T43" fmla="*/ 122 h 483"/>
                <a:gd name="T44" fmla="*/ 125 w 480"/>
                <a:gd name="T45" fmla="*/ 102 h 483"/>
                <a:gd name="T46" fmla="*/ 108 w 480"/>
                <a:gd name="T47" fmla="*/ 165 h 483"/>
                <a:gd name="T48" fmla="*/ 31 w 480"/>
                <a:gd name="T49" fmla="*/ 185 h 483"/>
                <a:gd name="T50" fmla="*/ 48 w 480"/>
                <a:gd name="T51" fmla="*/ 122 h 483"/>
                <a:gd name="T52" fmla="*/ 107 w 480"/>
                <a:gd name="T53" fmla="*/ 261 h 483"/>
                <a:gd name="T54" fmla="*/ 26 w 480"/>
                <a:gd name="T55" fmla="*/ 261 h 483"/>
                <a:gd name="T56" fmla="*/ 59 w 480"/>
                <a:gd name="T57" fmla="*/ 204 h 483"/>
                <a:gd name="T58" fmla="*/ 139 w 480"/>
                <a:gd name="T59" fmla="*/ 204 h 483"/>
                <a:gd name="T60" fmla="*/ 107 w 480"/>
                <a:gd name="T61" fmla="*/ 261 h 483"/>
                <a:gd name="T62" fmla="*/ 207 w 480"/>
                <a:gd name="T63" fmla="*/ 422 h 483"/>
                <a:gd name="T64" fmla="*/ 207 w 480"/>
                <a:gd name="T65" fmla="*/ 314 h 483"/>
                <a:gd name="T66" fmla="*/ 300 w 480"/>
                <a:gd name="T67" fmla="*/ 368 h 483"/>
                <a:gd name="T68" fmla="*/ 207 w 480"/>
                <a:gd name="T69" fmla="*/ 422 h 483"/>
                <a:gd name="T70" fmla="*/ 269 w 480"/>
                <a:gd name="T71" fmla="*/ 261 h 483"/>
                <a:gd name="T72" fmla="*/ 189 w 480"/>
                <a:gd name="T73" fmla="*/ 261 h 483"/>
                <a:gd name="T74" fmla="*/ 221 w 480"/>
                <a:gd name="T75" fmla="*/ 204 h 483"/>
                <a:gd name="T76" fmla="*/ 301 w 480"/>
                <a:gd name="T77" fmla="*/ 204 h 483"/>
                <a:gd name="T78" fmla="*/ 269 w 480"/>
                <a:gd name="T79" fmla="*/ 261 h 483"/>
                <a:gd name="T80" fmla="*/ 431 w 480"/>
                <a:gd name="T81" fmla="*/ 261 h 483"/>
                <a:gd name="T82" fmla="*/ 351 w 480"/>
                <a:gd name="T83" fmla="*/ 261 h 483"/>
                <a:gd name="T84" fmla="*/ 384 w 480"/>
                <a:gd name="T85" fmla="*/ 204 h 483"/>
                <a:gd name="T86" fmla="*/ 463 w 480"/>
                <a:gd name="T87" fmla="*/ 204 h 483"/>
                <a:gd name="T88" fmla="*/ 431 w 480"/>
                <a:gd name="T89" fmla="*/ 261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0" h="483">
                  <a:moveTo>
                    <a:pt x="64" y="190"/>
                  </a:moveTo>
                  <a:lnTo>
                    <a:pt x="473" y="81"/>
                  </a:lnTo>
                  <a:lnTo>
                    <a:pt x="450" y="0"/>
                  </a:lnTo>
                  <a:lnTo>
                    <a:pt x="0" y="121"/>
                  </a:lnTo>
                  <a:lnTo>
                    <a:pt x="13" y="204"/>
                  </a:lnTo>
                  <a:lnTo>
                    <a:pt x="13" y="274"/>
                  </a:lnTo>
                  <a:lnTo>
                    <a:pt x="13" y="483"/>
                  </a:lnTo>
                  <a:lnTo>
                    <a:pt x="480" y="483"/>
                  </a:lnTo>
                  <a:lnTo>
                    <a:pt x="480" y="274"/>
                  </a:lnTo>
                  <a:lnTo>
                    <a:pt x="480" y="190"/>
                  </a:lnTo>
                  <a:lnTo>
                    <a:pt x="64" y="190"/>
                  </a:lnTo>
                  <a:close/>
                  <a:moveTo>
                    <a:pt x="360" y="38"/>
                  </a:moveTo>
                  <a:lnTo>
                    <a:pt x="438" y="18"/>
                  </a:lnTo>
                  <a:lnTo>
                    <a:pt x="421" y="80"/>
                  </a:lnTo>
                  <a:lnTo>
                    <a:pt x="344" y="101"/>
                  </a:lnTo>
                  <a:lnTo>
                    <a:pt x="360" y="38"/>
                  </a:lnTo>
                  <a:close/>
                  <a:moveTo>
                    <a:pt x="203" y="81"/>
                  </a:moveTo>
                  <a:lnTo>
                    <a:pt x="281" y="60"/>
                  </a:lnTo>
                  <a:lnTo>
                    <a:pt x="265" y="122"/>
                  </a:lnTo>
                  <a:lnTo>
                    <a:pt x="188" y="144"/>
                  </a:lnTo>
                  <a:lnTo>
                    <a:pt x="203" y="81"/>
                  </a:lnTo>
                  <a:close/>
                  <a:moveTo>
                    <a:pt x="48" y="122"/>
                  </a:moveTo>
                  <a:lnTo>
                    <a:pt x="125" y="102"/>
                  </a:lnTo>
                  <a:lnTo>
                    <a:pt x="108" y="165"/>
                  </a:lnTo>
                  <a:lnTo>
                    <a:pt x="31" y="185"/>
                  </a:lnTo>
                  <a:lnTo>
                    <a:pt x="48" y="122"/>
                  </a:lnTo>
                  <a:close/>
                  <a:moveTo>
                    <a:pt x="107" y="261"/>
                  </a:moveTo>
                  <a:lnTo>
                    <a:pt x="26" y="261"/>
                  </a:lnTo>
                  <a:lnTo>
                    <a:pt x="59" y="204"/>
                  </a:lnTo>
                  <a:lnTo>
                    <a:pt x="139" y="204"/>
                  </a:lnTo>
                  <a:lnTo>
                    <a:pt x="107" y="261"/>
                  </a:lnTo>
                  <a:close/>
                  <a:moveTo>
                    <a:pt x="207" y="422"/>
                  </a:moveTo>
                  <a:lnTo>
                    <a:pt x="207" y="314"/>
                  </a:lnTo>
                  <a:lnTo>
                    <a:pt x="300" y="368"/>
                  </a:lnTo>
                  <a:lnTo>
                    <a:pt x="207" y="422"/>
                  </a:lnTo>
                  <a:close/>
                  <a:moveTo>
                    <a:pt x="269" y="261"/>
                  </a:moveTo>
                  <a:lnTo>
                    <a:pt x="189" y="261"/>
                  </a:lnTo>
                  <a:lnTo>
                    <a:pt x="221" y="204"/>
                  </a:lnTo>
                  <a:lnTo>
                    <a:pt x="301" y="204"/>
                  </a:lnTo>
                  <a:lnTo>
                    <a:pt x="269" y="261"/>
                  </a:lnTo>
                  <a:close/>
                  <a:moveTo>
                    <a:pt x="431" y="261"/>
                  </a:moveTo>
                  <a:lnTo>
                    <a:pt x="351" y="261"/>
                  </a:lnTo>
                  <a:lnTo>
                    <a:pt x="384" y="204"/>
                  </a:lnTo>
                  <a:lnTo>
                    <a:pt x="463" y="204"/>
                  </a:lnTo>
                  <a:lnTo>
                    <a:pt x="431" y="261"/>
                  </a:lnTo>
                  <a:close/>
                </a:path>
              </a:pathLst>
            </a:custGeom>
            <a:solidFill>
              <a:srgbClr val="003C7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grpSp>
          <p:nvGrpSpPr>
            <p:cNvPr id="124" name="Group 123">
              <a:extLst>
                <a:ext uri="{FF2B5EF4-FFF2-40B4-BE49-F238E27FC236}">
                  <a16:creationId xmlns:a16="http://schemas.microsoft.com/office/drawing/2014/main" id="{166E693C-CB69-8A25-A7A2-C9E42B638E5E}"/>
                </a:ext>
              </a:extLst>
            </p:cNvPr>
            <p:cNvGrpSpPr>
              <a:grpSpLocks noChangeAspect="1"/>
            </p:cNvGrpSpPr>
            <p:nvPr/>
          </p:nvGrpSpPr>
          <p:grpSpPr bwMode="auto">
            <a:xfrm>
              <a:off x="2336478" y="603695"/>
              <a:ext cx="612383" cy="882252"/>
              <a:chOff x="2336478" y="603695"/>
              <a:chExt cx="480" cy="657"/>
            </a:xfrm>
            <a:solidFill>
              <a:srgbClr val="003C70"/>
            </a:solidFill>
          </p:grpSpPr>
          <p:sp>
            <p:nvSpPr>
              <p:cNvPr id="134" name="Freeform 5">
                <a:extLst>
                  <a:ext uri="{FF2B5EF4-FFF2-40B4-BE49-F238E27FC236}">
                    <a16:creationId xmlns:a16="http://schemas.microsoft.com/office/drawing/2014/main" id="{5F5B1CFC-DA23-DECE-6D4B-74E6E8DF8C1F}"/>
                  </a:ext>
                </a:extLst>
              </p:cNvPr>
              <p:cNvSpPr>
                <a:spLocks noEditPoints="1"/>
              </p:cNvSpPr>
              <p:nvPr/>
            </p:nvSpPr>
            <p:spPr bwMode="auto">
              <a:xfrm>
                <a:off x="2336478" y="603695"/>
                <a:ext cx="480" cy="657"/>
              </a:xfrm>
              <a:custGeom>
                <a:avLst/>
                <a:gdLst>
                  <a:gd name="T0" fmla="*/ 115 w 480"/>
                  <a:gd name="T1" fmla="*/ 0 h 657"/>
                  <a:gd name="T2" fmla="*/ 0 w 480"/>
                  <a:gd name="T3" fmla="*/ 114 h 657"/>
                  <a:gd name="T4" fmla="*/ 0 w 480"/>
                  <a:gd name="T5" fmla="*/ 657 h 657"/>
                  <a:gd name="T6" fmla="*/ 480 w 480"/>
                  <a:gd name="T7" fmla="*/ 657 h 657"/>
                  <a:gd name="T8" fmla="*/ 480 w 480"/>
                  <a:gd name="T9" fmla="*/ 0 h 657"/>
                  <a:gd name="T10" fmla="*/ 115 w 480"/>
                  <a:gd name="T11" fmla="*/ 0 h 657"/>
                  <a:gd name="T12" fmla="*/ 435 w 480"/>
                  <a:gd name="T13" fmla="*/ 612 h 657"/>
                  <a:gd name="T14" fmla="*/ 45 w 480"/>
                  <a:gd name="T15" fmla="*/ 612 h 657"/>
                  <a:gd name="T16" fmla="*/ 45 w 480"/>
                  <a:gd name="T17" fmla="*/ 156 h 657"/>
                  <a:gd name="T18" fmla="*/ 157 w 480"/>
                  <a:gd name="T19" fmla="*/ 156 h 657"/>
                  <a:gd name="T20" fmla="*/ 157 w 480"/>
                  <a:gd name="T21" fmla="*/ 46 h 657"/>
                  <a:gd name="T22" fmla="*/ 435 w 480"/>
                  <a:gd name="T23" fmla="*/ 46 h 657"/>
                  <a:gd name="T24" fmla="*/ 435 w 480"/>
                  <a:gd name="T25" fmla="*/ 61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657">
                    <a:moveTo>
                      <a:pt x="115" y="0"/>
                    </a:moveTo>
                    <a:lnTo>
                      <a:pt x="0" y="114"/>
                    </a:lnTo>
                    <a:lnTo>
                      <a:pt x="0" y="657"/>
                    </a:lnTo>
                    <a:lnTo>
                      <a:pt x="480" y="657"/>
                    </a:lnTo>
                    <a:lnTo>
                      <a:pt x="480" y="0"/>
                    </a:lnTo>
                    <a:lnTo>
                      <a:pt x="115" y="0"/>
                    </a:lnTo>
                    <a:close/>
                    <a:moveTo>
                      <a:pt x="435" y="612"/>
                    </a:moveTo>
                    <a:lnTo>
                      <a:pt x="45" y="612"/>
                    </a:lnTo>
                    <a:lnTo>
                      <a:pt x="45" y="156"/>
                    </a:lnTo>
                    <a:lnTo>
                      <a:pt x="157" y="156"/>
                    </a:lnTo>
                    <a:lnTo>
                      <a:pt x="157" y="46"/>
                    </a:lnTo>
                    <a:lnTo>
                      <a:pt x="435" y="46"/>
                    </a:lnTo>
                    <a:lnTo>
                      <a:pt x="435" y="6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35" name="Freeform 6">
                <a:extLst>
                  <a:ext uri="{FF2B5EF4-FFF2-40B4-BE49-F238E27FC236}">
                    <a16:creationId xmlns:a16="http://schemas.microsoft.com/office/drawing/2014/main" id="{B770C807-DFD3-006E-BB46-F2D40ADA22D0}"/>
                  </a:ext>
                </a:extLst>
              </p:cNvPr>
              <p:cNvSpPr>
                <a:spLocks noEditPoints="1"/>
              </p:cNvSpPr>
              <p:nvPr/>
            </p:nvSpPr>
            <p:spPr bwMode="auto">
              <a:xfrm>
                <a:off x="2336587" y="603896"/>
                <a:ext cx="109" cy="109"/>
              </a:xfrm>
              <a:custGeom>
                <a:avLst/>
                <a:gdLst>
                  <a:gd name="T0" fmla="*/ 109 w 109"/>
                  <a:gd name="T1" fmla="*/ 109 h 109"/>
                  <a:gd name="T2" fmla="*/ 0 w 109"/>
                  <a:gd name="T3" fmla="*/ 109 h 109"/>
                  <a:gd name="T4" fmla="*/ 0 w 109"/>
                  <a:gd name="T5" fmla="*/ 0 h 109"/>
                  <a:gd name="T6" fmla="*/ 109 w 109"/>
                  <a:gd name="T7" fmla="*/ 0 h 109"/>
                  <a:gd name="T8" fmla="*/ 109 w 109"/>
                  <a:gd name="T9" fmla="*/ 109 h 109"/>
                  <a:gd name="T10" fmla="*/ 17 w 109"/>
                  <a:gd name="T11" fmla="*/ 91 h 109"/>
                  <a:gd name="T12" fmla="*/ 91 w 109"/>
                  <a:gd name="T13" fmla="*/ 91 h 109"/>
                  <a:gd name="T14" fmla="*/ 91 w 109"/>
                  <a:gd name="T15" fmla="*/ 18 h 109"/>
                  <a:gd name="T16" fmla="*/ 17 w 109"/>
                  <a:gd name="T17" fmla="*/ 18 h 109"/>
                  <a:gd name="T18" fmla="*/ 17 w 109"/>
                  <a:gd name="T19" fmla="*/ 9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109" y="109"/>
                    </a:moveTo>
                    <a:lnTo>
                      <a:pt x="0" y="109"/>
                    </a:lnTo>
                    <a:lnTo>
                      <a:pt x="0" y="0"/>
                    </a:lnTo>
                    <a:lnTo>
                      <a:pt x="109" y="0"/>
                    </a:lnTo>
                    <a:lnTo>
                      <a:pt x="109" y="109"/>
                    </a:lnTo>
                    <a:close/>
                    <a:moveTo>
                      <a:pt x="17" y="91"/>
                    </a:moveTo>
                    <a:lnTo>
                      <a:pt x="91" y="91"/>
                    </a:lnTo>
                    <a:lnTo>
                      <a:pt x="91" y="18"/>
                    </a:lnTo>
                    <a:lnTo>
                      <a:pt x="17" y="18"/>
                    </a:lnTo>
                    <a:lnTo>
                      <a:pt x="17"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36" name="Freeform 7">
                <a:extLst>
                  <a:ext uri="{FF2B5EF4-FFF2-40B4-BE49-F238E27FC236}">
                    <a16:creationId xmlns:a16="http://schemas.microsoft.com/office/drawing/2014/main" id="{4F2BA6CE-AB9E-751B-AB33-5F22F5B8DC55}"/>
                  </a:ext>
                </a:extLst>
              </p:cNvPr>
              <p:cNvSpPr>
                <a:spLocks/>
              </p:cNvSpPr>
              <p:nvPr/>
            </p:nvSpPr>
            <p:spPr bwMode="auto">
              <a:xfrm>
                <a:off x="2336630" y="603928"/>
                <a:ext cx="21" cy="46"/>
              </a:xfrm>
              <a:custGeom>
                <a:avLst/>
                <a:gdLst>
                  <a:gd name="T0" fmla="*/ 21 w 21"/>
                  <a:gd name="T1" fmla="*/ 46 h 46"/>
                  <a:gd name="T2" fmla="*/ 12 w 21"/>
                  <a:gd name="T3" fmla="*/ 46 h 46"/>
                  <a:gd name="T4" fmla="*/ 12 w 21"/>
                  <a:gd name="T5" fmla="*/ 13 h 46"/>
                  <a:gd name="T6" fmla="*/ 12 w 21"/>
                  <a:gd name="T7" fmla="*/ 13 h 46"/>
                  <a:gd name="T8" fmla="*/ 8 w 21"/>
                  <a:gd name="T9" fmla="*/ 16 h 46"/>
                  <a:gd name="T10" fmla="*/ 0 w 21"/>
                  <a:gd name="T11" fmla="*/ 19 h 46"/>
                  <a:gd name="T12" fmla="*/ 0 w 21"/>
                  <a:gd name="T13" fmla="*/ 12 h 46"/>
                  <a:gd name="T14" fmla="*/ 0 w 21"/>
                  <a:gd name="T15" fmla="*/ 12 h 46"/>
                  <a:gd name="T16" fmla="*/ 8 w 21"/>
                  <a:gd name="T17" fmla="*/ 7 h 46"/>
                  <a:gd name="T18" fmla="*/ 8 w 21"/>
                  <a:gd name="T19" fmla="*/ 7 h 46"/>
                  <a:gd name="T20" fmla="*/ 12 w 21"/>
                  <a:gd name="T21" fmla="*/ 3 h 46"/>
                  <a:gd name="T22" fmla="*/ 13 w 21"/>
                  <a:gd name="T23" fmla="*/ 0 h 46"/>
                  <a:gd name="T24" fmla="*/ 21 w 21"/>
                  <a:gd name="T25" fmla="*/ 0 h 46"/>
                  <a:gd name="T26" fmla="*/ 21 w 21"/>
                  <a:gd name="T2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46">
                    <a:moveTo>
                      <a:pt x="21" y="46"/>
                    </a:moveTo>
                    <a:lnTo>
                      <a:pt x="12" y="46"/>
                    </a:lnTo>
                    <a:lnTo>
                      <a:pt x="12" y="13"/>
                    </a:lnTo>
                    <a:lnTo>
                      <a:pt x="12" y="13"/>
                    </a:lnTo>
                    <a:lnTo>
                      <a:pt x="8" y="16"/>
                    </a:lnTo>
                    <a:lnTo>
                      <a:pt x="0" y="19"/>
                    </a:lnTo>
                    <a:lnTo>
                      <a:pt x="0" y="12"/>
                    </a:lnTo>
                    <a:lnTo>
                      <a:pt x="0" y="12"/>
                    </a:lnTo>
                    <a:lnTo>
                      <a:pt x="8" y="7"/>
                    </a:lnTo>
                    <a:lnTo>
                      <a:pt x="8" y="7"/>
                    </a:lnTo>
                    <a:lnTo>
                      <a:pt x="12" y="3"/>
                    </a:lnTo>
                    <a:lnTo>
                      <a:pt x="13" y="0"/>
                    </a:lnTo>
                    <a:lnTo>
                      <a:pt x="21" y="0"/>
                    </a:lnTo>
                    <a:lnTo>
                      <a:pt x="2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37" name="Freeform 8">
                <a:extLst>
                  <a:ext uri="{FF2B5EF4-FFF2-40B4-BE49-F238E27FC236}">
                    <a16:creationId xmlns:a16="http://schemas.microsoft.com/office/drawing/2014/main" id="{B5F18759-C2EF-449F-184F-715192134E6D}"/>
                  </a:ext>
                </a:extLst>
              </p:cNvPr>
              <p:cNvSpPr>
                <a:spLocks noEditPoints="1"/>
              </p:cNvSpPr>
              <p:nvPr/>
            </p:nvSpPr>
            <p:spPr bwMode="auto">
              <a:xfrm>
                <a:off x="2336587" y="604025"/>
                <a:ext cx="109" cy="108"/>
              </a:xfrm>
              <a:custGeom>
                <a:avLst/>
                <a:gdLst>
                  <a:gd name="T0" fmla="*/ 109 w 109"/>
                  <a:gd name="T1" fmla="*/ 108 h 108"/>
                  <a:gd name="T2" fmla="*/ 0 w 109"/>
                  <a:gd name="T3" fmla="*/ 108 h 108"/>
                  <a:gd name="T4" fmla="*/ 0 w 109"/>
                  <a:gd name="T5" fmla="*/ 0 h 108"/>
                  <a:gd name="T6" fmla="*/ 109 w 109"/>
                  <a:gd name="T7" fmla="*/ 0 h 108"/>
                  <a:gd name="T8" fmla="*/ 109 w 109"/>
                  <a:gd name="T9" fmla="*/ 108 h 108"/>
                  <a:gd name="T10" fmla="*/ 17 w 109"/>
                  <a:gd name="T11" fmla="*/ 91 h 108"/>
                  <a:gd name="T12" fmla="*/ 91 w 109"/>
                  <a:gd name="T13" fmla="*/ 91 h 108"/>
                  <a:gd name="T14" fmla="*/ 91 w 109"/>
                  <a:gd name="T15" fmla="*/ 17 h 108"/>
                  <a:gd name="T16" fmla="*/ 17 w 109"/>
                  <a:gd name="T17" fmla="*/ 17 h 108"/>
                  <a:gd name="T18" fmla="*/ 17 w 109"/>
                  <a:gd name="T19" fmla="*/ 9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109" y="108"/>
                    </a:moveTo>
                    <a:lnTo>
                      <a:pt x="0" y="108"/>
                    </a:lnTo>
                    <a:lnTo>
                      <a:pt x="0" y="0"/>
                    </a:lnTo>
                    <a:lnTo>
                      <a:pt x="109" y="0"/>
                    </a:lnTo>
                    <a:lnTo>
                      <a:pt x="109" y="108"/>
                    </a:lnTo>
                    <a:close/>
                    <a:moveTo>
                      <a:pt x="17" y="91"/>
                    </a:moveTo>
                    <a:lnTo>
                      <a:pt x="91" y="91"/>
                    </a:lnTo>
                    <a:lnTo>
                      <a:pt x="91" y="17"/>
                    </a:lnTo>
                    <a:lnTo>
                      <a:pt x="17" y="17"/>
                    </a:lnTo>
                    <a:lnTo>
                      <a:pt x="17"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38" name="Freeform 9">
                <a:extLst>
                  <a:ext uri="{FF2B5EF4-FFF2-40B4-BE49-F238E27FC236}">
                    <a16:creationId xmlns:a16="http://schemas.microsoft.com/office/drawing/2014/main" id="{3486CC8F-505B-9D4E-61A3-7DD8E73E0FDF}"/>
                  </a:ext>
                </a:extLst>
              </p:cNvPr>
              <p:cNvSpPr>
                <a:spLocks/>
              </p:cNvSpPr>
              <p:nvPr/>
            </p:nvSpPr>
            <p:spPr bwMode="auto">
              <a:xfrm>
                <a:off x="2336626" y="604055"/>
                <a:ext cx="30" cy="47"/>
              </a:xfrm>
              <a:custGeom>
                <a:avLst/>
                <a:gdLst>
                  <a:gd name="T0" fmla="*/ 30 w 30"/>
                  <a:gd name="T1" fmla="*/ 39 h 47"/>
                  <a:gd name="T2" fmla="*/ 30 w 30"/>
                  <a:gd name="T3" fmla="*/ 47 h 47"/>
                  <a:gd name="T4" fmla="*/ 0 w 30"/>
                  <a:gd name="T5" fmla="*/ 47 h 47"/>
                  <a:gd name="T6" fmla="*/ 0 w 30"/>
                  <a:gd name="T7" fmla="*/ 47 h 47"/>
                  <a:gd name="T8" fmla="*/ 0 w 30"/>
                  <a:gd name="T9" fmla="*/ 42 h 47"/>
                  <a:gd name="T10" fmla="*/ 3 w 30"/>
                  <a:gd name="T11" fmla="*/ 38 h 47"/>
                  <a:gd name="T12" fmla="*/ 3 w 30"/>
                  <a:gd name="T13" fmla="*/ 38 h 47"/>
                  <a:gd name="T14" fmla="*/ 6 w 30"/>
                  <a:gd name="T15" fmla="*/ 34 h 47"/>
                  <a:gd name="T16" fmla="*/ 13 w 30"/>
                  <a:gd name="T17" fmla="*/ 28 h 47"/>
                  <a:gd name="T18" fmla="*/ 13 w 30"/>
                  <a:gd name="T19" fmla="*/ 28 h 47"/>
                  <a:gd name="T20" fmla="*/ 20 w 30"/>
                  <a:gd name="T21" fmla="*/ 19 h 47"/>
                  <a:gd name="T22" fmla="*/ 20 w 30"/>
                  <a:gd name="T23" fmla="*/ 19 h 47"/>
                  <a:gd name="T24" fmla="*/ 22 w 30"/>
                  <a:gd name="T25" fmla="*/ 15 h 47"/>
                  <a:gd name="T26" fmla="*/ 22 w 30"/>
                  <a:gd name="T27" fmla="*/ 15 h 47"/>
                  <a:gd name="T28" fmla="*/ 22 w 30"/>
                  <a:gd name="T29" fmla="*/ 12 h 47"/>
                  <a:gd name="T30" fmla="*/ 20 w 30"/>
                  <a:gd name="T31" fmla="*/ 9 h 47"/>
                  <a:gd name="T32" fmla="*/ 20 w 30"/>
                  <a:gd name="T33" fmla="*/ 9 h 47"/>
                  <a:gd name="T34" fmla="*/ 17 w 30"/>
                  <a:gd name="T35" fmla="*/ 9 h 47"/>
                  <a:gd name="T36" fmla="*/ 16 w 30"/>
                  <a:gd name="T37" fmla="*/ 8 h 47"/>
                  <a:gd name="T38" fmla="*/ 16 w 30"/>
                  <a:gd name="T39" fmla="*/ 8 h 47"/>
                  <a:gd name="T40" fmla="*/ 13 w 30"/>
                  <a:gd name="T41" fmla="*/ 9 h 47"/>
                  <a:gd name="T42" fmla="*/ 12 w 30"/>
                  <a:gd name="T43" fmla="*/ 10 h 47"/>
                  <a:gd name="T44" fmla="*/ 12 w 30"/>
                  <a:gd name="T45" fmla="*/ 10 h 47"/>
                  <a:gd name="T46" fmla="*/ 10 w 30"/>
                  <a:gd name="T47" fmla="*/ 12 h 47"/>
                  <a:gd name="T48" fmla="*/ 9 w 30"/>
                  <a:gd name="T49" fmla="*/ 15 h 47"/>
                  <a:gd name="T50" fmla="*/ 0 w 30"/>
                  <a:gd name="T51" fmla="*/ 15 h 47"/>
                  <a:gd name="T52" fmla="*/ 0 w 30"/>
                  <a:gd name="T53" fmla="*/ 15 h 47"/>
                  <a:gd name="T54" fmla="*/ 1 w 30"/>
                  <a:gd name="T55" fmla="*/ 8 h 47"/>
                  <a:gd name="T56" fmla="*/ 6 w 30"/>
                  <a:gd name="T57" fmla="*/ 5 h 47"/>
                  <a:gd name="T58" fmla="*/ 6 w 30"/>
                  <a:gd name="T59" fmla="*/ 5 h 47"/>
                  <a:gd name="T60" fmla="*/ 10 w 30"/>
                  <a:gd name="T61" fmla="*/ 2 h 47"/>
                  <a:gd name="T62" fmla="*/ 16 w 30"/>
                  <a:gd name="T63" fmla="*/ 0 h 47"/>
                  <a:gd name="T64" fmla="*/ 16 w 30"/>
                  <a:gd name="T65" fmla="*/ 0 h 47"/>
                  <a:gd name="T66" fmla="*/ 22 w 30"/>
                  <a:gd name="T67" fmla="*/ 2 h 47"/>
                  <a:gd name="T68" fmla="*/ 26 w 30"/>
                  <a:gd name="T69" fmla="*/ 5 h 47"/>
                  <a:gd name="T70" fmla="*/ 26 w 30"/>
                  <a:gd name="T71" fmla="*/ 5 h 47"/>
                  <a:gd name="T72" fmla="*/ 29 w 30"/>
                  <a:gd name="T73" fmla="*/ 9 h 47"/>
                  <a:gd name="T74" fmla="*/ 30 w 30"/>
                  <a:gd name="T75" fmla="*/ 13 h 47"/>
                  <a:gd name="T76" fmla="*/ 30 w 30"/>
                  <a:gd name="T77" fmla="*/ 13 h 47"/>
                  <a:gd name="T78" fmla="*/ 29 w 30"/>
                  <a:gd name="T79" fmla="*/ 19 h 47"/>
                  <a:gd name="T80" fmla="*/ 29 w 30"/>
                  <a:gd name="T81" fmla="*/ 19 h 47"/>
                  <a:gd name="T82" fmla="*/ 26 w 30"/>
                  <a:gd name="T83" fmla="*/ 25 h 47"/>
                  <a:gd name="T84" fmla="*/ 26 w 30"/>
                  <a:gd name="T85" fmla="*/ 25 h 47"/>
                  <a:gd name="T86" fmla="*/ 20 w 30"/>
                  <a:gd name="T87" fmla="*/ 31 h 47"/>
                  <a:gd name="T88" fmla="*/ 20 w 30"/>
                  <a:gd name="T89" fmla="*/ 31 h 47"/>
                  <a:gd name="T90" fmla="*/ 14 w 30"/>
                  <a:gd name="T91" fmla="*/ 37 h 47"/>
                  <a:gd name="T92" fmla="*/ 14 w 30"/>
                  <a:gd name="T93" fmla="*/ 37 h 47"/>
                  <a:gd name="T94" fmla="*/ 13 w 30"/>
                  <a:gd name="T95" fmla="*/ 39 h 47"/>
                  <a:gd name="T96" fmla="*/ 30 w 30"/>
                  <a:gd name="T97"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47">
                    <a:moveTo>
                      <a:pt x="30" y="39"/>
                    </a:moveTo>
                    <a:lnTo>
                      <a:pt x="30" y="47"/>
                    </a:lnTo>
                    <a:lnTo>
                      <a:pt x="0" y="47"/>
                    </a:lnTo>
                    <a:lnTo>
                      <a:pt x="0" y="47"/>
                    </a:lnTo>
                    <a:lnTo>
                      <a:pt x="0" y="42"/>
                    </a:lnTo>
                    <a:lnTo>
                      <a:pt x="3" y="38"/>
                    </a:lnTo>
                    <a:lnTo>
                      <a:pt x="3" y="38"/>
                    </a:lnTo>
                    <a:lnTo>
                      <a:pt x="6" y="34"/>
                    </a:lnTo>
                    <a:lnTo>
                      <a:pt x="13" y="28"/>
                    </a:lnTo>
                    <a:lnTo>
                      <a:pt x="13" y="28"/>
                    </a:lnTo>
                    <a:lnTo>
                      <a:pt x="20" y="19"/>
                    </a:lnTo>
                    <a:lnTo>
                      <a:pt x="20" y="19"/>
                    </a:lnTo>
                    <a:lnTo>
                      <a:pt x="22" y="15"/>
                    </a:lnTo>
                    <a:lnTo>
                      <a:pt x="22" y="15"/>
                    </a:lnTo>
                    <a:lnTo>
                      <a:pt x="22" y="12"/>
                    </a:lnTo>
                    <a:lnTo>
                      <a:pt x="20" y="9"/>
                    </a:lnTo>
                    <a:lnTo>
                      <a:pt x="20" y="9"/>
                    </a:lnTo>
                    <a:lnTo>
                      <a:pt x="17" y="9"/>
                    </a:lnTo>
                    <a:lnTo>
                      <a:pt x="16" y="8"/>
                    </a:lnTo>
                    <a:lnTo>
                      <a:pt x="16" y="8"/>
                    </a:lnTo>
                    <a:lnTo>
                      <a:pt x="13" y="9"/>
                    </a:lnTo>
                    <a:lnTo>
                      <a:pt x="12" y="10"/>
                    </a:lnTo>
                    <a:lnTo>
                      <a:pt x="12" y="10"/>
                    </a:lnTo>
                    <a:lnTo>
                      <a:pt x="10" y="12"/>
                    </a:lnTo>
                    <a:lnTo>
                      <a:pt x="9" y="15"/>
                    </a:lnTo>
                    <a:lnTo>
                      <a:pt x="0" y="15"/>
                    </a:lnTo>
                    <a:lnTo>
                      <a:pt x="0" y="15"/>
                    </a:lnTo>
                    <a:lnTo>
                      <a:pt x="1" y="8"/>
                    </a:lnTo>
                    <a:lnTo>
                      <a:pt x="6" y="5"/>
                    </a:lnTo>
                    <a:lnTo>
                      <a:pt x="6" y="5"/>
                    </a:lnTo>
                    <a:lnTo>
                      <a:pt x="10" y="2"/>
                    </a:lnTo>
                    <a:lnTo>
                      <a:pt x="16" y="0"/>
                    </a:lnTo>
                    <a:lnTo>
                      <a:pt x="16" y="0"/>
                    </a:lnTo>
                    <a:lnTo>
                      <a:pt x="22" y="2"/>
                    </a:lnTo>
                    <a:lnTo>
                      <a:pt x="26" y="5"/>
                    </a:lnTo>
                    <a:lnTo>
                      <a:pt x="26" y="5"/>
                    </a:lnTo>
                    <a:lnTo>
                      <a:pt x="29" y="9"/>
                    </a:lnTo>
                    <a:lnTo>
                      <a:pt x="30" y="13"/>
                    </a:lnTo>
                    <a:lnTo>
                      <a:pt x="30" y="13"/>
                    </a:lnTo>
                    <a:lnTo>
                      <a:pt x="29" y="19"/>
                    </a:lnTo>
                    <a:lnTo>
                      <a:pt x="29" y="19"/>
                    </a:lnTo>
                    <a:lnTo>
                      <a:pt x="26" y="25"/>
                    </a:lnTo>
                    <a:lnTo>
                      <a:pt x="26" y="25"/>
                    </a:lnTo>
                    <a:lnTo>
                      <a:pt x="20" y="31"/>
                    </a:lnTo>
                    <a:lnTo>
                      <a:pt x="20" y="31"/>
                    </a:lnTo>
                    <a:lnTo>
                      <a:pt x="14" y="37"/>
                    </a:lnTo>
                    <a:lnTo>
                      <a:pt x="14" y="37"/>
                    </a:lnTo>
                    <a:lnTo>
                      <a:pt x="13" y="39"/>
                    </a:lnTo>
                    <a:lnTo>
                      <a:pt x="3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39" name="Freeform 10">
                <a:extLst>
                  <a:ext uri="{FF2B5EF4-FFF2-40B4-BE49-F238E27FC236}">
                    <a16:creationId xmlns:a16="http://schemas.microsoft.com/office/drawing/2014/main" id="{70A32E9D-4355-2305-66F7-31A453C8233E}"/>
                  </a:ext>
                </a:extLst>
              </p:cNvPr>
              <p:cNvSpPr>
                <a:spLocks noEditPoints="1"/>
              </p:cNvSpPr>
              <p:nvPr/>
            </p:nvSpPr>
            <p:spPr bwMode="auto">
              <a:xfrm>
                <a:off x="2336587" y="604154"/>
                <a:ext cx="109" cy="107"/>
              </a:xfrm>
              <a:custGeom>
                <a:avLst/>
                <a:gdLst>
                  <a:gd name="T0" fmla="*/ 109 w 109"/>
                  <a:gd name="T1" fmla="*/ 107 h 107"/>
                  <a:gd name="T2" fmla="*/ 0 w 109"/>
                  <a:gd name="T3" fmla="*/ 107 h 107"/>
                  <a:gd name="T4" fmla="*/ 0 w 109"/>
                  <a:gd name="T5" fmla="*/ 0 h 107"/>
                  <a:gd name="T6" fmla="*/ 109 w 109"/>
                  <a:gd name="T7" fmla="*/ 0 h 107"/>
                  <a:gd name="T8" fmla="*/ 109 w 109"/>
                  <a:gd name="T9" fmla="*/ 107 h 107"/>
                  <a:gd name="T10" fmla="*/ 17 w 109"/>
                  <a:gd name="T11" fmla="*/ 89 h 107"/>
                  <a:gd name="T12" fmla="*/ 91 w 109"/>
                  <a:gd name="T13" fmla="*/ 89 h 107"/>
                  <a:gd name="T14" fmla="*/ 91 w 109"/>
                  <a:gd name="T15" fmla="*/ 17 h 107"/>
                  <a:gd name="T16" fmla="*/ 17 w 109"/>
                  <a:gd name="T17" fmla="*/ 17 h 107"/>
                  <a:gd name="T18" fmla="*/ 17 w 109"/>
                  <a:gd name="T19" fmla="*/ 8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7">
                    <a:moveTo>
                      <a:pt x="109" y="107"/>
                    </a:moveTo>
                    <a:lnTo>
                      <a:pt x="0" y="107"/>
                    </a:lnTo>
                    <a:lnTo>
                      <a:pt x="0" y="0"/>
                    </a:lnTo>
                    <a:lnTo>
                      <a:pt x="109" y="0"/>
                    </a:lnTo>
                    <a:lnTo>
                      <a:pt x="109" y="107"/>
                    </a:lnTo>
                    <a:close/>
                    <a:moveTo>
                      <a:pt x="17" y="89"/>
                    </a:moveTo>
                    <a:lnTo>
                      <a:pt x="91" y="89"/>
                    </a:lnTo>
                    <a:lnTo>
                      <a:pt x="91" y="17"/>
                    </a:lnTo>
                    <a:lnTo>
                      <a:pt x="17" y="17"/>
                    </a:lnTo>
                    <a:lnTo>
                      <a:pt x="17"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40" name="Freeform 11">
                <a:extLst>
                  <a:ext uri="{FF2B5EF4-FFF2-40B4-BE49-F238E27FC236}">
                    <a16:creationId xmlns:a16="http://schemas.microsoft.com/office/drawing/2014/main" id="{0C311030-9017-17F1-C66D-DBD9407E66B8}"/>
                  </a:ext>
                </a:extLst>
              </p:cNvPr>
              <p:cNvSpPr>
                <a:spLocks/>
              </p:cNvSpPr>
              <p:nvPr/>
            </p:nvSpPr>
            <p:spPr bwMode="auto">
              <a:xfrm>
                <a:off x="2336626" y="604184"/>
                <a:ext cx="30" cy="46"/>
              </a:xfrm>
              <a:custGeom>
                <a:avLst/>
                <a:gdLst>
                  <a:gd name="T0" fmla="*/ 9 w 30"/>
                  <a:gd name="T1" fmla="*/ 33 h 46"/>
                  <a:gd name="T2" fmla="*/ 9 w 30"/>
                  <a:gd name="T3" fmla="*/ 36 h 46"/>
                  <a:gd name="T4" fmla="*/ 10 w 30"/>
                  <a:gd name="T5" fmla="*/ 38 h 46"/>
                  <a:gd name="T6" fmla="*/ 14 w 30"/>
                  <a:gd name="T7" fmla="*/ 39 h 46"/>
                  <a:gd name="T8" fmla="*/ 17 w 30"/>
                  <a:gd name="T9" fmla="*/ 39 h 46"/>
                  <a:gd name="T10" fmla="*/ 19 w 30"/>
                  <a:gd name="T11" fmla="*/ 38 h 46"/>
                  <a:gd name="T12" fmla="*/ 22 w 30"/>
                  <a:gd name="T13" fmla="*/ 32 h 46"/>
                  <a:gd name="T14" fmla="*/ 20 w 30"/>
                  <a:gd name="T15" fmla="*/ 29 h 46"/>
                  <a:gd name="T16" fmla="*/ 19 w 30"/>
                  <a:gd name="T17" fmla="*/ 26 h 46"/>
                  <a:gd name="T18" fmla="*/ 14 w 30"/>
                  <a:gd name="T19" fmla="*/ 25 h 46"/>
                  <a:gd name="T20" fmla="*/ 12 w 30"/>
                  <a:gd name="T21" fmla="*/ 25 h 46"/>
                  <a:gd name="T22" fmla="*/ 12 w 30"/>
                  <a:gd name="T23" fmla="*/ 17 h 46"/>
                  <a:gd name="T24" fmla="*/ 17 w 30"/>
                  <a:gd name="T25" fmla="*/ 16 h 46"/>
                  <a:gd name="T26" fmla="*/ 19 w 30"/>
                  <a:gd name="T27" fmla="*/ 15 h 46"/>
                  <a:gd name="T28" fmla="*/ 19 w 30"/>
                  <a:gd name="T29" fmla="*/ 12 h 46"/>
                  <a:gd name="T30" fmla="*/ 17 w 30"/>
                  <a:gd name="T31" fmla="*/ 9 h 46"/>
                  <a:gd name="T32" fmla="*/ 14 w 30"/>
                  <a:gd name="T33" fmla="*/ 7 h 46"/>
                  <a:gd name="T34" fmla="*/ 10 w 30"/>
                  <a:gd name="T35" fmla="*/ 9 h 46"/>
                  <a:gd name="T36" fmla="*/ 0 w 30"/>
                  <a:gd name="T37" fmla="*/ 12 h 46"/>
                  <a:gd name="T38" fmla="*/ 3 w 30"/>
                  <a:gd name="T39" fmla="*/ 6 h 46"/>
                  <a:gd name="T40" fmla="*/ 7 w 30"/>
                  <a:gd name="T41" fmla="*/ 2 h 46"/>
                  <a:gd name="T42" fmla="*/ 14 w 30"/>
                  <a:gd name="T43" fmla="*/ 0 h 46"/>
                  <a:gd name="T44" fmla="*/ 20 w 30"/>
                  <a:gd name="T45" fmla="*/ 2 h 46"/>
                  <a:gd name="T46" fmla="*/ 25 w 30"/>
                  <a:gd name="T47" fmla="*/ 4 h 46"/>
                  <a:gd name="T48" fmla="*/ 27 w 30"/>
                  <a:gd name="T49" fmla="*/ 12 h 46"/>
                  <a:gd name="T50" fmla="*/ 27 w 30"/>
                  <a:gd name="T51" fmla="*/ 15 h 46"/>
                  <a:gd name="T52" fmla="*/ 22 w 30"/>
                  <a:gd name="T53" fmla="*/ 22 h 46"/>
                  <a:gd name="T54" fmla="*/ 25 w 30"/>
                  <a:gd name="T55" fmla="*/ 23 h 46"/>
                  <a:gd name="T56" fmla="*/ 27 w 30"/>
                  <a:gd name="T57" fmla="*/ 25 h 46"/>
                  <a:gd name="T58" fmla="*/ 30 w 30"/>
                  <a:gd name="T59" fmla="*/ 32 h 46"/>
                  <a:gd name="T60" fmla="*/ 29 w 30"/>
                  <a:gd name="T61" fmla="*/ 38 h 46"/>
                  <a:gd name="T62" fmla="*/ 26 w 30"/>
                  <a:gd name="T63" fmla="*/ 42 h 46"/>
                  <a:gd name="T64" fmla="*/ 14 w 30"/>
                  <a:gd name="T65" fmla="*/ 46 h 46"/>
                  <a:gd name="T66" fmla="*/ 9 w 30"/>
                  <a:gd name="T67" fmla="*/ 46 h 46"/>
                  <a:gd name="T68" fmla="*/ 4 w 30"/>
                  <a:gd name="T69" fmla="*/ 44 h 46"/>
                  <a:gd name="T70" fmla="*/ 0 w 30"/>
                  <a:gd name="T71"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46">
                    <a:moveTo>
                      <a:pt x="0" y="33"/>
                    </a:moveTo>
                    <a:lnTo>
                      <a:pt x="9" y="33"/>
                    </a:lnTo>
                    <a:lnTo>
                      <a:pt x="9" y="33"/>
                    </a:lnTo>
                    <a:lnTo>
                      <a:pt x="9" y="36"/>
                    </a:lnTo>
                    <a:lnTo>
                      <a:pt x="10" y="38"/>
                    </a:lnTo>
                    <a:lnTo>
                      <a:pt x="10" y="38"/>
                    </a:lnTo>
                    <a:lnTo>
                      <a:pt x="12" y="39"/>
                    </a:lnTo>
                    <a:lnTo>
                      <a:pt x="14" y="39"/>
                    </a:lnTo>
                    <a:lnTo>
                      <a:pt x="14" y="39"/>
                    </a:lnTo>
                    <a:lnTo>
                      <a:pt x="17" y="39"/>
                    </a:lnTo>
                    <a:lnTo>
                      <a:pt x="19" y="38"/>
                    </a:lnTo>
                    <a:lnTo>
                      <a:pt x="19" y="38"/>
                    </a:lnTo>
                    <a:lnTo>
                      <a:pt x="20" y="35"/>
                    </a:lnTo>
                    <a:lnTo>
                      <a:pt x="22" y="32"/>
                    </a:lnTo>
                    <a:lnTo>
                      <a:pt x="22" y="32"/>
                    </a:lnTo>
                    <a:lnTo>
                      <a:pt x="20" y="29"/>
                    </a:lnTo>
                    <a:lnTo>
                      <a:pt x="19" y="26"/>
                    </a:lnTo>
                    <a:lnTo>
                      <a:pt x="19" y="26"/>
                    </a:lnTo>
                    <a:lnTo>
                      <a:pt x="17" y="25"/>
                    </a:lnTo>
                    <a:lnTo>
                      <a:pt x="14" y="25"/>
                    </a:lnTo>
                    <a:lnTo>
                      <a:pt x="14" y="25"/>
                    </a:lnTo>
                    <a:lnTo>
                      <a:pt x="12" y="25"/>
                    </a:lnTo>
                    <a:lnTo>
                      <a:pt x="12" y="17"/>
                    </a:lnTo>
                    <a:lnTo>
                      <a:pt x="12" y="17"/>
                    </a:lnTo>
                    <a:lnTo>
                      <a:pt x="14" y="17"/>
                    </a:lnTo>
                    <a:lnTo>
                      <a:pt x="17" y="16"/>
                    </a:lnTo>
                    <a:lnTo>
                      <a:pt x="17" y="16"/>
                    </a:lnTo>
                    <a:lnTo>
                      <a:pt x="19" y="15"/>
                    </a:lnTo>
                    <a:lnTo>
                      <a:pt x="19" y="12"/>
                    </a:lnTo>
                    <a:lnTo>
                      <a:pt x="19" y="12"/>
                    </a:lnTo>
                    <a:lnTo>
                      <a:pt x="17" y="9"/>
                    </a:lnTo>
                    <a:lnTo>
                      <a:pt x="17" y="9"/>
                    </a:lnTo>
                    <a:lnTo>
                      <a:pt x="14" y="7"/>
                    </a:lnTo>
                    <a:lnTo>
                      <a:pt x="14" y="7"/>
                    </a:lnTo>
                    <a:lnTo>
                      <a:pt x="10" y="9"/>
                    </a:lnTo>
                    <a:lnTo>
                      <a:pt x="10" y="9"/>
                    </a:lnTo>
                    <a:lnTo>
                      <a:pt x="9" y="13"/>
                    </a:lnTo>
                    <a:lnTo>
                      <a:pt x="0" y="12"/>
                    </a:lnTo>
                    <a:lnTo>
                      <a:pt x="0" y="12"/>
                    </a:lnTo>
                    <a:lnTo>
                      <a:pt x="3" y="6"/>
                    </a:lnTo>
                    <a:lnTo>
                      <a:pt x="3" y="6"/>
                    </a:lnTo>
                    <a:lnTo>
                      <a:pt x="7" y="2"/>
                    </a:lnTo>
                    <a:lnTo>
                      <a:pt x="7" y="2"/>
                    </a:lnTo>
                    <a:lnTo>
                      <a:pt x="14" y="0"/>
                    </a:lnTo>
                    <a:lnTo>
                      <a:pt x="14" y="0"/>
                    </a:lnTo>
                    <a:lnTo>
                      <a:pt x="20" y="2"/>
                    </a:lnTo>
                    <a:lnTo>
                      <a:pt x="25" y="4"/>
                    </a:lnTo>
                    <a:lnTo>
                      <a:pt x="25" y="4"/>
                    </a:lnTo>
                    <a:lnTo>
                      <a:pt x="27" y="7"/>
                    </a:lnTo>
                    <a:lnTo>
                      <a:pt x="27" y="12"/>
                    </a:lnTo>
                    <a:lnTo>
                      <a:pt x="27" y="12"/>
                    </a:lnTo>
                    <a:lnTo>
                      <a:pt x="27" y="15"/>
                    </a:lnTo>
                    <a:lnTo>
                      <a:pt x="26" y="17"/>
                    </a:lnTo>
                    <a:lnTo>
                      <a:pt x="22" y="22"/>
                    </a:lnTo>
                    <a:lnTo>
                      <a:pt x="22" y="22"/>
                    </a:lnTo>
                    <a:lnTo>
                      <a:pt x="25" y="23"/>
                    </a:lnTo>
                    <a:lnTo>
                      <a:pt x="27" y="25"/>
                    </a:lnTo>
                    <a:lnTo>
                      <a:pt x="27" y="25"/>
                    </a:lnTo>
                    <a:lnTo>
                      <a:pt x="29" y="29"/>
                    </a:lnTo>
                    <a:lnTo>
                      <a:pt x="30" y="32"/>
                    </a:lnTo>
                    <a:lnTo>
                      <a:pt x="30" y="32"/>
                    </a:lnTo>
                    <a:lnTo>
                      <a:pt x="29" y="38"/>
                    </a:lnTo>
                    <a:lnTo>
                      <a:pt x="26" y="42"/>
                    </a:lnTo>
                    <a:lnTo>
                      <a:pt x="26" y="42"/>
                    </a:lnTo>
                    <a:lnTo>
                      <a:pt x="20" y="46"/>
                    </a:lnTo>
                    <a:lnTo>
                      <a:pt x="14" y="46"/>
                    </a:lnTo>
                    <a:lnTo>
                      <a:pt x="14" y="46"/>
                    </a:lnTo>
                    <a:lnTo>
                      <a:pt x="9" y="46"/>
                    </a:lnTo>
                    <a:lnTo>
                      <a:pt x="4" y="44"/>
                    </a:lnTo>
                    <a:lnTo>
                      <a:pt x="4" y="44"/>
                    </a:lnTo>
                    <a:lnTo>
                      <a:pt x="1" y="39"/>
                    </a:lnTo>
                    <a:lnTo>
                      <a:pt x="0" y="33"/>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41" name="Rectangle 140">
                <a:extLst>
                  <a:ext uri="{FF2B5EF4-FFF2-40B4-BE49-F238E27FC236}">
                    <a16:creationId xmlns:a16="http://schemas.microsoft.com/office/drawing/2014/main" id="{78093863-A666-EDBD-5755-640F15188BED}"/>
                  </a:ext>
                </a:extLst>
              </p:cNvPr>
              <p:cNvSpPr>
                <a:spLocks noChangeArrowheads="1"/>
              </p:cNvSpPr>
              <p:nvPr/>
            </p:nvSpPr>
            <p:spPr bwMode="auto">
              <a:xfrm>
                <a:off x="2336725" y="604052"/>
                <a:ext cx="11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42" name="Rectangle 141">
                <a:extLst>
                  <a:ext uri="{FF2B5EF4-FFF2-40B4-BE49-F238E27FC236}">
                    <a16:creationId xmlns:a16="http://schemas.microsoft.com/office/drawing/2014/main" id="{99EF472E-C91A-7885-4B69-AB895800116C}"/>
                  </a:ext>
                </a:extLst>
              </p:cNvPr>
              <p:cNvSpPr>
                <a:spLocks noChangeArrowheads="1"/>
              </p:cNvSpPr>
              <p:nvPr/>
            </p:nvSpPr>
            <p:spPr bwMode="auto">
              <a:xfrm>
                <a:off x="2336725" y="604087"/>
                <a:ext cx="91"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43" name="Rectangle 142">
                <a:extLst>
                  <a:ext uri="{FF2B5EF4-FFF2-40B4-BE49-F238E27FC236}">
                    <a16:creationId xmlns:a16="http://schemas.microsoft.com/office/drawing/2014/main" id="{EE55C0DB-EEEB-4C7B-82F5-502D39AADF88}"/>
                  </a:ext>
                </a:extLst>
              </p:cNvPr>
              <p:cNvSpPr>
                <a:spLocks noChangeArrowheads="1"/>
              </p:cNvSpPr>
              <p:nvPr/>
            </p:nvSpPr>
            <p:spPr bwMode="auto">
              <a:xfrm>
                <a:off x="2336725" y="603925"/>
                <a:ext cx="117"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44" name="Rectangle 143">
                <a:extLst>
                  <a:ext uri="{FF2B5EF4-FFF2-40B4-BE49-F238E27FC236}">
                    <a16:creationId xmlns:a16="http://schemas.microsoft.com/office/drawing/2014/main" id="{33CEA521-0C37-1E76-3BE5-8F8FC0345F9E}"/>
                  </a:ext>
                </a:extLst>
              </p:cNvPr>
              <p:cNvSpPr>
                <a:spLocks noChangeArrowheads="1"/>
              </p:cNvSpPr>
              <p:nvPr/>
            </p:nvSpPr>
            <p:spPr bwMode="auto">
              <a:xfrm>
                <a:off x="2336725" y="603958"/>
                <a:ext cx="91"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45" name="Rectangle 144">
                <a:extLst>
                  <a:ext uri="{FF2B5EF4-FFF2-40B4-BE49-F238E27FC236}">
                    <a16:creationId xmlns:a16="http://schemas.microsoft.com/office/drawing/2014/main" id="{F1DD1731-8D6E-98DF-F4D5-43F487621493}"/>
                  </a:ext>
                </a:extLst>
              </p:cNvPr>
              <p:cNvSpPr>
                <a:spLocks noChangeArrowheads="1"/>
              </p:cNvSpPr>
              <p:nvPr/>
            </p:nvSpPr>
            <p:spPr bwMode="auto">
              <a:xfrm>
                <a:off x="2336725" y="604181"/>
                <a:ext cx="11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46" name="Rectangle 145">
                <a:extLst>
                  <a:ext uri="{FF2B5EF4-FFF2-40B4-BE49-F238E27FC236}">
                    <a16:creationId xmlns:a16="http://schemas.microsoft.com/office/drawing/2014/main" id="{C3F8F129-E2A1-07CD-7B4E-B65177322D8F}"/>
                  </a:ext>
                </a:extLst>
              </p:cNvPr>
              <p:cNvSpPr>
                <a:spLocks noChangeArrowheads="1"/>
              </p:cNvSpPr>
              <p:nvPr/>
            </p:nvSpPr>
            <p:spPr bwMode="auto">
              <a:xfrm>
                <a:off x="2336725" y="604216"/>
                <a:ext cx="91"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grpSp>
        <p:grpSp>
          <p:nvGrpSpPr>
            <p:cNvPr id="125" name="Group 124">
              <a:extLst>
                <a:ext uri="{FF2B5EF4-FFF2-40B4-BE49-F238E27FC236}">
                  <a16:creationId xmlns:a16="http://schemas.microsoft.com/office/drawing/2014/main" id="{441CA7FF-BEBD-9153-B79E-9655DB44AFA7}"/>
                </a:ext>
              </a:extLst>
            </p:cNvPr>
            <p:cNvGrpSpPr>
              <a:grpSpLocks noChangeAspect="1"/>
            </p:cNvGrpSpPr>
            <p:nvPr/>
          </p:nvGrpSpPr>
          <p:grpSpPr bwMode="auto">
            <a:xfrm>
              <a:off x="5343436" y="716864"/>
              <a:ext cx="1001953" cy="762397"/>
              <a:chOff x="5354591" y="712756"/>
              <a:chExt cx="480" cy="347"/>
            </a:xfrm>
            <a:solidFill>
              <a:srgbClr val="0077D4"/>
            </a:solidFill>
          </p:grpSpPr>
          <p:sp>
            <p:nvSpPr>
              <p:cNvPr id="126" name="Freeform 5">
                <a:extLst>
                  <a:ext uri="{FF2B5EF4-FFF2-40B4-BE49-F238E27FC236}">
                    <a16:creationId xmlns:a16="http://schemas.microsoft.com/office/drawing/2014/main" id="{655E39C3-F81E-3AFC-5351-C73307FC2425}"/>
                  </a:ext>
                </a:extLst>
              </p:cNvPr>
              <p:cNvSpPr>
                <a:spLocks/>
              </p:cNvSpPr>
              <p:nvPr/>
            </p:nvSpPr>
            <p:spPr bwMode="auto">
              <a:xfrm>
                <a:off x="5354733" y="713002"/>
                <a:ext cx="55" cy="58"/>
              </a:xfrm>
              <a:custGeom>
                <a:avLst/>
                <a:gdLst>
                  <a:gd name="T0" fmla="*/ 41 w 55"/>
                  <a:gd name="T1" fmla="*/ 0 h 58"/>
                  <a:gd name="T2" fmla="*/ 41 w 55"/>
                  <a:gd name="T3" fmla="*/ 0 h 58"/>
                  <a:gd name="T4" fmla="*/ 39 w 55"/>
                  <a:gd name="T5" fmla="*/ 1 h 58"/>
                  <a:gd name="T6" fmla="*/ 36 w 55"/>
                  <a:gd name="T7" fmla="*/ 2 h 58"/>
                  <a:gd name="T8" fmla="*/ 2 w 55"/>
                  <a:gd name="T9" fmla="*/ 39 h 58"/>
                  <a:gd name="T10" fmla="*/ 2 w 55"/>
                  <a:gd name="T11" fmla="*/ 39 h 58"/>
                  <a:gd name="T12" fmla="*/ 0 w 55"/>
                  <a:gd name="T13" fmla="*/ 42 h 58"/>
                  <a:gd name="T14" fmla="*/ 0 w 55"/>
                  <a:gd name="T15" fmla="*/ 46 h 58"/>
                  <a:gd name="T16" fmla="*/ 2 w 55"/>
                  <a:gd name="T17" fmla="*/ 50 h 58"/>
                  <a:gd name="T18" fmla="*/ 5 w 55"/>
                  <a:gd name="T19" fmla="*/ 54 h 58"/>
                  <a:gd name="T20" fmla="*/ 5 w 55"/>
                  <a:gd name="T21" fmla="*/ 54 h 58"/>
                  <a:gd name="T22" fmla="*/ 9 w 55"/>
                  <a:gd name="T23" fmla="*/ 57 h 58"/>
                  <a:gd name="T24" fmla="*/ 13 w 55"/>
                  <a:gd name="T25" fmla="*/ 58 h 58"/>
                  <a:gd name="T26" fmla="*/ 13 w 55"/>
                  <a:gd name="T27" fmla="*/ 58 h 58"/>
                  <a:gd name="T28" fmla="*/ 17 w 55"/>
                  <a:gd name="T29" fmla="*/ 58 h 58"/>
                  <a:gd name="T30" fmla="*/ 20 w 55"/>
                  <a:gd name="T31" fmla="*/ 56 h 58"/>
                  <a:gd name="T32" fmla="*/ 54 w 55"/>
                  <a:gd name="T33" fmla="*/ 19 h 58"/>
                  <a:gd name="T34" fmla="*/ 54 w 55"/>
                  <a:gd name="T35" fmla="*/ 19 h 58"/>
                  <a:gd name="T36" fmla="*/ 55 w 55"/>
                  <a:gd name="T37" fmla="*/ 16 h 58"/>
                  <a:gd name="T38" fmla="*/ 55 w 55"/>
                  <a:gd name="T39" fmla="*/ 11 h 58"/>
                  <a:gd name="T40" fmla="*/ 54 w 55"/>
                  <a:gd name="T41" fmla="*/ 7 h 58"/>
                  <a:gd name="T42" fmla="*/ 50 w 55"/>
                  <a:gd name="T43" fmla="*/ 4 h 58"/>
                  <a:gd name="T44" fmla="*/ 50 w 55"/>
                  <a:gd name="T45" fmla="*/ 4 h 58"/>
                  <a:gd name="T46" fmla="*/ 46 w 55"/>
                  <a:gd name="T47" fmla="*/ 1 h 58"/>
                  <a:gd name="T48" fmla="*/ 41 w 55"/>
                  <a:gd name="T49" fmla="*/ 0 h 58"/>
                  <a:gd name="T50" fmla="*/ 41 w 55"/>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8">
                    <a:moveTo>
                      <a:pt x="41" y="0"/>
                    </a:moveTo>
                    <a:lnTo>
                      <a:pt x="41" y="0"/>
                    </a:lnTo>
                    <a:lnTo>
                      <a:pt x="39" y="1"/>
                    </a:lnTo>
                    <a:lnTo>
                      <a:pt x="36" y="2"/>
                    </a:lnTo>
                    <a:lnTo>
                      <a:pt x="2" y="39"/>
                    </a:lnTo>
                    <a:lnTo>
                      <a:pt x="2" y="39"/>
                    </a:lnTo>
                    <a:lnTo>
                      <a:pt x="0" y="42"/>
                    </a:lnTo>
                    <a:lnTo>
                      <a:pt x="0" y="46"/>
                    </a:lnTo>
                    <a:lnTo>
                      <a:pt x="2" y="50"/>
                    </a:lnTo>
                    <a:lnTo>
                      <a:pt x="5" y="54"/>
                    </a:lnTo>
                    <a:lnTo>
                      <a:pt x="5" y="54"/>
                    </a:lnTo>
                    <a:lnTo>
                      <a:pt x="9" y="57"/>
                    </a:lnTo>
                    <a:lnTo>
                      <a:pt x="13" y="58"/>
                    </a:lnTo>
                    <a:lnTo>
                      <a:pt x="13" y="58"/>
                    </a:lnTo>
                    <a:lnTo>
                      <a:pt x="17" y="58"/>
                    </a:lnTo>
                    <a:lnTo>
                      <a:pt x="20" y="56"/>
                    </a:lnTo>
                    <a:lnTo>
                      <a:pt x="54" y="19"/>
                    </a:lnTo>
                    <a:lnTo>
                      <a:pt x="54" y="19"/>
                    </a:lnTo>
                    <a:lnTo>
                      <a:pt x="55" y="16"/>
                    </a:lnTo>
                    <a:lnTo>
                      <a:pt x="55" y="11"/>
                    </a:lnTo>
                    <a:lnTo>
                      <a:pt x="54" y="7"/>
                    </a:lnTo>
                    <a:lnTo>
                      <a:pt x="50" y="4"/>
                    </a:lnTo>
                    <a:lnTo>
                      <a:pt x="50" y="4"/>
                    </a:lnTo>
                    <a:lnTo>
                      <a:pt x="46"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27" name="Freeform 6">
                <a:extLst>
                  <a:ext uri="{FF2B5EF4-FFF2-40B4-BE49-F238E27FC236}">
                    <a16:creationId xmlns:a16="http://schemas.microsoft.com/office/drawing/2014/main" id="{AE79020A-0659-F8F5-597E-915ED272BFED}"/>
                  </a:ext>
                </a:extLst>
              </p:cNvPr>
              <p:cNvSpPr>
                <a:spLocks/>
              </p:cNvSpPr>
              <p:nvPr/>
            </p:nvSpPr>
            <p:spPr bwMode="auto">
              <a:xfrm>
                <a:off x="5354705" y="712977"/>
                <a:ext cx="56" cy="57"/>
              </a:xfrm>
              <a:custGeom>
                <a:avLst/>
                <a:gdLst>
                  <a:gd name="T0" fmla="*/ 42 w 56"/>
                  <a:gd name="T1" fmla="*/ 0 h 57"/>
                  <a:gd name="T2" fmla="*/ 42 w 56"/>
                  <a:gd name="T3" fmla="*/ 0 h 57"/>
                  <a:gd name="T4" fmla="*/ 39 w 56"/>
                  <a:gd name="T5" fmla="*/ 0 h 57"/>
                  <a:gd name="T6" fmla="*/ 36 w 56"/>
                  <a:gd name="T7" fmla="*/ 3 h 57"/>
                  <a:gd name="T8" fmla="*/ 2 w 56"/>
                  <a:gd name="T9" fmla="*/ 40 h 57"/>
                  <a:gd name="T10" fmla="*/ 2 w 56"/>
                  <a:gd name="T11" fmla="*/ 40 h 57"/>
                  <a:gd name="T12" fmla="*/ 1 w 56"/>
                  <a:gd name="T13" fmla="*/ 43 h 57"/>
                  <a:gd name="T14" fmla="*/ 0 w 56"/>
                  <a:gd name="T15" fmla="*/ 45 h 57"/>
                  <a:gd name="T16" fmla="*/ 0 w 56"/>
                  <a:gd name="T17" fmla="*/ 45 h 57"/>
                  <a:gd name="T18" fmla="*/ 2 w 56"/>
                  <a:gd name="T19" fmla="*/ 50 h 57"/>
                  <a:gd name="T20" fmla="*/ 5 w 56"/>
                  <a:gd name="T21" fmla="*/ 54 h 57"/>
                  <a:gd name="T22" fmla="*/ 5 w 56"/>
                  <a:gd name="T23" fmla="*/ 54 h 57"/>
                  <a:gd name="T24" fmla="*/ 10 w 56"/>
                  <a:gd name="T25" fmla="*/ 56 h 57"/>
                  <a:gd name="T26" fmla="*/ 15 w 56"/>
                  <a:gd name="T27" fmla="*/ 57 h 57"/>
                  <a:gd name="T28" fmla="*/ 15 w 56"/>
                  <a:gd name="T29" fmla="*/ 57 h 57"/>
                  <a:gd name="T30" fmla="*/ 17 w 56"/>
                  <a:gd name="T31" fmla="*/ 57 h 57"/>
                  <a:gd name="T32" fmla="*/ 20 w 56"/>
                  <a:gd name="T33" fmla="*/ 55 h 57"/>
                  <a:gd name="T34" fmla="*/ 54 w 56"/>
                  <a:gd name="T35" fmla="*/ 18 h 57"/>
                  <a:gd name="T36" fmla="*/ 54 w 56"/>
                  <a:gd name="T37" fmla="*/ 18 h 57"/>
                  <a:gd name="T38" fmla="*/ 56 w 56"/>
                  <a:gd name="T39" fmla="*/ 15 h 57"/>
                  <a:gd name="T40" fmla="*/ 56 w 56"/>
                  <a:gd name="T41" fmla="*/ 11 h 57"/>
                  <a:gd name="T42" fmla="*/ 54 w 56"/>
                  <a:gd name="T43" fmla="*/ 8 h 57"/>
                  <a:gd name="T44" fmla="*/ 51 w 56"/>
                  <a:gd name="T45" fmla="*/ 4 h 57"/>
                  <a:gd name="T46" fmla="*/ 51 w 56"/>
                  <a:gd name="T47" fmla="*/ 4 h 57"/>
                  <a:gd name="T48" fmla="*/ 47 w 56"/>
                  <a:gd name="T49" fmla="*/ 2 h 57"/>
                  <a:gd name="T50" fmla="*/ 42 w 56"/>
                  <a:gd name="T51" fmla="*/ 0 h 57"/>
                  <a:gd name="T52" fmla="*/ 42 w 56"/>
                  <a:gd name="T5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57">
                    <a:moveTo>
                      <a:pt x="42" y="0"/>
                    </a:moveTo>
                    <a:lnTo>
                      <a:pt x="42" y="0"/>
                    </a:lnTo>
                    <a:lnTo>
                      <a:pt x="39" y="0"/>
                    </a:lnTo>
                    <a:lnTo>
                      <a:pt x="36" y="3"/>
                    </a:lnTo>
                    <a:lnTo>
                      <a:pt x="2" y="40"/>
                    </a:lnTo>
                    <a:lnTo>
                      <a:pt x="2" y="40"/>
                    </a:lnTo>
                    <a:lnTo>
                      <a:pt x="1" y="43"/>
                    </a:lnTo>
                    <a:lnTo>
                      <a:pt x="0" y="45"/>
                    </a:lnTo>
                    <a:lnTo>
                      <a:pt x="0" y="45"/>
                    </a:lnTo>
                    <a:lnTo>
                      <a:pt x="2" y="50"/>
                    </a:lnTo>
                    <a:lnTo>
                      <a:pt x="5" y="54"/>
                    </a:lnTo>
                    <a:lnTo>
                      <a:pt x="5" y="54"/>
                    </a:lnTo>
                    <a:lnTo>
                      <a:pt x="10" y="56"/>
                    </a:lnTo>
                    <a:lnTo>
                      <a:pt x="15" y="57"/>
                    </a:lnTo>
                    <a:lnTo>
                      <a:pt x="15" y="57"/>
                    </a:lnTo>
                    <a:lnTo>
                      <a:pt x="17" y="57"/>
                    </a:lnTo>
                    <a:lnTo>
                      <a:pt x="20" y="55"/>
                    </a:lnTo>
                    <a:lnTo>
                      <a:pt x="54" y="18"/>
                    </a:lnTo>
                    <a:lnTo>
                      <a:pt x="54" y="18"/>
                    </a:lnTo>
                    <a:lnTo>
                      <a:pt x="56" y="15"/>
                    </a:lnTo>
                    <a:lnTo>
                      <a:pt x="56" y="11"/>
                    </a:lnTo>
                    <a:lnTo>
                      <a:pt x="54" y="8"/>
                    </a:lnTo>
                    <a:lnTo>
                      <a:pt x="51" y="4"/>
                    </a:lnTo>
                    <a:lnTo>
                      <a:pt x="51" y="4"/>
                    </a:lnTo>
                    <a:lnTo>
                      <a:pt x="47" y="2"/>
                    </a:lnTo>
                    <a:lnTo>
                      <a:pt x="42" y="0"/>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28" name="Freeform 7">
                <a:extLst>
                  <a:ext uri="{FF2B5EF4-FFF2-40B4-BE49-F238E27FC236}">
                    <a16:creationId xmlns:a16="http://schemas.microsoft.com/office/drawing/2014/main" id="{86223436-FF58-00DF-1DA1-55B21BBE02FA}"/>
                  </a:ext>
                </a:extLst>
              </p:cNvPr>
              <p:cNvSpPr>
                <a:spLocks/>
              </p:cNvSpPr>
              <p:nvPr/>
            </p:nvSpPr>
            <p:spPr bwMode="auto">
              <a:xfrm>
                <a:off x="5354760" y="713027"/>
                <a:ext cx="55" cy="58"/>
              </a:xfrm>
              <a:custGeom>
                <a:avLst/>
                <a:gdLst>
                  <a:gd name="T0" fmla="*/ 41 w 55"/>
                  <a:gd name="T1" fmla="*/ 0 h 58"/>
                  <a:gd name="T2" fmla="*/ 41 w 55"/>
                  <a:gd name="T3" fmla="*/ 0 h 58"/>
                  <a:gd name="T4" fmla="*/ 38 w 55"/>
                  <a:gd name="T5" fmla="*/ 0 h 58"/>
                  <a:gd name="T6" fmla="*/ 36 w 55"/>
                  <a:gd name="T7" fmla="*/ 2 h 58"/>
                  <a:gd name="T8" fmla="*/ 2 w 55"/>
                  <a:gd name="T9" fmla="*/ 39 h 58"/>
                  <a:gd name="T10" fmla="*/ 2 w 55"/>
                  <a:gd name="T11" fmla="*/ 39 h 58"/>
                  <a:gd name="T12" fmla="*/ 0 w 55"/>
                  <a:gd name="T13" fmla="*/ 42 h 58"/>
                  <a:gd name="T14" fmla="*/ 0 w 55"/>
                  <a:gd name="T15" fmla="*/ 46 h 58"/>
                  <a:gd name="T16" fmla="*/ 2 w 55"/>
                  <a:gd name="T17" fmla="*/ 50 h 58"/>
                  <a:gd name="T18" fmla="*/ 5 w 55"/>
                  <a:gd name="T19" fmla="*/ 54 h 58"/>
                  <a:gd name="T20" fmla="*/ 5 w 55"/>
                  <a:gd name="T21" fmla="*/ 54 h 58"/>
                  <a:gd name="T22" fmla="*/ 10 w 55"/>
                  <a:gd name="T23" fmla="*/ 57 h 58"/>
                  <a:gd name="T24" fmla="*/ 14 w 55"/>
                  <a:gd name="T25" fmla="*/ 58 h 58"/>
                  <a:gd name="T26" fmla="*/ 14 w 55"/>
                  <a:gd name="T27" fmla="*/ 58 h 58"/>
                  <a:gd name="T28" fmla="*/ 17 w 55"/>
                  <a:gd name="T29" fmla="*/ 57 h 58"/>
                  <a:gd name="T30" fmla="*/ 20 w 55"/>
                  <a:gd name="T31" fmla="*/ 55 h 58"/>
                  <a:gd name="T32" fmla="*/ 54 w 55"/>
                  <a:gd name="T33" fmla="*/ 18 h 58"/>
                  <a:gd name="T34" fmla="*/ 54 w 55"/>
                  <a:gd name="T35" fmla="*/ 18 h 58"/>
                  <a:gd name="T36" fmla="*/ 55 w 55"/>
                  <a:gd name="T37" fmla="*/ 15 h 58"/>
                  <a:gd name="T38" fmla="*/ 55 w 55"/>
                  <a:gd name="T39" fmla="*/ 12 h 58"/>
                  <a:gd name="T40" fmla="*/ 54 w 55"/>
                  <a:gd name="T41" fmla="*/ 7 h 58"/>
                  <a:gd name="T42" fmla="*/ 51 w 55"/>
                  <a:gd name="T43" fmla="*/ 3 h 58"/>
                  <a:gd name="T44" fmla="*/ 51 w 55"/>
                  <a:gd name="T45" fmla="*/ 3 h 58"/>
                  <a:gd name="T46" fmla="*/ 47 w 55"/>
                  <a:gd name="T47" fmla="*/ 1 h 58"/>
                  <a:gd name="T48" fmla="*/ 41 w 55"/>
                  <a:gd name="T49" fmla="*/ 0 h 58"/>
                  <a:gd name="T50" fmla="*/ 41 w 55"/>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8">
                    <a:moveTo>
                      <a:pt x="41" y="0"/>
                    </a:moveTo>
                    <a:lnTo>
                      <a:pt x="41" y="0"/>
                    </a:lnTo>
                    <a:lnTo>
                      <a:pt x="38" y="0"/>
                    </a:lnTo>
                    <a:lnTo>
                      <a:pt x="36" y="2"/>
                    </a:lnTo>
                    <a:lnTo>
                      <a:pt x="2" y="39"/>
                    </a:lnTo>
                    <a:lnTo>
                      <a:pt x="2" y="39"/>
                    </a:lnTo>
                    <a:lnTo>
                      <a:pt x="0" y="42"/>
                    </a:lnTo>
                    <a:lnTo>
                      <a:pt x="0" y="46"/>
                    </a:lnTo>
                    <a:lnTo>
                      <a:pt x="2" y="50"/>
                    </a:lnTo>
                    <a:lnTo>
                      <a:pt x="5" y="54"/>
                    </a:lnTo>
                    <a:lnTo>
                      <a:pt x="5" y="54"/>
                    </a:lnTo>
                    <a:lnTo>
                      <a:pt x="10" y="57"/>
                    </a:lnTo>
                    <a:lnTo>
                      <a:pt x="14" y="58"/>
                    </a:lnTo>
                    <a:lnTo>
                      <a:pt x="14" y="58"/>
                    </a:lnTo>
                    <a:lnTo>
                      <a:pt x="17" y="57"/>
                    </a:lnTo>
                    <a:lnTo>
                      <a:pt x="20" y="55"/>
                    </a:lnTo>
                    <a:lnTo>
                      <a:pt x="54" y="18"/>
                    </a:lnTo>
                    <a:lnTo>
                      <a:pt x="54" y="18"/>
                    </a:lnTo>
                    <a:lnTo>
                      <a:pt x="55" y="15"/>
                    </a:lnTo>
                    <a:lnTo>
                      <a:pt x="55" y="12"/>
                    </a:lnTo>
                    <a:lnTo>
                      <a:pt x="54" y="7"/>
                    </a:lnTo>
                    <a:lnTo>
                      <a:pt x="51" y="3"/>
                    </a:lnTo>
                    <a:lnTo>
                      <a:pt x="51" y="3"/>
                    </a:lnTo>
                    <a:lnTo>
                      <a:pt x="47"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29" name="Freeform 8">
                <a:extLst>
                  <a:ext uri="{FF2B5EF4-FFF2-40B4-BE49-F238E27FC236}">
                    <a16:creationId xmlns:a16="http://schemas.microsoft.com/office/drawing/2014/main" id="{FD71FCF1-F02A-17AA-9977-075896E05F38}"/>
                  </a:ext>
                </a:extLst>
              </p:cNvPr>
              <p:cNvSpPr>
                <a:spLocks/>
              </p:cNvSpPr>
              <p:nvPr/>
            </p:nvSpPr>
            <p:spPr bwMode="auto">
              <a:xfrm>
                <a:off x="5354797" y="713051"/>
                <a:ext cx="45" cy="47"/>
              </a:xfrm>
              <a:custGeom>
                <a:avLst/>
                <a:gdLst>
                  <a:gd name="T0" fmla="*/ 20 w 45"/>
                  <a:gd name="T1" fmla="*/ 45 h 47"/>
                  <a:gd name="T2" fmla="*/ 42 w 45"/>
                  <a:gd name="T3" fmla="*/ 19 h 47"/>
                  <a:gd name="T4" fmla="*/ 42 w 45"/>
                  <a:gd name="T5" fmla="*/ 19 h 47"/>
                  <a:gd name="T6" fmla="*/ 45 w 45"/>
                  <a:gd name="T7" fmla="*/ 16 h 47"/>
                  <a:gd name="T8" fmla="*/ 45 w 45"/>
                  <a:gd name="T9" fmla="*/ 12 h 47"/>
                  <a:gd name="T10" fmla="*/ 44 w 45"/>
                  <a:gd name="T11" fmla="*/ 8 h 47"/>
                  <a:gd name="T12" fmla="*/ 40 w 45"/>
                  <a:gd name="T13" fmla="*/ 5 h 47"/>
                  <a:gd name="T14" fmla="*/ 40 w 45"/>
                  <a:gd name="T15" fmla="*/ 5 h 47"/>
                  <a:gd name="T16" fmla="*/ 36 w 45"/>
                  <a:gd name="T17" fmla="*/ 1 h 47"/>
                  <a:gd name="T18" fmla="*/ 32 w 45"/>
                  <a:gd name="T19" fmla="*/ 0 h 47"/>
                  <a:gd name="T20" fmla="*/ 32 w 45"/>
                  <a:gd name="T21" fmla="*/ 0 h 47"/>
                  <a:gd name="T22" fmla="*/ 28 w 45"/>
                  <a:gd name="T23" fmla="*/ 1 h 47"/>
                  <a:gd name="T24" fmla="*/ 24 w 45"/>
                  <a:gd name="T25" fmla="*/ 3 h 47"/>
                  <a:gd name="T26" fmla="*/ 2 w 45"/>
                  <a:gd name="T27" fmla="*/ 28 h 47"/>
                  <a:gd name="T28" fmla="*/ 2 w 45"/>
                  <a:gd name="T29" fmla="*/ 28 h 47"/>
                  <a:gd name="T30" fmla="*/ 0 w 45"/>
                  <a:gd name="T31" fmla="*/ 31 h 47"/>
                  <a:gd name="T32" fmla="*/ 0 w 45"/>
                  <a:gd name="T33" fmla="*/ 35 h 47"/>
                  <a:gd name="T34" fmla="*/ 0 w 45"/>
                  <a:gd name="T35" fmla="*/ 35 h 47"/>
                  <a:gd name="T36" fmla="*/ 1 w 45"/>
                  <a:gd name="T37" fmla="*/ 39 h 47"/>
                  <a:gd name="T38" fmla="*/ 4 w 45"/>
                  <a:gd name="T39" fmla="*/ 44 h 47"/>
                  <a:gd name="T40" fmla="*/ 4 w 45"/>
                  <a:gd name="T41" fmla="*/ 44 h 47"/>
                  <a:gd name="T42" fmla="*/ 9 w 45"/>
                  <a:gd name="T43" fmla="*/ 46 h 47"/>
                  <a:gd name="T44" fmla="*/ 13 w 45"/>
                  <a:gd name="T45" fmla="*/ 47 h 47"/>
                  <a:gd name="T46" fmla="*/ 17 w 45"/>
                  <a:gd name="T47" fmla="*/ 47 h 47"/>
                  <a:gd name="T48" fmla="*/ 20 w 45"/>
                  <a:gd name="T49" fmla="*/ 45 h 47"/>
                  <a:gd name="T50" fmla="*/ 20 w 45"/>
                  <a:gd name="T51" fmla="*/ 4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47">
                    <a:moveTo>
                      <a:pt x="20" y="45"/>
                    </a:moveTo>
                    <a:lnTo>
                      <a:pt x="42" y="19"/>
                    </a:lnTo>
                    <a:lnTo>
                      <a:pt x="42" y="19"/>
                    </a:lnTo>
                    <a:lnTo>
                      <a:pt x="45" y="16"/>
                    </a:lnTo>
                    <a:lnTo>
                      <a:pt x="45" y="12"/>
                    </a:lnTo>
                    <a:lnTo>
                      <a:pt x="44" y="8"/>
                    </a:lnTo>
                    <a:lnTo>
                      <a:pt x="40" y="5"/>
                    </a:lnTo>
                    <a:lnTo>
                      <a:pt x="40" y="5"/>
                    </a:lnTo>
                    <a:lnTo>
                      <a:pt x="36" y="1"/>
                    </a:lnTo>
                    <a:lnTo>
                      <a:pt x="32" y="0"/>
                    </a:lnTo>
                    <a:lnTo>
                      <a:pt x="32" y="0"/>
                    </a:lnTo>
                    <a:lnTo>
                      <a:pt x="28" y="1"/>
                    </a:lnTo>
                    <a:lnTo>
                      <a:pt x="24" y="3"/>
                    </a:lnTo>
                    <a:lnTo>
                      <a:pt x="2" y="28"/>
                    </a:lnTo>
                    <a:lnTo>
                      <a:pt x="2" y="28"/>
                    </a:lnTo>
                    <a:lnTo>
                      <a:pt x="0" y="31"/>
                    </a:lnTo>
                    <a:lnTo>
                      <a:pt x="0" y="35"/>
                    </a:lnTo>
                    <a:lnTo>
                      <a:pt x="0" y="35"/>
                    </a:lnTo>
                    <a:lnTo>
                      <a:pt x="1" y="39"/>
                    </a:lnTo>
                    <a:lnTo>
                      <a:pt x="4" y="44"/>
                    </a:lnTo>
                    <a:lnTo>
                      <a:pt x="4" y="44"/>
                    </a:lnTo>
                    <a:lnTo>
                      <a:pt x="9" y="46"/>
                    </a:lnTo>
                    <a:lnTo>
                      <a:pt x="13" y="47"/>
                    </a:lnTo>
                    <a:lnTo>
                      <a:pt x="17" y="47"/>
                    </a:lnTo>
                    <a:lnTo>
                      <a:pt x="20" y="45"/>
                    </a:ln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30" name="Freeform 9">
                <a:extLst>
                  <a:ext uri="{FF2B5EF4-FFF2-40B4-BE49-F238E27FC236}">
                    <a16:creationId xmlns:a16="http://schemas.microsoft.com/office/drawing/2014/main" id="{28560A4E-5098-BC13-5FC7-7303C85D65F5}"/>
                  </a:ext>
                </a:extLst>
              </p:cNvPr>
              <p:cNvSpPr>
                <a:spLocks noEditPoints="1"/>
              </p:cNvSpPr>
              <p:nvPr/>
            </p:nvSpPr>
            <p:spPr bwMode="auto">
              <a:xfrm>
                <a:off x="5354762" y="712756"/>
                <a:ext cx="309" cy="233"/>
              </a:xfrm>
              <a:custGeom>
                <a:avLst/>
                <a:gdLst>
                  <a:gd name="T0" fmla="*/ 121 w 309"/>
                  <a:gd name="T1" fmla="*/ 70 h 233"/>
                  <a:gd name="T2" fmla="*/ 140 w 309"/>
                  <a:gd name="T3" fmla="*/ 100 h 233"/>
                  <a:gd name="T4" fmla="*/ 136 w 309"/>
                  <a:gd name="T5" fmla="*/ 99 h 233"/>
                  <a:gd name="T6" fmla="*/ 107 w 309"/>
                  <a:gd name="T7" fmla="*/ 91 h 233"/>
                  <a:gd name="T8" fmla="*/ 71 w 309"/>
                  <a:gd name="T9" fmla="*/ 85 h 233"/>
                  <a:gd name="T10" fmla="*/ 52 w 309"/>
                  <a:gd name="T11" fmla="*/ 85 h 233"/>
                  <a:gd name="T12" fmla="*/ 36 w 309"/>
                  <a:gd name="T13" fmla="*/ 90 h 233"/>
                  <a:gd name="T14" fmla="*/ 24 w 309"/>
                  <a:gd name="T15" fmla="*/ 99 h 233"/>
                  <a:gd name="T16" fmla="*/ 16 w 309"/>
                  <a:gd name="T17" fmla="*/ 108 h 233"/>
                  <a:gd name="T18" fmla="*/ 7 w 309"/>
                  <a:gd name="T19" fmla="*/ 128 h 233"/>
                  <a:gd name="T20" fmla="*/ 1 w 309"/>
                  <a:gd name="T21" fmla="*/ 147 h 233"/>
                  <a:gd name="T22" fmla="*/ 0 w 309"/>
                  <a:gd name="T23" fmla="*/ 163 h 233"/>
                  <a:gd name="T24" fmla="*/ 2 w 309"/>
                  <a:gd name="T25" fmla="*/ 170 h 233"/>
                  <a:gd name="T26" fmla="*/ 6 w 309"/>
                  <a:gd name="T27" fmla="*/ 176 h 233"/>
                  <a:gd name="T28" fmla="*/ 11 w 309"/>
                  <a:gd name="T29" fmla="*/ 179 h 233"/>
                  <a:gd name="T30" fmla="*/ 14 w 309"/>
                  <a:gd name="T31" fmla="*/ 179 h 233"/>
                  <a:gd name="T32" fmla="*/ 20 w 309"/>
                  <a:gd name="T33" fmla="*/ 177 h 233"/>
                  <a:gd name="T34" fmla="*/ 27 w 309"/>
                  <a:gd name="T35" fmla="*/ 168 h 233"/>
                  <a:gd name="T36" fmla="*/ 30 w 309"/>
                  <a:gd name="T37" fmla="*/ 156 h 233"/>
                  <a:gd name="T38" fmla="*/ 36 w 309"/>
                  <a:gd name="T39" fmla="*/ 140 h 233"/>
                  <a:gd name="T40" fmla="*/ 38 w 309"/>
                  <a:gd name="T41" fmla="*/ 136 h 233"/>
                  <a:gd name="T42" fmla="*/ 47 w 309"/>
                  <a:gd name="T43" fmla="*/ 131 h 233"/>
                  <a:gd name="T44" fmla="*/ 51 w 309"/>
                  <a:gd name="T45" fmla="*/ 130 h 233"/>
                  <a:gd name="T46" fmla="*/ 64 w 309"/>
                  <a:gd name="T47" fmla="*/ 129 h 233"/>
                  <a:gd name="T48" fmla="*/ 75 w 309"/>
                  <a:gd name="T49" fmla="*/ 134 h 233"/>
                  <a:gd name="T50" fmla="*/ 83 w 309"/>
                  <a:gd name="T51" fmla="*/ 140 h 233"/>
                  <a:gd name="T52" fmla="*/ 90 w 309"/>
                  <a:gd name="T53" fmla="*/ 152 h 233"/>
                  <a:gd name="T54" fmla="*/ 92 w 309"/>
                  <a:gd name="T55" fmla="*/ 157 h 233"/>
                  <a:gd name="T56" fmla="*/ 94 w 309"/>
                  <a:gd name="T57" fmla="*/ 163 h 233"/>
                  <a:gd name="T58" fmla="*/ 125 w 309"/>
                  <a:gd name="T59" fmla="*/ 203 h 233"/>
                  <a:gd name="T60" fmla="*/ 222 w 309"/>
                  <a:gd name="T61" fmla="*/ 160 h 233"/>
                  <a:gd name="T62" fmla="*/ 309 w 309"/>
                  <a:gd name="T63" fmla="*/ 112 h 233"/>
                  <a:gd name="T64" fmla="*/ 245 w 309"/>
                  <a:gd name="T65" fmla="*/ 163 h 233"/>
                  <a:gd name="T66" fmla="*/ 184 w 309"/>
                  <a:gd name="T67" fmla="*/ 18 h 233"/>
                  <a:gd name="T68" fmla="*/ 245 w 309"/>
                  <a:gd name="T69" fmla="*/ 16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9" h="233">
                    <a:moveTo>
                      <a:pt x="183" y="0"/>
                    </a:moveTo>
                    <a:lnTo>
                      <a:pt x="121" y="70"/>
                    </a:lnTo>
                    <a:lnTo>
                      <a:pt x="146" y="92"/>
                    </a:lnTo>
                    <a:lnTo>
                      <a:pt x="140" y="100"/>
                    </a:lnTo>
                    <a:lnTo>
                      <a:pt x="136" y="99"/>
                    </a:lnTo>
                    <a:lnTo>
                      <a:pt x="136" y="99"/>
                    </a:lnTo>
                    <a:lnTo>
                      <a:pt x="121" y="95"/>
                    </a:lnTo>
                    <a:lnTo>
                      <a:pt x="107" y="91"/>
                    </a:lnTo>
                    <a:lnTo>
                      <a:pt x="89" y="88"/>
                    </a:lnTo>
                    <a:lnTo>
                      <a:pt x="71" y="85"/>
                    </a:lnTo>
                    <a:lnTo>
                      <a:pt x="62" y="85"/>
                    </a:lnTo>
                    <a:lnTo>
                      <a:pt x="52" y="85"/>
                    </a:lnTo>
                    <a:lnTo>
                      <a:pt x="44" y="88"/>
                    </a:lnTo>
                    <a:lnTo>
                      <a:pt x="36" y="90"/>
                    </a:lnTo>
                    <a:lnTo>
                      <a:pt x="29" y="94"/>
                    </a:lnTo>
                    <a:lnTo>
                      <a:pt x="24" y="99"/>
                    </a:lnTo>
                    <a:lnTo>
                      <a:pt x="24" y="99"/>
                    </a:lnTo>
                    <a:lnTo>
                      <a:pt x="16" y="108"/>
                    </a:lnTo>
                    <a:lnTo>
                      <a:pt x="11" y="117"/>
                    </a:lnTo>
                    <a:lnTo>
                      <a:pt x="7" y="128"/>
                    </a:lnTo>
                    <a:lnTo>
                      <a:pt x="3" y="137"/>
                    </a:lnTo>
                    <a:lnTo>
                      <a:pt x="1" y="147"/>
                    </a:lnTo>
                    <a:lnTo>
                      <a:pt x="0" y="155"/>
                    </a:lnTo>
                    <a:lnTo>
                      <a:pt x="0" y="163"/>
                    </a:lnTo>
                    <a:lnTo>
                      <a:pt x="2" y="170"/>
                    </a:lnTo>
                    <a:lnTo>
                      <a:pt x="2" y="170"/>
                    </a:lnTo>
                    <a:lnTo>
                      <a:pt x="3" y="174"/>
                    </a:lnTo>
                    <a:lnTo>
                      <a:pt x="6" y="176"/>
                    </a:lnTo>
                    <a:lnTo>
                      <a:pt x="9" y="178"/>
                    </a:lnTo>
                    <a:lnTo>
                      <a:pt x="11" y="179"/>
                    </a:lnTo>
                    <a:lnTo>
                      <a:pt x="11" y="179"/>
                    </a:lnTo>
                    <a:lnTo>
                      <a:pt x="14" y="179"/>
                    </a:lnTo>
                    <a:lnTo>
                      <a:pt x="17" y="179"/>
                    </a:lnTo>
                    <a:lnTo>
                      <a:pt x="20" y="177"/>
                    </a:lnTo>
                    <a:lnTo>
                      <a:pt x="22" y="175"/>
                    </a:lnTo>
                    <a:lnTo>
                      <a:pt x="27" y="168"/>
                    </a:lnTo>
                    <a:lnTo>
                      <a:pt x="30" y="156"/>
                    </a:lnTo>
                    <a:lnTo>
                      <a:pt x="30" y="156"/>
                    </a:lnTo>
                    <a:lnTo>
                      <a:pt x="33" y="148"/>
                    </a:lnTo>
                    <a:lnTo>
                      <a:pt x="36" y="140"/>
                    </a:lnTo>
                    <a:lnTo>
                      <a:pt x="36" y="140"/>
                    </a:lnTo>
                    <a:lnTo>
                      <a:pt x="38" y="136"/>
                    </a:lnTo>
                    <a:lnTo>
                      <a:pt x="43" y="133"/>
                    </a:lnTo>
                    <a:lnTo>
                      <a:pt x="47" y="131"/>
                    </a:lnTo>
                    <a:lnTo>
                      <a:pt x="51" y="130"/>
                    </a:lnTo>
                    <a:lnTo>
                      <a:pt x="51" y="130"/>
                    </a:lnTo>
                    <a:lnTo>
                      <a:pt x="57" y="129"/>
                    </a:lnTo>
                    <a:lnTo>
                      <a:pt x="64" y="129"/>
                    </a:lnTo>
                    <a:lnTo>
                      <a:pt x="69" y="131"/>
                    </a:lnTo>
                    <a:lnTo>
                      <a:pt x="75" y="134"/>
                    </a:lnTo>
                    <a:lnTo>
                      <a:pt x="75" y="134"/>
                    </a:lnTo>
                    <a:lnTo>
                      <a:pt x="83" y="140"/>
                    </a:lnTo>
                    <a:lnTo>
                      <a:pt x="87" y="147"/>
                    </a:lnTo>
                    <a:lnTo>
                      <a:pt x="90" y="152"/>
                    </a:lnTo>
                    <a:lnTo>
                      <a:pt x="92" y="157"/>
                    </a:lnTo>
                    <a:lnTo>
                      <a:pt x="92" y="157"/>
                    </a:lnTo>
                    <a:lnTo>
                      <a:pt x="94" y="163"/>
                    </a:lnTo>
                    <a:lnTo>
                      <a:pt x="94" y="163"/>
                    </a:lnTo>
                    <a:lnTo>
                      <a:pt x="104" y="177"/>
                    </a:lnTo>
                    <a:lnTo>
                      <a:pt x="125" y="203"/>
                    </a:lnTo>
                    <a:lnTo>
                      <a:pt x="160" y="233"/>
                    </a:lnTo>
                    <a:lnTo>
                      <a:pt x="222" y="160"/>
                    </a:lnTo>
                    <a:lnTo>
                      <a:pt x="246" y="181"/>
                    </a:lnTo>
                    <a:lnTo>
                      <a:pt x="309" y="112"/>
                    </a:lnTo>
                    <a:lnTo>
                      <a:pt x="183" y="0"/>
                    </a:lnTo>
                    <a:close/>
                    <a:moveTo>
                      <a:pt x="245" y="163"/>
                    </a:moveTo>
                    <a:lnTo>
                      <a:pt x="139" y="69"/>
                    </a:lnTo>
                    <a:lnTo>
                      <a:pt x="184" y="18"/>
                    </a:lnTo>
                    <a:lnTo>
                      <a:pt x="291" y="113"/>
                    </a:lnTo>
                    <a:lnTo>
                      <a:pt x="245"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31" name="Freeform 10">
                <a:extLst>
                  <a:ext uri="{FF2B5EF4-FFF2-40B4-BE49-F238E27FC236}">
                    <a16:creationId xmlns:a16="http://schemas.microsoft.com/office/drawing/2014/main" id="{82CD4449-85B3-0F38-3F51-7228B2EE903B}"/>
                  </a:ext>
                </a:extLst>
              </p:cNvPr>
              <p:cNvSpPr>
                <a:spLocks noEditPoints="1"/>
              </p:cNvSpPr>
              <p:nvPr/>
            </p:nvSpPr>
            <p:spPr bwMode="auto">
              <a:xfrm>
                <a:off x="5354591" y="712756"/>
                <a:ext cx="336" cy="322"/>
              </a:xfrm>
              <a:custGeom>
                <a:avLst/>
                <a:gdLst>
                  <a:gd name="T0" fmla="*/ 288 w 336"/>
                  <a:gd name="T1" fmla="*/ 212 h 322"/>
                  <a:gd name="T2" fmla="*/ 258 w 336"/>
                  <a:gd name="T3" fmla="*/ 175 h 322"/>
                  <a:gd name="T4" fmla="*/ 252 w 336"/>
                  <a:gd name="T5" fmla="*/ 161 h 322"/>
                  <a:gd name="T6" fmla="*/ 247 w 336"/>
                  <a:gd name="T7" fmla="*/ 153 h 322"/>
                  <a:gd name="T8" fmla="*/ 239 w 336"/>
                  <a:gd name="T9" fmla="*/ 144 h 322"/>
                  <a:gd name="T10" fmla="*/ 228 w 336"/>
                  <a:gd name="T11" fmla="*/ 141 h 322"/>
                  <a:gd name="T12" fmla="*/ 221 w 336"/>
                  <a:gd name="T13" fmla="*/ 143 h 322"/>
                  <a:gd name="T14" fmla="*/ 216 w 336"/>
                  <a:gd name="T15" fmla="*/ 152 h 322"/>
                  <a:gd name="T16" fmla="*/ 209 w 336"/>
                  <a:gd name="T17" fmla="*/ 171 h 322"/>
                  <a:gd name="T18" fmla="*/ 199 w 336"/>
                  <a:gd name="T19" fmla="*/ 187 h 322"/>
                  <a:gd name="T20" fmla="*/ 180 w 336"/>
                  <a:gd name="T21" fmla="*/ 192 h 322"/>
                  <a:gd name="T22" fmla="*/ 169 w 336"/>
                  <a:gd name="T23" fmla="*/ 187 h 322"/>
                  <a:gd name="T24" fmla="*/ 161 w 336"/>
                  <a:gd name="T25" fmla="*/ 174 h 322"/>
                  <a:gd name="T26" fmla="*/ 159 w 336"/>
                  <a:gd name="T27" fmla="*/ 147 h 322"/>
                  <a:gd name="T28" fmla="*/ 170 w 336"/>
                  <a:gd name="T29" fmla="*/ 113 h 322"/>
                  <a:gd name="T30" fmla="*/ 185 w 336"/>
                  <a:gd name="T31" fmla="*/ 91 h 322"/>
                  <a:gd name="T32" fmla="*/ 195 w 336"/>
                  <a:gd name="T33" fmla="*/ 82 h 322"/>
                  <a:gd name="T34" fmla="*/ 186 w 336"/>
                  <a:gd name="T35" fmla="*/ 82 h 322"/>
                  <a:gd name="T36" fmla="*/ 174 w 336"/>
                  <a:gd name="T37" fmla="*/ 81 h 322"/>
                  <a:gd name="T38" fmla="*/ 0 w 336"/>
                  <a:gd name="T39" fmla="*/ 112 h 322"/>
                  <a:gd name="T40" fmla="*/ 117 w 336"/>
                  <a:gd name="T41" fmla="*/ 240 h 322"/>
                  <a:gd name="T42" fmla="*/ 144 w 336"/>
                  <a:gd name="T43" fmla="*/ 212 h 322"/>
                  <a:gd name="T44" fmla="*/ 156 w 336"/>
                  <a:gd name="T45" fmla="*/ 209 h 322"/>
                  <a:gd name="T46" fmla="*/ 165 w 336"/>
                  <a:gd name="T47" fmla="*/ 210 h 322"/>
                  <a:gd name="T48" fmla="*/ 173 w 336"/>
                  <a:gd name="T49" fmla="*/ 215 h 322"/>
                  <a:gd name="T50" fmla="*/ 182 w 336"/>
                  <a:gd name="T51" fmla="*/ 229 h 322"/>
                  <a:gd name="T52" fmla="*/ 183 w 336"/>
                  <a:gd name="T53" fmla="*/ 233 h 322"/>
                  <a:gd name="T54" fmla="*/ 192 w 336"/>
                  <a:gd name="T55" fmla="*/ 235 h 322"/>
                  <a:gd name="T56" fmla="*/ 201 w 336"/>
                  <a:gd name="T57" fmla="*/ 240 h 322"/>
                  <a:gd name="T58" fmla="*/ 209 w 336"/>
                  <a:gd name="T59" fmla="*/ 253 h 322"/>
                  <a:gd name="T60" fmla="*/ 210 w 336"/>
                  <a:gd name="T61" fmla="*/ 258 h 322"/>
                  <a:gd name="T62" fmla="*/ 220 w 336"/>
                  <a:gd name="T63" fmla="*/ 259 h 322"/>
                  <a:gd name="T64" fmla="*/ 228 w 336"/>
                  <a:gd name="T65" fmla="*/ 265 h 322"/>
                  <a:gd name="T66" fmla="*/ 237 w 336"/>
                  <a:gd name="T67" fmla="*/ 278 h 322"/>
                  <a:gd name="T68" fmla="*/ 238 w 336"/>
                  <a:gd name="T69" fmla="*/ 283 h 322"/>
                  <a:gd name="T70" fmla="*/ 247 w 336"/>
                  <a:gd name="T71" fmla="*/ 285 h 322"/>
                  <a:gd name="T72" fmla="*/ 255 w 336"/>
                  <a:gd name="T73" fmla="*/ 290 h 322"/>
                  <a:gd name="T74" fmla="*/ 263 w 336"/>
                  <a:gd name="T75" fmla="*/ 305 h 322"/>
                  <a:gd name="T76" fmla="*/ 273 w 336"/>
                  <a:gd name="T77" fmla="*/ 320 h 322"/>
                  <a:gd name="T78" fmla="*/ 285 w 336"/>
                  <a:gd name="T79" fmla="*/ 321 h 322"/>
                  <a:gd name="T80" fmla="*/ 291 w 336"/>
                  <a:gd name="T81" fmla="*/ 315 h 322"/>
                  <a:gd name="T82" fmla="*/ 290 w 336"/>
                  <a:gd name="T83" fmla="*/ 307 h 322"/>
                  <a:gd name="T84" fmla="*/ 252 w 336"/>
                  <a:gd name="T85" fmla="*/ 256 h 322"/>
                  <a:gd name="T86" fmla="*/ 299 w 336"/>
                  <a:gd name="T87" fmla="*/ 295 h 322"/>
                  <a:gd name="T88" fmla="*/ 308 w 336"/>
                  <a:gd name="T89" fmla="*/ 295 h 322"/>
                  <a:gd name="T90" fmla="*/ 313 w 336"/>
                  <a:gd name="T91" fmla="*/ 289 h 322"/>
                  <a:gd name="T92" fmla="*/ 312 w 336"/>
                  <a:gd name="T93" fmla="*/ 281 h 322"/>
                  <a:gd name="T94" fmla="*/ 274 w 336"/>
                  <a:gd name="T95" fmla="*/ 230 h 322"/>
                  <a:gd name="T96" fmla="*/ 321 w 336"/>
                  <a:gd name="T97" fmla="*/ 270 h 322"/>
                  <a:gd name="T98" fmla="*/ 330 w 336"/>
                  <a:gd name="T99" fmla="*/ 270 h 322"/>
                  <a:gd name="T100" fmla="*/ 335 w 336"/>
                  <a:gd name="T101" fmla="*/ 264 h 322"/>
                  <a:gd name="T102" fmla="*/ 334 w 336"/>
                  <a:gd name="T103" fmla="*/ 255 h 322"/>
                  <a:gd name="T104" fmla="*/ 63 w 336"/>
                  <a:gd name="T105" fmla="*/ 163 h 322"/>
                  <a:gd name="T106" fmla="*/ 170 w 336"/>
                  <a:gd name="T107" fmla="*/ 6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6" h="322">
                    <a:moveTo>
                      <a:pt x="332" y="252"/>
                    </a:moveTo>
                    <a:lnTo>
                      <a:pt x="288" y="212"/>
                    </a:lnTo>
                    <a:lnTo>
                      <a:pt x="288" y="212"/>
                    </a:lnTo>
                    <a:lnTo>
                      <a:pt x="288" y="212"/>
                    </a:lnTo>
                    <a:lnTo>
                      <a:pt x="265" y="186"/>
                    </a:lnTo>
                    <a:lnTo>
                      <a:pt x="258" y="175"/>
                    </a:lnTo>
                    <a:lnTo>
                      <a:pt x="254" y="169"/>
                    </a:lnTo>
                    <a:lnTo>
                      <a:pt x="254" y="169"/>
                    </a:lnTo>
                    <a:lnTo>
                      <a:pt x="252" y="161"/>
                    </a:lnTo>
                    <a:lnTo>
                      <a:pt x="252" y="161"/>
                    </a:lnTo>
                    <a:lnTo>
                      <a:pt x="250" y="157"/>
                    </a:lnTo>
                    <a:lnTo>
                      <a:pt x="247" y="153"/>
                    </a:lnTo>
                    <a:lnTo>
                      <a:pt x="244" y="149"/>
                    </a:lnTo>
                    <a:lnTo>
                      <a:pt x="239" y="144"/>
                    </a:lnTo>
                    <a:lnTo>
                      <a:pt x="239" y="144"/>
                    </a:lnTo>
                    <a:lnTo>
                      <a:pt x="235" y="142"/>
                    </a:lnTo>
                    <a:lnTo>
                      <a:pt x="232" y="141"/>
                    </a:lnTo>
                    <a:lnTo>
                      <a:pt x="228" y="141"/>
                    </a:lnTo>
                    <a:lnTo>
                      <a:pt x="225" y="141"/>
                    </a:lnTo>
                    <a:lnTo>
                      <a:pt x="225" y="141"/>
                    </a:lnTo>
                    <a:lnTo>
                      <a:pt x="221" y="143"/>
                    </a:lnTo>
                    <a:lnTo>
                      <a:pt x="218" y="147"/>
                    </a:lnTo>
                    <a:lnTo>
                      <a:pt x="218" y="147"/>
                    </a:lnTo>
                    <a:lnTo>
                      <a:pt x="216" y="152"/>
                    </a:lnTo>
                    <a:lnTo>
                      <a:pt x="214" y="159"/>
                    </a:lnTo>
                    <a:lnTo>
                      <a:pt x="214" y="159"/>
                    </a:lnTo>
                    <a:lnTo>
                      <a:pt x="209" y="171"/>
                    </a:lnTo>
                    <a:lnTo>
                      <a:pt x="207" y="177"/>
                    </a:lnTo>
                    <a:lnTo>
                      <a:pt x="203" y="182"/>
                    </a:lnTo>
                    <a:lnTo>
                      <a:pt x="199" y="187"/>
                    </a:lnTo>
                    <a:lnTo>
                      <a:pt x="193" y="191"/>
                    </a:lnTo>
                    <a:lnTo>
                      <a:pt x="187" y="192"/>
                    </a:lnTo>
                    <a:lnTo>
                      <a:pt x="180" y="192"/>
                    </a:lnTo>
                    <a:lnTo>
                      <a:pt x="180" y="192"/>
                    </a:lnTo>
                    <a:lnTo>
                      <a:pt x="173" y="190"/>
                    </a:lnTo>
                    <a:lnTo>
                      <a:pt x="169" y="187"/>
                    </a:lnTo>
                    <a:lnTo>
                      <a:pt x="164" y="181"/>
                    </a:lnTo>
                    <a:lnTo>
                      <a:pt x="161" y="174"/>
                    </a:lnTo>
                    <a:lnTo>
                      <a:pt x="161" y="174"/>
                    </a:lnTo>
                    <a:lnTo>
                      <a:pt x="160" y="167"/>
                    </a:lnTo>
                    <a:lnTo>
                      <a:pt x="159" y="157"/>
                    </a:lnTo>
                    <a:lnTo>
                      <a:pt x="159" y="147"/>
                    </a:lnTo>
                    <a:lnTo>
                      <a:pt x="161" y="135"/>
                    </a:lnTo>
                    <a:lnTo>
                      <a:pt x="165" y="123"/>
                    </a:lnTo>
                    <a:lnTo>
                      <a:pt x="170" y="113"/>
                    </a:lnTo>
                    <a:lnTo>
                      <a:pt x="177" y="101"/>
                    </a:lnTo>
                    <a:lnTo>
                      <a:pt x="185" y="91"/>
                    </a:lnTo>
                    <a:lnTo>
                      <a:pt x="185" y="91"/>
                    </a:lnTo>
                    <a:lnTo>
                      <a:pt x="189" y="86"/>
                    </a:lnTo>
                    <a:lnTo>
                      <a:pt x="195" y="82"/>
                    </a:lnTo>
                    <a:lnTo>
                      <a:pt x="195" y="82"/>
                    </a:lnTo>
                    <a:lnTo>
                      <a:pt x="195" y="82"/>
                    </a:lnTo>
                    <a:lnTo>
                      <a:pt x="195" y="82"/>
                    </a:lnTo>
                    <a:lnTo>
                      <a:pt x="186" y="82"/>
                    </a:lnTo>
                    <a:lnTo>
                      <a:pt x="186" y="82"/>
                    </a:lnTo>
                    <a:lnTo>
                      <a:pt x="180" y="82"/>
                    </a:lnTo>
                    <a:lnTo>
                      <a:pt x="174" y="81"/>
                    </a:lnTo>
                    <a:lnTo>
                      <a:pt x="188" y="70"/>
                    </a:lnTo>
                    <a:lnTo>
                      <a:pt x="125" y="0"/>
                    </a:lnTo>
                    <a:lnTo>
                      <a:pt x="0" y="112"/>
                    </a:lnTo>
                    <a:lnTo>
                      <a:pt x="62" y="181"/>
                    </a:lnTo>
                    <a:lnTo>
                      <a:pt x="78" y="168"/>
                    </a:lnTo>
                    <a:lnTo>
                      <a:pt x="117" y="240"/>
                    </a:lnTo>
                    <a:lnTo>
                      <a:pt x="141" y="215"/>
                    </a:lnTo>
                    <a:lnTo>
                      <a:pt x="141" y="215"/>
                    </a:lnTo>
                    <a:lnTo>
                      <a:pt x="144" y="212"/>
                    </a:lnTo>
                    <a:lnTo>
                      <a:pt x="148" y="210"/>
                    </a:lnTo>
                    <a:lnTo>
                      <a:pt x="151" y="209"/>
                    </a:lnTo>
                    <a:lnTo>
                      <a:pt x="156" y="209"/>
                    </a:lnTo>
                    <a:lnTo>
                      <a:pt x="156" y="209"/>
                    </a:lnTo>
                    <a:lnTo>
                      <a:pt x="161" y="209"/>
                    </a:lnTo>
                    <a:lnTo>
                      <a:pt x="165" y="210"/>
                    </a:lnTo>
                    <a:lnTo>
                      <a:pt x="170" y="212"/>
                    </a:lnTo>
                    <a:lnTo>
                      <a:pt x="173" y="215"/>
                    </a:lnTo>
                    <a:lnTo>
                      <a:pt x="173" y="215"/>
                    </a:lnTo>
                    <a:lnTo>
                      <a:pt x="178" y="219"/>
                    </a:lnTo>
                    <a:lnTo>
                      <a:pt x="180" y="224"/>
                    </a:lnTo>
                    <a:lnTo>
                      <a:pt x="182" y="229"/>
                    </a:lnTo>
                    <a:lnTo>
                      <a:pt x="183" y="233"/>
                    </a:lnTo>
                    <a:lnTo>
                      <a:pt x="183" y="233"/>
                    </a:lnTo>
                    <a:lnTo>
                      <a:pt x="183" y="233"/>
                    </a:lnTo>
                    <a:lnTo>
                      <a:pt x="183" y="233"/>
                    </a:lnTo>
                    <a:lnTo>
                      <a:pt x="188" y="234"/>
                    </a:lnTo>
                    <a:lnTo>
                      <a:pt x="192" y="235"/>
                    </a:lnTo>
                    <a:lnTo>
                      <a:pt x="197" y="237"/>
                    </a:lnTo>
                    <a:lnTo>
                      <a:pt x="201" y="240"/>
                    </a:lnTo>
                    <a:lnTo>
                      <a:pt x="201" y="240"/>
                    </a:lnTo>
                    <a:lnTo>
                      <a:pt x="205" y="245"/>
                    </a:lnTo>
                    <a:lnTo>
                      <a:pt x="207" y="249"/>
                    </a:lnTo>
                    <a:lnTo>
                      <a:pt x="209" y="253"/>
                    </a:lnTo>
                    <a:lnTo>
                      <a:pt x="209" y="258"/>
                    </a:lnTo>
                    <a:lnTo>
                      <a:pt x="209" y="258"/>
                    </a:lnTo>
                    <a:lnTo>
                      <a:pt x="210" y="258"/>
                    </a:lnTo>
                    <a:lnTo>
                      <a:pt x="210" y="258"/>
                    </a:lnTo>
                    <a:lnTo>
                      <a:pt x="216" y="258"/>
                    </a:lnTo>
                    <a:lnTo>
                      <a:pt x="220" y="259"/>
                    </a:lnTo>
                    <a:lnTo>
                      <a:pt x="224" y="263"/>
                    </a:lnTo>
                    <a:lnTo>
                      <a:pt x="228" y="265"/>
                    </a:lnTo>
                    <a:lnTo>
                      <a:pt x="228" y="265"/>
                    </a:lnTo>
                    <a:lnTo>
                      <a:pt x="232" y="269"/>
                    </a:lnTo>
                    <a:lnTo>
                      <a:pt x="235" y="273"/>
                    </a:lnTo>
                    <a:lnTo>
                      <a:pt x="237" y="278"/>
                    </a:lnTo>
                    <a:lnTo>
                      <a:pt x="237" y="283"/>
                    </a:lnTo>
                    <a:lnTo>
                      <a:pt x="237" y="283"/>
                    </a:lnTo>
                    <a:lnTo>
                      <a:pt x="238" y="283"/>
                    </a:lnTo>
                    <a:lnTo>
                      <a:pt x="238" y="283"/>
                    </a:lnTo>
                    <a:lnTo>
                      <a:pt x="242" y="284"/>
                    </a:lnTo>
                    <a:lnTo>
                      <a:pt x="247" y="285"/>
                    </a:lnTo>
                    <a:lnTo>
                      <a:pt x="251" y="287"/>
                    </a:lnTo>
                    <a:lnTo>
                      <a:pt x="255" y="290"/>
                    </a:lnTo>
                    <a:lnTo>
                      <a:pt x="255" y="290"/>
                    </a:lnTo>
                    <a:lnTo>
                      <a:pt x="259" y="294"/>
                    </a:lnTo>
                    <a:lnTo>
                      <a:pt x="261" y="300"/>
                    </a:lnTo>
                    <a:lnTo>
                      <a:pt x="263" y="305"/>
                    </a:lnTo>
                    <a:lnTo>
                      <a:pt x="263" y="311"/>
                    </a:lnTo>
                    <a:lnTo>
                      <a:pt x="273" y="320"/>
                    </a:lnTo>
                    <a:lnTo>
                      <a:pt x="273" y="320"/>
                    </a:lnTo>
                    <a:lnTo>
                      <a:pt x="277" y="322"/>
                    </a:lnTo>
                    <a:lnTo>
                      <a:pt x="281" y="322"/>
                    </a:lnTo>
                    <a:lnTo>
                      <a:pt x="285" y="321"/>
                    </a:lnTo>
                    <a:lnTo>
                      <a:pt x="289" y="319"/>
                    </a:lnTo>
                    <a:lnTo>
                      <a:pt x="289" y="319"/>
                    </a:lnTo>
                    <a:lnTo>
                      <a:pt x="291" y="315"/>
                    </a:lnTo>
                    <a:lnTo>
                      <a:pt x="291" y="311"/>
                    </a:lnTo>
                    <a:lnTo>
                      <a:pt x="291" y="311"/>
                    </a:lnTo>
                    <a:lnTo>
                      <a:pt x="290" y="307"/>
                    </a:lnTo>
                    <a:lnTo>
                      <a:pt x="288" y="303"/>
                    </a:lnTo>
                    <a:lnTo>
                      <a:pt x="243" y="266"/>
                    </a:lnTo>
                    <a:lnTo>
                      <a:pt x="252" y="256"/>
                    </a:lnTo>
                    <a:lnTo>
                      <a:pt x="295" y="293"/>
                    </a:lnTo>
                    <a:lnTo>
                      <a:pt x="295" y="293"/>
                    </a:lnTo>
                    <a:lnTo>
                      <a:pt x="299" y="295"/>
                    </a:lnTo>
                    <a:lnTo>
                      <a:pt x="303" y="296"/>
                    </a:lnTo>
                    <a:lnTo>
                      <a:pt x="303" y="296"/>
                    </a:lnTo>
                    <a:lnTo>
                      <a:pt x="308" y="295"/>
                    </a:lnTo>
                    <a:lnTo>
                      <a:pt x="311" y="293"/>
                    </a:lnTo>
                    <a:lnTo>
                      <a:pt x="311" y="293"/>
                    </a:lnTo>
                    <a:lnTo>
                      <a:pt x="313" y="289"/>
                    </a:lnTo>
                    <a:lnTo>
                      <a:pt x="313" y="285"/>
                    </a:lnTo>
                    <a:lnTo>
                      <a:pt x="313" y="285"/>
                    </a:lnTo>
                    <a:lnTo>
                      <a:pt x="312" y="281"/>
                    </a:lnTo>
                    <a:lnTo>
                      <a:pt x="310" y="277"/>
                    </a:lnTo>
                    <a:lnTo>
                      <a:pt x="266" y="239"/>
                    </a:lnTo>
                    <a:lnTo>
                      <a:pt x="274" y="230"/>
                    </a:lnTo>
                    <a:lnTo>
                      <a:pt x="318" y="268"/>
                    </a:lnTo>
                    <a:lnTo>
                      <a:pt x="318" y="268"/>
                    </a:lnTo>
                    <a:lnTo>
                      <a:pt x="321" y="270"/>
                    </a:lnTo>
                    <a:lnTo>
                      <a:pt x="326" y="271"/>
                    </a:lnTo>
                    <a:lnTo>
                      <a:pt x="326" y="271"/>
                    </a:lnTo>
                    <a:lnTo>
                      <a:pt x="330" y="270"/>
                    </a:lnTo>
                    <a:lnTo>
                      <a:pt x="333" y="267"/>
                    </a:lnTo>
                    <a:lnTo>
                      <a:pt x="333" y="267"/>
                    </a:lnTo>
                    <a:lnTo>
                      <a:pt x="335" y="264"/>
                    </a:lnTo>
                    <a:lnTo>
                      <a:pt x="336" y="259"/>
                    </a:lnTo>
                    <a:lnTo>
                      <a:pt x="336" y="259"/>
                    </a:lnTo>
                    <a:lnTo>
                      <a:pt x="334" y="255"/>
                    </a:lnTo>
                    <a:lnTo>
                      <a:pt x="332" y="252"/>
                    </a:lnTo>
                    <a:lnTo>
                      <a:pt x="332" y="252"/>
                    </a:lnTo>
                    <a:close/>
                    <a:moveTo>
                      <a:pt x="63" y="163"/>
                    </a:moveTo>
                    <a:lnTo>
                      <a:pt x="18" y="113"/>
                    </a:lnTo>
                    <a:lnTo>
                      <a:pt x="124" y="18"/>
                    </a:lnTo>
                    <a:lnTo>
                      <a:pt x="170" y="69"/>
                    </a:lnTo>
                    <a:lnTo>
                      <a:pt x="63"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32" name="Freeform 11">
                <a:extLst>
                  <a:ext uri="{FF2B5EF4-FFF2-40B4-BE49-F238E27FC236}">
                    <a16:creationId xmlns:a16="http://schemas.microsoft.com/office/drawing/2014/main" id="{E01B217A-0679-73BA-3452-71C26E423D11}"/>
                  </a:ext>
                </a:extLst>
              </p:cNvPr>
              <p:cNvSpPr>
                <a:spLocks noEditPoints="1"/>
              </p:cNvSpPr>
              <p:nvPr/>
            </p:nvSpPr>
            <p:spPr bwMode="auto">
              <a:xfrm>
                <a:off x="5354591" y="712756"/>
                <a:ext cx="336" cy="322"/>
              </a:xfrm>
              <a:custGeom>
                <a:avLst/>
                <a:gdLst>
                  <a:gd name="T0" fmla="*/ 288 w 336"/>
                  <a:gd name="T1" fmla="*/ 212 h 322"/>
                  <a:gd name="T2" fmla="*/ 258 w 336"/>
                  <a:gd name="T3" fmla="*/ 175 h 322"/>
                  <a:gd name="T4" fmla="*/ 252 w 336"/>
                  <a:gd name="T5" fmla="*/ 161 h 322"/>
                  <a:gd name="T6" fmla="*/ 247 w 336"/>
                  <a:gd name="T7" fmla="*/ 153 h 322"/>
                  <a:gd name="T8" fmla="*/ 239 w 336"/>
                  <a:gd name="T9" fmla="*/ 144 h 322"/>
                  <a:gd name="T10" fmla="*/ 228 w 336"/>
                  <a:gd name="T11" fmla="*/ 141 h 322"/>
                  <a:gd name="T12" fmla="*/ 221 w 336"/>
                  <a:gd name="T13" fmla="*/ 143 h 322"/>
                  <a:gd name="T14" fmla="*/ 216 w 336"/>
                  <a:gd name="T15" fmla="*/ 152 h 322"/>
                  <a:gd name="T16" fmla="*/ 209 w 336"/>
                  <a:gd name="T17" fmla="*/ 171 h 322"/>
                  <a:gd name="T18" fmla="*/ 199 w 336"/>
                  <a:gd name="T19" fmla="*/ 187 h 322"/>
                  <a:gd name="T20" fmla="*/ 180 w 336"/>
                  <a:gd name="T21" fmla="*/ 192 h 322"/>
                  <a:gd name="T22" fmla="*/ 169 w 336"/>
                  <a:gd name="T23" fmla="*/ 187 h 322"/>
                  <a:gd name="T24" fmla="*/ 161 w 336"/>
                  <a:gd name="T25" fmla="*/ 174 h 322"/>
                  <a:gd name="T26" fmla="*/ 159 w 336"/>
                  <a:gd name="T27" fmla="*/ 147 h 322"/>
                  <a:gd name="T28" fmla="*/ 170 w 336"/>
                  <a:gd name="T29" fmla="*/ 113 h 322"/>
                  <a:gd name="T30" fmla="*/ 185 w 336"/>
                  <a:gd name="T31" fmla="*/ 91 h 322"/>
                  <a:gd name="T32" fmla="*/ 195 w 336"/>
                  <a:gd name="T33" fmla="*/ 82 h 322"/>
                  <a:gd name="T34" fmla="*/ 186 w 336"/>
                  <a:gd name="T35" fmla="*/ 82 h 322"/>
                  <a:gd name="T36" fmla="*/ 174 w 336"/>
                  <a:gd name="T37" fmla="*/ 81 h 322"/>
                  <a:gd name="T38" fmla="*/ 0 w 336"/>
                  <a:gd name="T39" fmla="*/ 112 h 322"/>
                  <a:gd name="T40" fmla="*/ 117 w 336"/>
                  <a:gd name="T41" fmla="*/ 240 h 322"/>
                  <a:gd name="T42" fmla="*/ 144 w 336"/>
                  <a:gd name="T43" fmla="*/ 212 h 322"/>
                  <a:gd name="T44" fmla="*/ 156 w 336"/>
                  <a:gd name="T45" fmla="*/ 209 h 322"/>
                  <a:gd name="T46" fmla="*/ 165 w 336"/>
                  <a:gd name="T47" fmla="*/ 210 h 322"/>
                  <a:gd name="T48" fmla="*/ 173 w 336"/>
                  <a:gd name="T49" fmla="*/ 215 h 322"/>
                  <a:gd name="T50" fmla="*/ 182 w 336"/>
                  <a:gd name="T51" fmla="*/ 229 h 322"/>
                  <a:gd name="T52" fmla="*/ 183 w 336"/>
                  <a:gd name="T53" fmla="*/ 233 h 322"/>
                  <a:gd name="T54" fmla="*/ 192 w 336"/>
                  <a:gd name="T55" fmla="*/ 235 h 322"/>
                  <a:gd name="T56" fmla="*/ 201 w 336"/>
                  <a:gd name="T57" fmla="*/ 240 h 322"/>
                  <a:gd name="T58" fmla="*/ 209 w 336"/>
                  <a:gd name="T59" fmla="*/ 253 h 322"/>
                  <a:gd name="T60" fmla="*/ 210 w 336"/>
                  <a:gd name="T61" fmla="*/ 258 h 322"/>
                  <a:gd name="T62" fmla="*/ 220 w 336"/>
                  <a:gd name="T63" fmla="*/ 259 h 322"/>
                  <a:gd name="T64" fmla="*/ 228 w 336"/>
                  <a:gd name="T65" fmla="*/ 265 h 322"/>
                  <a:gd name="T66" fmla="*/ 237 w 336"/>
                  <a:gd name="T67" fmla="*/ 278 h 322"/>
                  <a:gd name="T68" fmla="*/ 238 w 336"/>
                  <a:gd name="T69" fmla="*/ 283 h 322"/>
                  <a:gd name="T70" fmla="*/ 247 w 336"/>
                  <a:gd name="T71" fmla="*/ 285 h 322"/>
                  <a:gd name="T72" fmla="*/ 255 w 336"/>
                  <a:gd name="T73" fmla="*/ 290 h 322"/>
                  <a:gd name="T74" fmla="*/ 263 w 336"/>
                  <a:gd name="T75" fmla="*/ 305 h 322"/>
                  <a:gd name="T76" fmla="*/ 273 w 336"/>
                  <a:gd name="T77" fmla="*/ 320 h 322"/>
                  <a:gd name="T78" fmla="*/ 285 w 336"/>
                  <a:gd name="T79" fmla="*/ 321 h 322"/>
                  <a:gd name="T80" fmla="*/ 291 w 336"/>
                  <a:gd name="T81" fmla="*/ 315 h 322"/>
                  <a:gd name="T82" fmla="*/ 290 w 336"/>
                  <a:gd name="T83" fmla="*/ 307 h 322"/>
                  <a:gd name="T84" fmla="*/ 252 w 336"/>
                  <a:gd name="T85" fmla="*/ 256 h 322"/>
                  <a:gd name="T86" fmla="*/ 299 w 336"/>
                  <a:gd name="T87" fmla="*/ 295 h 322"/>
                  <a:gd name="T88" fmla="*/ 308 w 336"/>
                  <a:gd name="T89" fmla="*/ 295 h 322"/>
                  <a:gd name="T90" fmla="*/ 313 w 336"/>
                  <a:gd name="T91" fmla="*/ 289 h 322"/>
                  <a:gd name="T92" fmla="*/ 312 w 336"/>
                  <a:gd name="T93" fmla="*/ 281 h 322"/>
                  <a:gd name="T94" fmla="*/ 274 w 336"/>
                  <a:gd name="T95" fmla="*/ 230 h 322"/>
                  <a:gd name="T96" fmla="*/ 321 w 336"/>
                  <a:gd name="T97" fmla="*/ 270 h 322"/>
                  <a:gd name="T98" fmla="*/ 330 w 336"/>
                  <a:gd name="T99" fmla="*/ 270 h 322"/>
                  <a:gd name="T100" fmla="*/ 335 w 336"/>
                  <a:gd name="T101" fmla="*/ 264 h 322"/>
                  <a:gd name="T102" fmla="*/ 334 w 336"/>
                  <a:gd name="T103" fmla="*/ 255 h 322"/>
                  <a:gd name="T104" fmla="*/ 63 w 336"/>
                  <a:gd name="T105" fmla="*/ 163 h 322"/>
                  <a:gd name="T106" fmla="*/ 170 w 336"/>
                  <a:gd name="T107" fmla="*/ 6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6" h="322">
                    <a:moveTo>
                      <a:pt x="332" y="252"/>
                    </a:moveTo>
                    <a:lnTo>
                      <a:pt x="288" y="212"/>
                    </a:lnTo>
                    <a:lnTo>
                      <a:pt x="288" y="212"/>
                    </a:lnTo>
                    <a:lnTo>
                      <a:pt x="288" y="212"/>
                    </a:lnTo>
                    <a:lnTo>
                      <a:pt x="265" y="186"/>
                    </a:lnTo>
                    <a:lnTo>
                      <a:pt x="258" y="175"/>
                    </a:lnTo>
                    <a:lnTo>
                      <a:pt x="254" y="169"/>
                    </a:lnTo>
                    <a:lnTo>
                      <a:pt x="254" y="169"/>
                    </a:lnTo>
                    <a:lnTo>
                      <a:pt x="252" y="161"/>
                    </a:lnTo>
                    <a:lnTo>
                      <a:pt x="252" y="161"/>
                    </a:lnTo>
                    <a:lnTo>
                      <a:pt x="250" y="157"/>
                    </a:lnTo>
                    <a:lnTo>
                      <a:pt x="247" y="153"/>
                    </a:lnTo>
                    <a:lnTo>
                      <a:pt x="244" y="149"/>
                    </a:lnTo>
                    <a:lnTo>
                      <a:pt x="239" y="144"/>
                    </a:lnTo>
                    <a:lnTo>
                      <a:pt x="239" y="144"/>
                    </a:lnTo>
                    <a:lnTo>
                      <a:pt x="235" y="142"/>
                    </a:lnTo>
                    <a:lnTo>
                      <a:pt x="232" y="141"/>
                    </a:lnTo>
                    <a:lnTo>
                      <a:pt x="228" y="141"/>
                    </a:lnTo>
                    <a:lnTo>
                      <a:pt x="225" y="141"/>
                    </a:lnTo>
                    <a:lnTo>
                      <a:pt x="225" y="141"/>
                    </a:lnTo>
                    <a:lnTo>
                      <a:pt x="221" y="143"/>
                    </a:lnTo>
                    <a:lnTo>
                      <a:pt x="218" y="147"/>
                    </a:lnTo>
                    <a:lnTo>
                      <a:pt x="218" y="147"/>
                    </a:lnTo>
                    <a:lnTo>
                      <a:pt x="216" y="152"/>
                    </a:lnTo>
                    <a:lnTo>
                      <a:pt x="214" y="159"/>
                    </a:lnTo>
                    <a:lnTo>
                      <a:pt x="214" y="159"/>
                    </a:lnTo>
                    <a:lnTo>
                      <a:pt x="209" y="171"/>
                    </a:lnTo>
                    <a:lnTo>
                      <a:pt x="207" y="177"/>
                    </a:lnTo>
                    <a:lnTo>
                      <a:pt x="203" y="182"/>
                    </a:lnTo>
                    <a:lnTo>
                      <a:pt x="199" y="187"/>
                    </a:lnTo>
                    <a:lnTo>
                      <a:pt x="193" y="191"/>
                    </a:lnTo>
                    <a:lnTo>
                      <a:pt x="187" y="192"/>
                    </a:lnTo>
                    <a:lnTo>
                      <a:pt x="180" y="192"/>
                    </a:lnTo>
                    <a:lnTo>
                      <a:pt x="180" y="192"/>
                    </a:lnTo>
                    <a:lnTo>
                      <a:pt x="173" y="190"/>
                    </a:lnTo>
                    <a:lnTo>
                      <a:pt x="169" y="187"/>
                    </a:lnTo>
                    <a:lnTo>
                      <a:pt x="164" y="181"/>
                    </a:lnTo>
                    <a:lnTo>
                      <a:pt x="161" y="174"/>
                    </a:lnTo>
                    <a:lnTo>
                      <a:pt x="161" y="174"/>
                    </a:lnTo>
                    <a:lnTo>
                      <a:pt x="160" y="167"/>
                    </a:lnTo>
                    <a:lnTo>
                      <a:pt x="159" y="157"/>
                    </a:lnTo>
                    <a:lnTo>
                      <a:pt x="159" y="147"/>
                    </a:lnTo>
                    <a:lnTo>
                      <a:pt x="161" y="135"/>
                    </a:lnTo>
                    <a:lnTo>
                      <a:pt x="165" y="123"/>
                    </a:lnTo>
                    <a:lnTo>
                      <a:pt x="170" y="113"/>
                    </a:lnTo>
                    <a:lnTo>
                      <a:pt x="177" y="101"/>
                    </a:lnTo>
                    <a:lnTo>
                      <a:pt x="185" y="91"/>
                    </a:lnTo>
                    <a:lnTo>
                      <a:pt x="185" y="91"/>
                    </a:lnTo>
                    <a:lnTo>
                      <a:pt x="189" y="86"/>
                    </a:lnTo>
                    <a:lnTo>
                      <a:pt x="195" y="82"/>
                    </a:lnTo>
                    <a:lnTo>
                      <a:pt x="195" y="82"/>
                    </a:lnTo>
                    <a:lnTo>
                      <a:pt x="195" y="82"/>
                    </a:lnTo>
                    <a:lnTo>
                      <a:pt x="195" y="82"/>
                    </a:lnTo>
                    <a:lnTo>
                      <a:pt x="186" y="82"/>
                    </a:lnTo>
                    <a:lnTo>
                      <a:pt x="186" y="82"/>
                    </a:lnTo>
                    <a:lnTo>
                      <a:pt x="180" y="82"/>
                    </a:lnTo>
                    <a:lnTo>
                      <a:pt x="174" y="81"/>
                    </a:lnTo>
                    <a:lnTo>
                      <a:pt x="188" y="70"/>
                    </a:lnTo>
                    <a:lnTo>
                      <a:pt x="125" y="0"/>
                    </a:lnTo>
                    <a:lnTo>
                      <a:pt x="0" y="112"/>
                    </a:lnTo>
                    <a:lnTo>
                      <a:pt x="62" y="181"/>
                    </a:lnTo>
                    <a:lnTo>
                      <a:pt x="78" y="168"/>
                    </a:lnTo>
                    <a:lnTo>
                      <a:pt x="117" y="240"/>
                    </a:lnTo>
                    <a:lnTo>
                      <a:pt x="141" y="215"/>
                    </a:lnTo>
                    <a:lnTo>
                      <a:pt x="141" y="215"/>
                    </a:lnTo>
                    <a:lnTo>
                      <a:pt x="144" y="212"/>
                    </a:lnTo>
                    <a:lnTo>
                      <a:pt x="148" y="210"/>
                    </a:lnTo>
                    <a:lnTo>
                      <a:pt x="151" y="209"/>
                    </a:lnTo>
                    <a:lnTo>
                      <a:pt x="156" y="209"/>
                    </a:lnTo>
                    <a:lnTo>
                      <a:pt x="156" y="209"/>
                    </a:lnTo>
                    <a:lnTo>
                      <a:pt x="161" y="209"/>
                    </a:lnTo>
                    <a:lnTo>
                      <a:pt x="165" y="210"/>
                    </a:lnTo>
                    <a:lnTo>
                      <a:pt x="170" y="212"/>
                    </a:lnTo>
                    <a:lnTo>
                      <a:pt x="173" y="215"/>
                    </a:lnTo>
                    <a:lnTo>
                      <a:pt x="173" y="215"/>
                    </a:lnTo>
                    <a:lnTo>
                      <a:pt x="178" y="219"/>
                    </a:lnTo>
                    <a:lnTo>
                      <a:pt x="180" y="224"/>
                    </a:lnTo>
                    <a:lnTo>
                      <a:pt x="182" y="229"/>
                    </a:lnTo>
                    <a:lnTo>
                      <a:pt x="183" y="233"/>
                    </a:lnTo>
                    <a:lnTo>
                      <a:pt x="183" y="233"/>
                    </a:lnTo>
                    <a:lnTo>
                      <a:pt x="183" y="233"/>
                    </a:lnTo>
                    <a:lnTo>
                      <a:pt x="183" y="233"/>
                    </a:lnTo>
                    <a:lnTo>
                      <a:pt x="188" y="234"/>
                    </a:lnTo>
                    <a:lnTo>
                      <a:pt x="192" y="235"/>
                    </a:lnTo>
                    <a:lnTo>
                      <a:pt x="197" y="237"/>
                    </a:lnTo>
                    <a:lnTo>
                      <a:pt x="201" y="240"/>
                    </a:lnTo>
                    <a:lnTo>
                      <a:pt x="201" y="240"/>
                    </a:lnTo>
                    <a:lnTo>
                      <a:pt x="205" y="245"/>
                    </a:lnTo>
                    <a:lnTo>
                      <a:pt x="207" y="249"/>
                    </a:lnTo>
                    <a:lnTo>
                      <a:pt x="209" y="253"/>
                    </a:lnTo>
                    <a:lnTo>
                      <a:pt x="209" y="258"/>
                    </a:lnTo>
                    <a:lnTo>
                      <a:pt x="209" y="258"/>
                    </a:lnTo>
                    <a:lnTo>
                      <a:pt x="210" y="258"/>
                    </a:lnTo>
                    <a:lnTo>
                      <a:pt x="210" y="258"/>
                    </a:lnTo>
                    <a:lnTo>
                      <a:pt x="216" y="258"/>
                    </a:lnTo>
                    <a:lnTo>
                      <a:pt x="220" y="259"/>
                    </a:lnTo>
                    <a:lnTo>
                      <a:pt x="224" y="263"/>
                    </a:lnTo>
                    <a:lnTo>
                      <a:pt x="228" y="265"/>
                    </a:lnTo>
                    <a:lnTo>
                      <a:pt x="228" y="265"/>
                    </a:lnTo>
                    <a:lnTo>
                      <a:pt x="232" y="269"/>
                    </a:lnTo>
                    <a:lnTo>
                      <a:pt x="235" y="273"/>
                    </a:lnTo>
                    <a:lnTo>
                      <a:pt x="237" y="278"/>
                    </a:lnTo>
                    <a:lnTo>
                      <a:pt x="237" y="283"/>
                    </a:lnTo>
                    <a:lnTo>
                      <a:pt x="237" y="283"/>
                    </a:lnTo>
                    <a:lnTo>
                      <a:pt x="238" y="283"/>
                    </a:lnTo>
                    <a:lnTo>
                      <a:pt x="238" y="283"/>
                    </a:lnTo>
                    <a:lnTo>
                      <a:pt x="242" y="284"/>
                    </a:lnTo>
                    <a:lnTo>
                      <a:pt x="247" y="285"/>
                    </a:lnTo>
                    <a:lnTo>
                      <a:pt x="251" y="287"/>
                    </a:lnTo>
                    <a:lnTo>
                      <a:pt x="255" y="290"/>
                    </a:lnTo>
                    <a:lnTo>
                      <a:pt x="255" y="290"/>
                    </a:lnTo>
                    <a:lnTo>
                      <a:pt x="259" y="294"/>
                    </a:lnTo>
                    <a:lnTo>
                      <a:pt x="261" y="300"/>
                    </a:lnTo>
                    <a:lnTo>
                      <a:pt x="263" y="305"/>
                    </a:lnTo>
                    <a:lnTo>
                      <a:pt x="263" y="311"/>
                    </a:lnTo>
                    <a:lnTo>
                      <a:pt x="273" y="320"/>
                    </a:lnTo>
                    <a:lnTo>
                      <a:pt x="273" y="320"/>
                    </a:lnTo>
                    <a:lnTo>
                      <a:pt x="277" y="322"/>
                    </a:lnTo>
                    <a:lnTo>
                      <a:pt x="281" y="322"/>
                    </a:lnTo>
                    <a:lnTo>
                      <a:pt x="285" y="321"/>
                    </a:lnTo>
                    <a:lnTo>
                      <a:pt x="289" y="319"/>
                    </a:lnTo>
                    <a:lnTo>
                      <a:pt x="289" y="319"/>
                    </a:lnTo>
                    <a:lnTo>
                      <a:pt x="291" y="315"/>
                    </a:lnTo>
                    <a:lnTo>
                      <a:pt x="291" y="311"/>
                    </a:lnTo>
                    <a:lnTo>
                      <a:pt x="291" y="311"/>
                    </a:lnTo>
                    <a:lnTo>
                      <a:pt x="290" y="307"/>
                    </a:lnTo>
                    <a:lnTo>
                      <a:pt x="288" y="303"/>
                    </a:lnTo>
                    <a:lnTo>
                      <a:pt x="243" y="266"/>
                    </a:lnTo>
                    <a:lnTo>
                      <a:pt x="252" y="256"/>
                    </a:lnTo>
                    <a:lnTo>
                      <a:pt x="295" y="293"/>
                    </a:lnTo>
                    <a:lnTo>
                      <a:pt x="295" y="293"/>
                    </a:lnTo>
                    <a:lnTo>
                      <a:pt x="299" y="295"/>
                    </a:lnTo>
                    <a:lnTo>
                      <a:pt x="303" y="296"/>
                    </a:lnTo>
                    <a:lnTo>
                      <a:pt x="303" y="296"/>
                    </a:lnTo>
                    <a:lnTo>
                      <a:pt x="308" y="295"/>
                    </a:lnTo>
                    <a:lnTo>
                      <a:pt x="311" y="293"/>
                    </a:lnTo>
                    <a:lnTo>
                      <a:pt x="311" y="293"/>
                    </a:lnTo>
                    <a:lnTo>
                      <a:pt x="313" y="289"/>
                    </a:lnTo>
                    <a:lnTo>
                      <a:pt x="313" y="285"/>
                    </a:lnTo>
                    <a:lnTo>
                      <a:pt x="313" y="285"/>
                    </a:lnTo>
                    <a:lnTo>
                      <a:pt x="312" y="281"/>
                    </a:lnTo>
                    <a:lnTo>
                      <a:pt x="310" y="277"/>
                    </a:lnTo>
                    <a:lnTo>
                      <a:pt x="266" y="239"/>
                    </a:lnTo>
                    <a:lnTo>
                      <a:pt x="274" y="230"/>
                    </a:lnTo>
                    <a:lnTo>
                      <a:pt x="318" y="268"/>
                    </a:lnTo>
                    <a:lnTo>
                      <a:pt x="318" y="268"/>
                    </a:lnTo>
                    <a:lnTo>
                      <a:pt x="321" y="270"/>
                    </a:lnTo>
                    <a:lnTo>
                      <a:pt x="326" y="271"/>
                    </a:lnTo>
                    <a:lnTo>
                      <a:pt x="326" y="271"/>
                    </a:lnTo>
                    <a:lnTo>
                      <a:pt x="330" y="270"/>
                    </a:lnTo>
                    <a:lnTo>
                      <a:pt x="333" y="267"/>
                    </a:lnTo>
                    <a:lnTo>
                      <a:pt x="333" y="267"/>
                    </a:lnTo>
                    <a:lnTo>
                      <a:pt x="335" y="264"/>
                    </a:lnTo>
                    <a:lnTo>
                      <a:pt x="336" y="259"/>
                    </a:lnTo>
                    <a:lnTo>
                      <a:pt x="336" y="259"/>
                    </a:lnTo>
                    <a:lnTo>
                      <a:pt x="334" y="255"/>
                    </a:lnTo>
                    <a:lnTo>
                      <a:pt x="332" y="252"/>
                    </a:lnTo>
                    <a:lnTo>
                      <a:pt x="332" y="252"/>
                    </a:lnTo>
                    <a:close/>
                    <a:moveTo>
                      <a:pt x="63" y="163"/>
                    </a:moveTo>
                    <a:lnTo>
                      <a:pt x="18" y="113"/>
                    </a:lnTo>
                    <a:lnTo>
                      <a:pt x="124" y="18"/>
                    </a:lnTo>
                    <a:lnTo>
                      <a:pt x="170" y="69"/>
                    </a:lnTo>
                    <a:lnTo>
                      <a:pt x="63"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sp>
            <p:nvSpPr>
              <p:cNvPr id="133" name="Freeform 12">
                <a:extLst>
                  <a:ext uri="{FF2B5EF4-FFF2-40B4-BE49-F238E27FC236}">
                    <a16:creationId xmlns:a16="http://schemas.microsoft.com/office/drawing/2014/main" id="{21A49F1D-9046-8E2C-1058-B4656114B78A}"/>
                  </a:ext>
                </a:extLst>
              </p:cNvPr>
              <p:cNvSpPr>
                <a:spLocks/>
              </p:cNvSpPr>
              <p:nvPr/>
            </p:nvSpPr>
            <p:spPr bwMode="auto">
              <a:xfrm>
                <a:off x="5354835" y="713079"/>
                <a:ext cx="25" cy="24"/>
              </a:xfrm>
              <a:custGeom>
                <a:avLst/>
                <a:gdLst>
                  <a:gd name="T0" fmla="*/ 20 w 25"/>
                  <a:gd name="T1" fmla="*/ 6 h 24"/>
                  <a:gd name="T2" fmla="*/ 14 w 25"/>
                  <a:gd name="T3" fmla="*/ 0 h 24"/>
                  <a:gd name="T4" fmla="*/ 14 w 25"/>
                  <a:gd name="T5" fmla="*/ 0 h 24"/>
                  <a:gd name="T6" fmla="*/ 14 w 25"/>
                  <a:gd name="T7" fmla="*/ 0 h 24"/>
                  <a:gd name="T8" fmla="*/ 0 w 25"/>
                  <a:gd name="T9" fmla="*/ 15 h 24"/>
                  <a:gd name="T10" fmla="*/ 7 w 25"/>
                  <a:gd name="T11" fmla="*/ 20 h 24"/>
                  <a:gd name="T12" fmla="*/ 7 w 25"/>
                  <a:gd name="T13" fmla="*/ 20 h 24"/>
                  <a:gd name="T14" fmla="*/ 11 w 25"/>
                  <a:gd name="T15" fmla="*/ 23 h 24"/>
                  <a:gd name="T16" fmla="*/ 15 w 25"/>
                  <a:gd name="T17" fmla="*/ 24 h 24"/>
                  <a:gd name="T18" fmla="*/ 19 w 25"/>
                  <a:gd name="T19" fmla="*/ 23 h 24"/>
                  <a:gd name="T20" fmla="*/ 22 w 25"/>
                  <a:gd name="T21" fmla="*/ 21 h 24"/>
                  <a:gd name="T22" fmla="*/ 22 w 25"/>
                  <a:gd name="T23" fmla="*/ 21 h 24"/>
                  <a:gd name="T24" fmla="*/ 25 w 25"/>
                  <a:gd name="T25" fmla="*/ 18 h 24"/>
                  <a:gd name="T26" fmla="*/ 25 w 25"/>
                  <a:gd name="T27" fmla="*/ 13 h 24"/>
                  <a:gd name="T28" fmla="*/ 23 w 25"/>
                  <a:gd name="T29" fmla="*/ 10 h 24"/>
                  <a:gd name="T30" fmla="*/ 20 w 25"/>
                  <a:gd name="T31" fmla="*/ 6 h 24"/>
                  <a:gd name="T32" fmla="*/ 20 w 25"/>
                  <a:gd name="T33"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4">
                    <a:moveTo>
                      <a:pt x="20" y="6"/>
                    </a:moveTo>
                    <a:lnTo>
                      <a:pt x="14" y="0"/>
                    </a:lnTo>
                    <a:lnTo>
                      <a:pt x="14" y="0"/>
                    </a:lnTo>
                    <a:lnTo>
                      <a:pt x="14" y="0"/>
                    </a:lnTo>
                    <a:lnTo>
                      <a:pt x="0" y="15"/>
                    </a:lnTo>
                    <a:lnTo>
                      <a:pt x="7" y="20"/>
                    </a:lnTo>
                    <a:lnTo>
                      <a:pt x="7" y="20"/>
                    </a:lnTo>
                    <a:lnTo>
                      <a:pt x="11" y="23"/>
                    </a:lnTo>
                    <a:lnTo>
                      <a:pt x="15" y="24"/>
                    </a:lnTo>
                    <a:lnTo>
                      <a:pt x="19" y="23"/>
                    </a:lnTo>
                    <a:lnTo>
                      <a:pt x="22" y="21"/>
                    </a:lnTo>
                    <a:lnTo>
                      <a:pt x="22" y="21"/>
                    </a:lnTo>
                    <a:lnTo>
                      <a:pt x="25" y="18"/>
                    </a:lnTo>
                    <a:lnTo>
                      <a:pt x="25" y="13"/>
                    </a:lnTo>
                    <a:lnTo>
                      <a:pt x="23" y="10"/>
                    </a:lnTo>
                    <a:lnTo>
                      <a:pt x="20" y="6"/>
                    </a:lnTo>
                    <a:lnTo>
                      <a:pt x="2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s-ES" sz="1400" b="1" i="0" u="none" strike="noStrike" kern="1200" cap="none" spc="0" normalizeH="0" baseline="0" dirty="0">
                  <a:ln>
                    <a:noFill/>
                  </a:ln>
                  <a:solidFill>
                    <a:srgbClr val="003C70"/>
                  </a:solidFill>
                  <a:effectLst/>
                  <a:uLnTx/>
                  <a:uFillTx/>
                  <a:latin typeface="Archivo"/>
                  <a:ea typeface="+mn-ea"/>
                  <a:cs typeface="+mn-cs"/>
                </a:endParaRPr>
              </a:p>
            </p:txBody>
          </p:sp>
        </p:grpSp>
      </p:grpSp>
      <p:sp>
        <p:nvSpPr>
          <p:cNvPr id="202" name="TextBox 112">
            <a:extLst>
              <a:ext uri="{FF2B5EF4-FFF2-40B4-BE49-F238E27FC236}">
                <a16:creationId xmlns:a16="http://schemas.microsoft.com/office/drawing/2014/main" id="{2DCFD211-1BB4-530C-384D-C8B194ABF97F}"/>
              </a:ext>
            </a:extLst>
          </p:cNvPr>
          <p:cNvSpPr txBox="1"/>
          <p:nvPr/>
        </p:nvSpPr>
        <p:spPr>
          <a:xfrm>
            <a:off x="5100373" y="3547478"/>
            <a:ext cx="2161479" cy="492651"/>
          </a:xfrm>
          <a:prstGeom prst="rect">
            <a:avLst/>
          </a:prstGeom>
          <a:noFill/>
        </p:spPr>
        <p:txBody>
          <a:bodyPr wrap="square" lIns="0" tIns="0" rIns="0" bIns="0" rtlCol="0">
            <a:noAutofit/>
          </a:bodyPr>
          <a:lstStyle/>
          <a:p>
            <a:pPr marL="0" marR="0" lvl="0" indent="0" algn="ctr" defTabSz="914400" rtl="0" eaLnBrk="1" fontAlgn="auto" latinLnBrk="0" hangingPunct="1">
              <a:lnSpc>
                <a:spcPct val="116000"/>
              </a:lnSpc>
              <a:spcBef>
                <a:spcPts val="0"/>
              </a:spcBef>
              <a:spcAft>
                <a:spcPts val="800"/>
              </a:spcAft>
              <a:buClrTx/>
              <a:buSzTx/>
              <a:buFont typeface="Arial" panose="020B0604020202020204" pitchFamily="34" charset="0"/>
              <a:buNone/>
              <a:tabLst/>
              <a:defRPr/>
            </a:pPr>
            <a:r>
              <a:rPr kumimoji="0" lang="es-ES" sz="1800" b="0" i="0" u="none" strike="noStrike" kern="1200" cap="none" spc="0" normalizeH="0" baseline="0" dirty="0">
                <a:ln>
                  <a:noFill/>
                </a:ln>
                <a:solidFill>
                  <a:srgbClr val="000000"/>
                </a:solidFill>
                <a:effectLst/>
                <a:uLnTx/>
                <a:uFillTx/>
                <a:latin typeface="Archivo" pitchFamily="2" charset="0"/>
                <a:ea typeface="Times New Roman" panose="02020603050405020304" pitchFamily="18" charset="0"/>
                <a:cs typeface="Times New Roman" panose="02020603050405020304" pitchFamily="18" charset="0"/>
              </a:rPr>
              <a:t>La suscripción médica acelerada</a:t>
            </a:r>
          </a:p>
        </p:txBody>
      </p:sp>
      <p:sp>
        <p:nvSpPr>
          <p:cNvPr id="203" name="TextBox 112">
            <a:extLst>
              <a:ext uri="{FF2B5EF4-FFF2-40B4-BE49-F238E27FC236}">
                <a16:creationId xmlns:a16="http://schemas.microsoft.com/office/drawing/2014/main" id="{ADA0BB47-C95A-6300-84C3-EEAB89440C26}"/>
              </a:ext>
            </a:extLst>
          </p:cNvPr>
          <p:cNvSpPr txBox="1"/>
          <p:nvPr/>
        </p:nvSpPr>
        <p:spPr>
          <a:xfrm>
            <a:off x="2898319" y="3547478"/>
            <a:ext cx="2325052" cy="492651"/>
          </a:xfrm>
          <a:prstGeom prst="rect">
            <a:avLst/>
          </a:prstGeom>
          <a:noFill/>
        </p:spPr>
        <p:txBody>
          <a:bodyPr wrap="square" lIns="0" tIns="0" rIns="0" bIns="0" rtlCol="0">
            <a:noAutofit/>
          </a:bodyPr>
          <a:lstStyle/>
          <a:p>
            <a:pPr marL="0" marR="0" lvl="0" indent="0" algn="ctr" defTabSz="914400" rtl="0" eaLnBrk="1" fontAlgn="auto" latinLnBrk="0" hangingPunct="1">
              <a:lnSpc>
                <a:spcPct val="116000"/>
              </a:lnSpc>
              <a:spcBef>
                <a:spcPts val="0"/>
              </a:spcBef>
              <a:spcAft>
                <a:spcPts val="800"/>
              </a:spcAft>
              <a:buClrTx/>
              <a:buSzTx/>
              <a:buFont typeface="Arial" panose="020B0604020202020204" pitchFamily="34" charset="0"/>
              <a:buNone/>
              <a:tabLst/>
              <a:defRPr/>
            </a:pPr>
            <a:r>
              <a:rPr kumimoji="0" lang="es-ES" sz="1800" b="0" i="0" u="none" strike="noStrike" kern="1200" cap="none" spc="0" normalizeH="0" baseline="0" dirty="0">
                <a:ln>
                  <a:noFill/>
                </a:ln>
                <a:solidFill>
                  <a:srgbClr val="000000"/>
                </a:solidFill>
                <a:effectLst/>
                <a:uLnTx/>
                <a:uFillTx/>
                <a:latin typeface="Archivo" pitchFamily="2" charset="0"/>
                <a:ea typeface="Times New Roman" panose="02020603050405020304" pitchFamily="18" charset="0"/>
                <a:cs typeface="Times New Roman" panose="02020603050405020304" pitchFamily="18" charset="0"/>
              </a:rPr>
              <a:t>Analíticas de comportamiento</a:t>
            </a:r>
          </a:p>
        </p:txBody>
      </p:sp>
      <p:sp>
        <p:nvSpPr>
          <p:cNvPr id="204" name="TextBox 114">
            <a:extLst>
              <a:ext uri="{FF2B5EF4-FFF2-40B4-BE49-F238E27FC236}">
                <a16:creationId xmlns:a16="http://schemas.microsoft.com/office/drawing/2014/main" id="{61F67B3B-C38C-DAA0-B1BA-EE2431600AE6}"/>
              </a:ext>
            </a:extLst>
          </p:cNvPr>
          <p:cNvSpPr txBox="1"/>
          <p:nvPr/>
        </p:nvSpPr>
        <p:spPr>
          <a:xfrm>
            <a:off x="7419975" y="3547478"/>
            <a:ext cx="1791327" cy="492650"/>
          </a:xfrm>
          <a:prstGeom prst="rect">
            <a:avLst/>
          </a:prstGeom>
          <a:noFill/>
        </p:spPr>
        <p:txBody>
          <a:bodyPr wrap="square" lIns="0" tIns="0" rIns="0" bIns="0" rtlCol="0">
            <a:noAutofit/>
          </a:bodyPr>
          <a:lstStyle/>
          <a:p>
            <a:pPr marL="0" marR="0" lvl="0" indent="0" algn="ctr" defTabSz="914400" rtl="0" eaLnBrk="1" fontAlgn="auto" latinLnBrk="0" hangingPunct="1">
              <a:lnSpc>
                <a:spcPct val="116000"/>
              </a:lnSpc>
              <a:spcBef>
                <a:spcPts val="0"/>
              </a:spcBef>
              <a:spcAft>
                <a:spcPts val="800"/>
              </a:spcAft>
              <a:buClrTx/>
              <a:buSzTx/>
              <a:buFont typeface="Arial" panose="020B0604020202020204" pitchFamily="34" charset="0"/>
              <a:buNone/>
              <a:tabLst/>
              <a:defRPr/>
            </a:pPr>
            <a:r>
              <a:rPr kumimoji="0" lang="es-ES" sz="1800" b="0" i="0" u="none" strike="noStrike" kern="1200" cap="none" spc="0" normalizeH="0" baseline="0" dirty="0">
                <a:ln>
                  <a:noFill/>
                </a:ln>
                <a:solidFill>
                  <a:srgbClr val="000000"/>
                </a:solidFill>
                <a:effectLst/>
                <a:uLnTx/>
                <a:uFillTx/>
                <a:latin typeface="Archivo" pitchFamily="2" charset="0"/>
                <a:ea typeface="Times New Roman" panose="02020603050405020304" pitchFamily="18" charset="0"/>
                <a:cs typeface="Times New Roman" panose="02020603050405020304" pitchFamily="18" charset="0"/>
              </a:rPr>
              <a:t>Mejorando la salud del cliente</a:t>
            </a:r>
            <a:endParaRPr kumimoji="0" lang="es-ES" sz="1800" b="0" i="0" u="none" strike="noStrike" kern="1200" cap="none" spc="0" normalizeH="0" baseline="0" dirty="0">
              <a:ln>
                <a:noFill/>
              </a:ln>
              <a:solidFill>
                <a:srgbClr val="003C70"/>
              </a:solidFill>
              <a:effectLst/>
              <a:uLnTx/>
              <a:uFillTx/>
              <a:latin typeface="Aptos" panose="020B0004020202020204" pitchFamily="34" charset="0"/>
              <a:ea typeface="Times New Roman" panose="02020603050405020304" pitchFamily="18" charset="0"/>
              <a:cs typeface="Times New Roman" panose="02020603050405020304" pitchFamily="18" charset="0"/>
            </a:endParaRPr>
          </a:p>
        </p:txBody>
      </p:sp>
      <p:sp>
        <p:nvSpPr>
          <p:cNvPr id="205" name="TextBox 116">
            <a:extLst>
              <a:ext uri="{FF2B5EF4-FFF2-40B4-BE49-F238E27FC236}">
                <a16:creationId xmlns:a16="http://schemas.microsoft.com/office/drawing/2014/main" id="{473A9F83-F052-E0FD-EA77-55B0A6AC9F61}"/>
              </a:ext>
            </a:extLst>
          </p:cNvPr>
          <p:cNvSpPr txBox="1"/>
          <p:nvPr/>
        </p:nvSpPr>
        <p:spPr>
          <a:xfrm>
            <a:off x="9721260" y="3547478"/>
            <a:ext cx="1529066" cy="492650"/>
          </a:xfrm>
          <a:prstGeom prst="rect">
            <a:avLst/>
          </a:prstGeom>
          <a:noFill/>
        </p:spPr>
        <p:txBody>
          <a:bodyPr wrap="square" lIns="0" tIns="0" rIns="0" bIns="0" rtlCol="0">
            <a:noAutofit/>
          </a:bodyPr>
          <a:lstStyle/>
          <a:p>
            <a:pPr marL="0" marR="0" lvl="0" indent="0" algn="ctr" defTabSz="914400" rtl="0" eaLnBrk="1" fontAlgn="auto" latinLnBrk="0" hangingPunct="1">
              <a:lnSpc>
                <a:spcPct val="116000"/>
              </a:lnSpc>
              <a:spcBef>
                <a:spcPts val="0"/>
              </a:spcBef>
              <a:spcAft>
                <a:spcPts val="800"/>
              </a:spcAft>
              <a:buClrTx/>
              <a:buSzTx/>
              <a:buFont typeface="Arial" panose="020B0604020202020204" pitchFamily="34" charset="0"/>
              <a:buNone/>
              <a:tabLst/>
              <a:defRPr/>
            </a:pPr>
            <a:r>
              <a:rPr kumimoji="0" lang="es-ES" sz="1800" b="0" i="0" u="none" strike="noStrike" kern="1200" cap="none" spc="0" normalizeH="0" baseline="0" dirty="0">
                <a:ln>
                  <a:noFill/>
                </a:ln>
                <a:solidFill>
                  <a:srgbClr val="000000"/>
                </a:solidFill>
                <a:effectLst/>
                <a:uLnTx/>
                <a:uFillTx/>
                <a:latin typeface="Archivo" pitchFamily="2" charset="0"/>
                <a:ea typeface="Times New Roman" panose="02020603050405020304" pitchFamily="18" charset="0"/>
                <a:cs typeface="Times New Roman" panose="02020603050405020304" pitchFamily="18" charset="0"/>
              </a:rPr>
              <a:t>Detectar </a:t>
            </a:r>
            <a:br>
              <a:rPr kumimoji="0" lang="es-ES" sz="1800" b="0" i="0" u="none" strike="noStrike" kern="1200" cap="none" spc="0" normalizeH="0" baseline="0" dirty="0">
                <a:ln>
                  <a:noFill/>
                </a:ln>
                <a:solidFill>
                  <a:srgbClr val="000000"/>
                </a:solidFill>
                <a:effectLst/>
                <a:uLnTx/>
                <a:uFillTx/>
                <a:latin typeface="Archivo" pitchFamily="2" charset="0"/>
                <a:ea typeface="Times New Roman" panose="02020603050405020304" pitchFamily="18" charset="0"/>
                <a:cs typeface="Times New Roman" panose="02020603050405020304" pitchFamily="18" charset="0"/>
              </a:rPr>
            </a:br>
            <a:r>
              <a:rPr kumimoji="0" lang="es-ES" sz="1800" b="0" i="0" u="none" strike="noStrike" kern="1200" cap="none" spc="0" normalizeH="0" baseline="0" dirty="0">
                <a:ln>
                  <a:noFill/>
                </a:ln>
                <a:solidFill>
                  <a:srgbClr val="000000"/>
                </a:solidFill>
                <a:effectLst/>
                <a:uLnTx/>
                <a:uFillTx/>
                <a:latin typeface="Archivo" pitchFamily="2" charset="0"/>
                <a:ea typeface="Times New Roman" panose="02020603050405020304" pitchFamily="18" charset="0"/>
                <a:cs typeface="Times New Roman" panose="02020603050405020304" pitchFamily="18" charset="0"/>
              </a:rPr>
              <a:t>fraude</a:t>
            </a:r>
            <a:endParaRPr kumimoji="0" lang="es-ES" sz="1800" b="0" i="0" u="none" strike="noStrike" kern="1200" cap="none" spc="0" normalizeH="0" baseline="0" dirty="0">
              <a:ln>
                <a:noFill/>
              </a:ln>
              <a:solidFill>
                <a:srgbClr val="003C70"/>
              </a:solidFill>
              <a:effectLst/>
              <a:uLnTx/>
              <a:uFillTx/>
              <a:latin typeface="Aptos" panose="020B00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5518339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D35940E1-DC80-2FD2-E88B-A07237DD0D56}"/>
              </a:ext>
            </a:extLst>
          </p:cNvPr>
          <p:cNvSpPr txBox="1"/>
          <p:nvPr/>
        </p:nvSpPr>
        <p:spPr>
          <a:xfrm>
            <a:off x="1829443" y="1591534"/>
            <a:ext cx="2433956" cy="3193200"/>
          </a:xfrm>
          <a:prstGeom prst="rect">
            <a:avLst/>
          </a:prstGeom>
          <a:noFill/>
        </p:spPr>
        <p:txBody>
          <a:bodyPr wrap="square" lIns="0" tIns="216000" rIns="0" bIns="0" rtlCol="0">
            <a:noAutofit/>
          </a:bodyPr>
          <a:lstStyle/>
          <a:p>
            <a:pPr lvl="7" defTabSz="914377"/>
            <a:r>
              <a:rPr lang="es-ES" sz="2000" b="1" dirty="0">
                <a:solidFill>
                  <a:srgbClr val="003C70"/>
                </a:solidFill>
                <a:latin typeface="Archivo"/>
              </a:rPr>
              <a:t> 1) Comportamiento del cliente</a:t>
            </a:r>
          </a:p>
          <a:p>
            <a:pPr lvl="7" defTabSz="914377"/>
            <a:endParaRPr lang="es-ES" sz="2000" b="1" dirty="0">
              <a:solidFill>
                <a:srgbClr val="003C70"/>
              </a:solidFill>
              <a:latin typeface="Archivo"/>
            </a:endParaRPr>
          </a:p>
          <a:p>
            <a:pPr lvl="7" defTabSz="914377"/>
            <a:endParaRPr lang="es-ES" sz="2000" b="1" dirty="0">
              <a:solidFill>
                <a:srgbClr val="003C70"/>
              </a:solidFill>
              <a:latin typeface="Archivo"/>
            </a:endParaRPr>
          </a:p>
          <a:p>
            <a:pPr lvl="7" defTabSz="914377"/>
            <a:endParaRPr lang="es-ES" sz="2000" b="1" dirty="0">
              <a:solidFill>
                <a:srgbClr val="003C70"/>
              </a:solidFill>
              <a:latin typeface="Archivo"/>
            </a:endParaRPr>
          </a:p>
          <a:p>
            <a:pPr lvl="7" defTabSz="914377"/>
            <a:endParaRPr lang="es-ES" sz="2000" b="1" dirty="0">
              <a:solidFill>
                <a:srgbClr val="003C70"/>
              </a:solidFill>
              <a:latin typeface="Archivo"/>
            </a:endParaRPr>
          </a:p>
          <a:p>
            <a:pPr lvl="7" defTabSz="914377"/>
            <a:endParaRPr lang="es-ES" sz="2000" b="1" dirty="0">
              <a:solidFill>
                <a:srgbClr val="003C70"/>
              </a:solidFill>
              <a:latin typeface="Archivo"/>
            </a:endParaRPr>
          </a:p>
          <a:p>
            <a:pPr lvl="7" defTabSz="914377"/>
            <a:endParaRPr lang="es-ES" sz="2000" b="1" dirty="0">
              <a:solidFill>
                <a:srgbClr val="003C70"/>
              </a:solidFill>
              <a:latin typeface="Archivo"/>
            </a:endParaRPr>
          </a:p>
          <a:p>
            <a:pPr lvl="7" defTabSz="914377"/>
            <a:r>
              <a:rPr lang="es-ES" sz="2000" dirty="0">
                <a:solidFill>
                  <a:srgbClr val="003C70"/>
                </a:solidFill>
                <a:latin typeface="Archivo"/>
              </a:rPr>
              <a:t>Entender más sobre el comportamiento del cliente</a:t>
            </a:r>
          </a:p>
          <a:p>
            <a:pPr lvl="4" defTabSz="914377"/>
            <a:endParaRPr lang="es-ES" dirty="0">
              <a:solidFill>
                <a:srgbClr val="003C70"/>
              </a:solidFill>
              <a:latin typeface="Archivo"/>
            </a:endParaRPr>
          </a:p>
        </p:txBody>
      </p:sp>
      <p:sp>
        <p:nvSpPr>
          <p:cNvPr id="33" name="TextBox 32">
            <a:extLst>
              <a:ext uri="{FF2B5EF4-FFF2-40B4-BE49-F238E27FC236}">
                <a16:creationId xmlns:a16="http://schemas.microsoft.com/office/drawing/2014/main" id="{9BA146F0-E00E-4454-8A07-B2972DC9BE58}"/>
              </a:ext>
            </a:extLst>
          </p:cNvPr>
          <p:cNvSpPr txBox="1"/>
          <p:nvPr/>
        </p:nvSpPr>
        <p:spPr>
          <a:xfrm>
            <a:off x="4921156" y="1569648"/>
            <a:ext cx="2132940" cy="3193200"/>
          </a:xfrm>
          <a:prstGeom prst="rect">
            <a:avLst/>
          </a:prstGeom>
          <a:noFill/>
        </p:spPr>
        <p:txBody>
          <a:bodyPr wrap="square" lIns="0" tIns="216000" rIns="0" bIns="0" rtlCol="0">
            <a:noAutofit/>
          </a:bodyPr>
          <a:lstStyle/>
          <a:p>
            <a:pPr lvl="6" defTabSz="914377"/>
            <a:r>
              <a:rPr lang="es-ES" sz="2000" b="1" dirty="0">
                <a:solidFill>
                  <a:srgbClr val="003C70"/>
                </a:solidFill>
              </a:rPr>
              <a:t>2) La suscripción </a:t>
            </a:r>
            <a:br>
              <a:rPr lang="es-ES" sz="2000" b="1" dirty="0">
                <a:solidFill>
                  <a:srgbClr val="003C70"/>
                </a:solidFill>
              </a:rPr>
            </a:br>
            <a:r>
              <a:rPr lang="es-ES" sz="2000" b="1" dirty="0">
                <a:solidFill>
                  <a:srgbClr val="003C70"/>
                </a:solidFill>
              </a:rPr>
              <a:t>acelerada</a:t>
            </a:r>
          </a:p>
          <a:p>
            <a:pPr lvl="6" defTabSz="914377"/>
            <a:endParaRPr lang="es-ES" sz="2000" b="1" dirty="0">
              <a:solidFill>
                <a:srgbClr val="003C70"/>
              </a:solidFill>
            </a:endParaRPr>
          </a:p>
          <a:p>
            <a:pPr lvl="6" defTabSz="914377"/>
            <a:endParaRPr lang="es-ES" sz="2000" b="1" dirty="0">
              <a:solidFill>
                <a:srgbClr val="003C70"/>
              </a:solidFill>
            </a:endParaRPr>
          </a:p>
          <a:p>
            <a:pPr lvl="6" defTabSz="914377"/>
            <a:endParaRPr lang="es-ES" sz="2000" b="1" dirty="0">
              <a:solidFill>
                <a:srgbClr val="003C70"/>
              </a:solidFill>
            </a:endParaRPr>
          </a:p>
          <a:p>
            <a:pPr lvl="6" defTabSz="914377"/>
            <a:endParaRPr lang="es-ES" sz="2000" b="1" dirty="0">
              <a:solidFill>
                <a:srgbClr val="003C70"/>
              </a:solidFill>
            </a:endParaRPr>
          </a:p>
          <a:p>
            <a:pPr lvl="6" defTabSz="914377"/>
            <a:endParaRPr lang="es-ES" sz="2000" b="1" dirty="0">
              <a:solidFill>
                <a:srgbClr val="003C70"/>
              </a:solidFill>
            </a:endParaRPr>
          </a:p>
          <a:p>
            <a:pPr lvl="6" defTabSz="914377"/>
            <a:endParaRPr lang="es-ES" sz="2000" b="1" dirty="0">
              <a:solidFill>
                <a:srgbClr val="003C70"/>
              </a:solidFill>
            </a:endParaRPr>
          </a:p>
          <a:p>
            <a:pPr lvl="6" defTabSz="914377"/>
            <a:r>
              <a:rPr lang="es-ES" sz="2000" dirty="0">
                <a:solidFill>
                  <a:srgbClr val="003C70"/>
                </a:solidFill>
              </a:rPr>
              <a:t>Mejorar el proceso de la suscripción médica</a:t>
            </a:r>
            <a:endParaRPr lang="es-ES" sz="1600" dirty="0">
              <a:solidFill>
                <a:srgbClr val="003C70"/>
              </a:solidFill>
              <a:latin typeface="Archivo"/>
            </a:endParaRPr>
          </a:p>
          <a:p>
            <a:pPr lvl="4" defTabSz="914377"/>
            <a:endParaRPr lang="es-ES" sz="1600" b="0" dirty="0">
              <a:solidFill>
                <a:srgbClr val="003C70"/>
              </a:solidFill>
              <a:latin typeface="Archivo"/>
            </a:endParaRPr>
          </a:p>
        </p:txBody>
      </p:sp>
      <p:sp>
        <p:nvSpPr>
          <p:cNvPr id="39" name="TextBox 38">
            <a:extLst>
              <a:ext uri="{FF2B5EF4-FFF2-40B4-BE49-F238E27FC236}">
                <a16:creationId xmlns:a16="http://schemas.microsoft.com/office/drawing/2014/main" id="{0E7DF651-C306-0E5D-F94C-8E57AF810E57}"/>
              </a:ext>
            </a:extLst>
          </p:cNvPr>
          <p:cNvSpPr txBox="1"/>
          <p:nvPr/>
        </p:nvSpPr>
        <p:spPr>
          <a:xfrm>
            <a:off x="7709040" y="1562607"/>
            <a:ext cx="2132940" cy="3193200"/>
          </a:xfrm>
          <a:prstGeom prst="rect">
            <a:avLst/>
          </a:prstGeom>
          <a:noFill/>
        </p:spPr>
        <p:txBody>
          <a:bodyPr wrap="square" lIns="0" tIns="216000" rIns="0" bIns="0" rtlCol="0">
            <a:noAutofit/>
          </a:bodyPr>
          <a:lstStyle/>
          <a:p>
            <a:pPr lvl="4" defTabSz="914377">
              <a:defRPr/>
            </a:pPr>
            <a:r>
              <a:rPr lang="es-ES" sz="2000" dirty="0">
                <a:solidFill>
                  <a:srgbClr val="003C70"/>
                </a:solidFill>
              </a:rPr>
              <a:t>3) Avances en </a:t>
            </a:r>
            <a:br>
              <a:rPr lang="es-ES" sz="2000" dirty="0">
                <a:solidFill>
                  <a:srgbClr val="003C70"/>
                </a:solidFill>
              </a:rPr>
            </a:br>
            <a:r>
              <a:rPr lang="es-ES" sz="2000" dirty="0">
                <a:solidFill>
                  <a:srgbClr val="003C70"/>
                </a:solidFill>
              </a:rPr>
              <a:t>medicina</a:t>
            </a:r>
          </a:p>
          <a:p>
            <a:pPr lvl="4" defTabSz="914377">
              <a:defRPr/>
            </a:pPr>
            <a:endParaRPr lang="es-ES" sz="2000" dirty="0">
              <a:solidFill>
                <a:srgbClr val="003C70"/>
              </a:solidFill>
            </a:endParaRPr>
          </a:p>
          <a:p>
            <a:pPr lvl="4" defTabSz="914377">
              <a:defRPr/>
            </a:pPr>
            <a:endParaRPr lang="es-ES" sz="2000" dirty="0">
              <a:solidFill>
                <a:srgbClr val="003C70"/>
              </a:solidFill>
            </a:endParaRPr>
          </a:p>
          <a:p>
            <a:pPr lvl="4" defTabSz="914377">
              <a:defRPr/>
            </a:pPr>
            <a:endParaRPr lang="es-ES" sz="2000" dirty="0">
              <a:solidFill>
                <a:srgbClr val="003C70"/>
              </a:solidFill>
            </a:endParaRPr>
          </a:p>
          <a:p>
            <a:pPr lvl="4" defTabSz="914377">
              <a:defRPr/>
            </a:pPr>
            <a:endParaRPr lang="es-ES" sz="2000" dirty="0">
              <a:solidFill>
                <a:srgbClr val="003C70"/>
              </a:solidFill>
            </a:endParaRPr>
          </a:p>
          <a:p>
            <a:pPr lvl="4" defTabSz="914377">
              <a:defRPr/>
            </a:pPr>
            <a:r>
              <a:rPr lang="es-ES" sz="2000" dirty="0">
                <a:solidFill>
                  <a:srgbClr val="003C70"/>
                </a:solidFill>
              </a:rPr>
              <a:t> </a:t>
            </a:r>
          </a:p>
          <a:p>
            <a:pPr lvl="4" defTabSz="914377">
              <a:defRPr/>
            </a:pPr>
            <a:endParaRPr lang="es-ES" sz="2000" b="0" dirty="0">
              <a:solidFill>
                <a:srgbClr val="003C70"/>
              </a:solidFill>
            </a:endParaRPr>
          </a:p>
          <a:p>
            <a:pPr lvl="4" defTabSz="914377">
              <a:defRPr/>
            </a:pPr>
            <a:r>
              <a:rPr lang="es-ES" sz="2000" b="0" dirty="0">
                <a:solidFill>
                  <a:srgbClr val="003C70"/>
                </a:solidFill>
              </a:rPr>
              <a:t>Facilitar el acceso a la medicina personalizada</a:t>
            </a:r>
            <a:br>
              <a:rPr kumimoji="0" lang="es-ES" sz="1600" b="0" i="0" u="none" strike="noStrike" kern="1200" cap="none" spc="0" normalizeH="0" baseline="0" noProof="0" dirty="0">
                <a:ln>
                  <a:noFill/>
                </a:ln>
                <a:solidFill>
                  <a:srgbClr val="003C70"/>
                </a:solidFill>
                <a:effectLst/>
                <a:uLnTx/>
                <a:uFillTx/>
                <a:latin typeface="Archivo"/>
                <a:ea typeface="+mn-ea"/>
                <a:cs typeface="+mn-cs"/>
              </a:rPr>
            </a:br>
            <a:endParaRPr lang="es-ES" sz="1600" b="0" dirty="0">
              <a:solidFill>
                <a:srgbClr val="003C70"/>
              </a:solidFill>
              <a:latin typeface="Archivo"/>
            </a:endParaRPr>
          </a:p>
        </p:txBody>
      </p:sp>
      <p:grpSp>
        <p:nvGrpSpPr>
          <p:cNvPr id="18" name="Group 17">
            <a:extLst>
              <a:ext uri="{FF2B5EF4-FFF2-40B4-BE49-F238E27FC236}">
                <a16:creationId xmlns:a16="http://schemas.microsoft.com/office/drawing/2014/main" id="{B3E31E07-1CEE-8FDF-88F4-7E3CD9B04CF0}"/>
              </a:ext>
            </a:extLst>
          </p:cNvPr>
          <p:cNvGrpSpPr>
            <a:grpSpLocks noChangeAspect="1"/>
          </p:cNvGrpSpPr>
          <p:nvPr/>
        </p:nvGrpSpPr>
        <p:grpSpPr>
          <a:xfrm>
            <a:off x="4472898" y="3365692"/>
            <a:ext cx="180195" cy="360000"/>
            <a:chOff x="2222455" y="2054404"/>
            <a:chExt cx="180195" cy="360000"/>
          </a:xfrm>
        </p:grpSpPr>
        <p:cxnSp>
          <p:nvCxnSpPr>
            <p:cNvPr id="16" name="Gerade Verbindung 37">
              <a:extLst>
                <a:ext uri="{FF2B5EF4-FFF2-40B4-BE49-F238E27FC236}">
                  <a16:creationId xmlns:a16="http://schemas.microsoft.com/office/drawing/2014/main" id="{204BF6CC-FA74-DAB0-DE4E-097983E3E4C3}"/>
                </a:ext>
              </a:extLst>
            </p:cNvPr>
            <p:cNvCxnSpPr>
              <a:cxnSpLocks/>
            </p:cNvCxnSpPr>
            <p:nvPr/>
          </p:nvCxnSpPr>
          <p:spPr>
            <a:xfrm rot="5400000" flipV="1">
              <a:off x="2222553" y="2054306"/>
              <a:ext cx="180000" cy="180195"/>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Gerade Verbindung 39">
              <a:extLst>
                <a:ext uri="{FF2B5EF4-FFF2-40B4-BE49-F238E27FC236}">
                  <a16:creationId xmlns:a16="http://schemas.microsoft.com/office/drawing/2014/main" id="{FF0A8CC6-6765-EE94-C137-C642BC3FBAB7}"/>
                </a:ext>
              </a:extLst>
            </p:cNvPr>
            <p:cNvCxnSpPr>
              <a:cxnSpLocks/>
            </p:cNvCxnSpPr>
            <p:nvPr/>
          </p:nvCxnSpPr>
          <p:spPr>
            <a:xfrm rot="10800000" flipV="1">
              <a:off x="2222455" y="2234404"/>
              <a:ext cx="180195" cy="180000"/>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1F6319F2-1674-348E-37D5-4BE53444CCEE}"/>
              </a:ext>
            </a:extLst>
          </p:cNvPr>
          <p:cNvGrpSpPr>
            <a:grpSpLocks noChangeAspect="1"/>
          </p:cNvGrpSpPr>
          <p:nvPr/>
        </p:nvGrpSpPr>
        <p:grpSpPr>
          <a:xfrm>
            <a:off x="7362045" y="3343806"/>
            <a:ext cx="180195" cy="360000"/>
            <a:chOff x="2222455" y="2054404"/>
            <a:chExt cx="180195" cy="360000"/>
          </a:xfrm>
        </p:grpSpPr>
        <p:cxnSp>
          <p:nvCxnSpPr>
            <p:cNvPr id="20" name="Gerade Verbindung 37">
              <a:extLst>
                <a:ext uri="{FF2B5EF4-FFF2-40B4-BE49-F238E27FC236}">
                  <a16:creationId xmlns:a16="http://schemas.microsoft.com/office/drawing/2014/main" id="{6E813C01-BD8E-146D-171A-B187C8EDE858}"/>
                </a:ext>
              </a:extLst>
            </p:cNvPr>
            <p:cNvCxnSpPr>
              <a:cxnSpLocks/>
            </p:cNvCxnSpPr>
            <p:nvPr/>
          </p:nvCxnSpPr>
          <p:spPr>
            <a:xfrm rot="5400000" flipV="1">
              <a:off x="2222553" y="2054306"/>
              <a:ext cx="180000" cy="180195"/>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Gerade Verbindung 39">
              <a:extLst>
                <a:ext uri="{FF2B5EF4-FFF2-40B4-BE49-F238E27FC236}">
                  <a16:creationId xmlns:a16="http://schemas.microsoft.com/office/drawing/2014/main" id="{3905A5AD-A035-C3FC-BC59-436002197009}"/>
                </a:ext>
              </a:extLst>
            </p:cNvPr>
            <p:cNvCxnSpPr>
              <a:cxnSpLocks/>
            </p:cNvCxnSpPr>
            <p:nvPr/>
          </p:nvCxnSpPr>
          <p:spPr>
            <a:xfrm rot="10800000" flipV="1">
              <a:off x="2222455" y="2234404"/>
              <a:ext cx="180195" cy="180000"/>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 name="Freeform: Shape 4">
            <a:extLst>
              <a:ext uri="{FF2B5EF4-FFF2-40B4-BE49-F238E27FC236}">
                <a16:creationId xmlns:a16="http://schemas.microsoft.com/office/drawing/2014/main" id="{FBE5263A-37B6-12ED-5805-5FB25D11B572}"/>
              </a:ext>
            </a:extLst>
          </p:cNvPr>
          <p:cNvSpPr>
            <a:spLocks noChangeAspect="1"/>
          </p:cNvSpPr>
          <p:nvPr/>
        </p:nvSpPr>
        <p:spPr>
          <a:xfrm>
            <a:off x="2213464" y="2668842"/>
            <a:ext cx="1710000" cy="1709928"/>
          </a:xfrm>
          <a:custGeom>
            <a:avLst/>
            <a:gdLst>
              <a:gd name="connsiteX0" fmla="*/ 0 w 1706880"/>
              <a:gd name="connsiteY0" fmla="*/ 270256 h 1709928"/>
              <a:gd name="connsiteX1" fmla="*/ 270256 w 1706880"/>
              <a:gd name="connsiteY1" fmla="*/ 0 h 1709928"/>
              <a:gd name="connsiteX2" fmla="*/ 1436624 w 1706880"/>
              <a:gd name="connsiteY2" fmla="*/ 0 h 1709928"/>
              <a:gd name="connsiteX3" fmla="*/ 1706880 w 1706880"/>
              <a:gd name="connsiteY3" fmla="*/ 270256 h 1709928"/>
              <a:gd name="connsiteX4" fmla="*/ 1706880 w 1706880"/>
              <a:gd name="connsiteY4" fmla="*/ 1439672 h 1709928"/>
              <a:gd name="connsiteX5" fmla="*/ 1436624 w 1706880"/>
              <a:gd name="connsiteY5" fmla="*/ 1709928 h 1709928"/>
              <a:gd name="connsiteX6" fmla="*/ 270256 w 1706880"/>
              <a:gd name="connsiteY6" fmla="*/ 1709928 h 1709928"/>
              <a:gd name="connsiteX7" fmla="*/ 0 w 1706880"/>
              <a:gd name="connsiteY7" fmla="*/ 1439672 h 1709928"/>
              <a:gd name="connsiteX8" fmla="*/ 0 w 1706880"/>
              <a:gd name="connsiteY8" fmla="*/ 270256 h 170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80" h="1709928">
                <a:moveTo>
                  <a:pt x="0" y="270256"/>
                </a:moveTo>
                <a:cubicBezTo>
                  <a:pt x="0" y="121031"/>
                  <a:pt x="121031" y="0"/>
                  <a:pt x="270256" y="0"/>
                </a:cubicBezTo>
                <a:lnTo>
                  <a:pt x="1436624" y="0"/>
                </a:lnTo>
                <a:cubicBezTo>
                  <a:pt x="1585849" y="0"/>
                  <a:pt x="1706880" y="121031"/>
                  <a:pt x="1706880" y="270256"/>
                </a:cubicBezTo>
                <a:lnTo>
                  <a:pt x="1706880" y="1439672"/>
                </a:lnTo>
                <a:cubicBezTo>
                  <a:pt x="1706880" y="1588897"/>
                  <a:pt x="1585849" y="1709928"/>
                  <a:pt x="1436624" y="1709928"/>
                </a:cubicBezTo>
                <a:lnTo>
                  <a:pt x="270256" y="1709928"/>
                </a:lnTo>
                <a:cubicBezTo>
                  <a:pt x="121031" y="1709928"/>
                  <a:pt x="0" y="1588897"/>
                  <a:pt x="0" y="1439672"/>
                </a:cubicBezTo>
                <a:lnTo>
                  <a:pt x="0" y="270256"/>
                </a:lnTo>
                <a:close/>
              </a:path>
            </a:pathLst>
          </a:custGeom>
          <a:solidFill>
            <a:schemeClr val="tx2"/>
          </a:solidFill>
          <a:ln w="12700" cap="flat">
            <a:noFill/>
            <a:prstDash val="solid"/>
            <a:miter/>
          </a:ln>
        </p:spPr>
        <p:txBody>
          <a:bodyPr lIns="144000" tIns="144000" rIns="144000" bIns="144000" rtlCol="0" anchor="ctr"/>
          <a:lstStyle/>
          <a:p>
            <a:pPr lvl="4" defTabSz="914377"/>
            <a:endParaRPr lang="en-GB" dirty="0">
              <a:solidFill>
                <a:prstClr val="white"/>
              </a:solidFill>
              <a:latin typeface="Archivo"/>
            </a:endParaRPr>
          </a:p>
        </p:txBody>
      </p:sp>
      <p:sp>
        <p:nvSpPr>
          <p:cNvPr id="7" name="Freeform: Shape 6">
            <a:extLst>
              <a:ext uri="{FF2B5EF4-FFF2-40B4-BE49-F238E27FC236}">
                <a16:creationId xmlns:a16="http://schemas.microsoft.com/office/drawing/2014/main" id="{79CC1875-6A2F-7074-1C10-6AE29D2F0AE9}"/>
              </a:ext>
            </a:extLst>
          </p:cNvPr>
          <p:cNvSpPr>
            <a:spLocks noChangeAspect="1"/>
          </p:cNvSpPr>
          <p:nvPr/>
        </p:nvSpPr>
        <p:spPr>
          <a:xfrm>
            <a:off x="5177824" y="2668842"/>
            <a:ext cx="1710000" cy="1709928"/>
          </a:xfrm>
          <a:custGeom>
            <a:avLst/>
            <a:gdLst>
              <a:gd name="connsiteX0" fmla="*/ 0 w 1706880"/>
              <a:gd name="connsiteY0" fmla="*/ 270256 h 1709928"/>
              <a:gd name="connsiteX1" fmla="*/ 270256 w 1706880"/>
              <a:gd name="connsiteY1" fmla="*/ 0 h 1709928"/>
              <a:gd name="connsiteX2" fmla="*/ 1436624 w 1706880"/>
              <a:gd name="connsiteY2" fmla="*/ 0 h 1709928"/>
              <a:gd name="connsiteX3" fmla="*/ 1706880 w 1706880"/>
              <a:gd name="connsiteY3" fmla="*/ 270256 h 1709928"/>
              <a:gd name="connsiteX4" fmla="*/ 1706880 w 1706880"/>
              <a:gd name="connsiteY4" fmla="*/ 1439672 h 1709928"/>
              <a:gd name="connsiteX5" fmla="*/ 1436624 w 1706880"/>
              <a:gd name="connsiteY5" fmla="*/ 1709928 h 1709928"/>
              <a:gd name="connsiteX6" fmla="*/ 270256 w 1706880"/>
              <a:gd name="connsiteY6" fmla="*/ 1709928 h 1709928"/>
              <a:gd name="connsiteX7" fmla="*/ 0 w 1706880"/>
              <a:gd name="connsiteY7" fmla="*/ 1439672 h 1709928"/>
              <a:gd name="connsiteX8" fmla="*/ 0 w 1706880"/>
              <a:gd name="connsiteY8" fmla="*/ 270256 h 170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80" h="1709928">
                <a:moveTo>
                  <a:pt x="0" y="270256"/>
                </a:moveTo>
                <a:cubicBezTo>
                  <a:pt x="0" y="121031"/>
                  <a:pt x="121031" y="0"/>
                  <a:pt x="270256" y="0"/>
                </a:cubicBezTo>
                <a:lnTo>
                  <a:pt x="1436624" y="0"/>
                </a:lnTo>
                <a:cubicBezTo>
                  <a:pt x="1585849" y="0"/>
                  <a:pt x="1706880" y="121031"/>
                  <a:pt x="1706880" y="270256"/>
                </a:cubicBezTo>
                <a:lnTo>
                  <a:pt x="1706880" y="1439672"/>
                </a:lnTo>
                <a:cubicBezTo>
                  <a:pt x="1706880" y="1588897"/>
                  <a:pt x="1585849" y="1709928"/>
                  <a:pt x="1436624" y="1709928"/>
                </a:cubicBezTo>
                <a:lnTo>
                  <a:pt x="270256" y="1709928"/>
                </a:lnTo>
                <a:cubicBezTo>
                  <a:pt x="121031" y="1709928"/>
                  <a:pt x="0" y="1588897"/>
                  <a:pt x="0" y="1439672"/>
                </a:cubicBezTo>
                <a:lnTo>
                  <a:pt x="0" y="270256"/>
                </a:lnTo>
                <a:close/>
              </a:path>
            </a:pathLst>
          </a:custGeom>
          <a:solidFill>
            <a:schemeClr val="tx2"/>
          </a:solidFill>
          <a:ln w="12700" cap="flat">
            <a:noFill/>
            <a:prstDash val="solid"/>
            <a:miter/>
          </a:ln>
        </p:spPr>
        <p:txBody>
          <a:bodyPr lIns="144000" tIns="144000" rIns="144000" bIns="144000" rtlCol="0" anchor="ctr"/>
          <a:lstStyle/>
          <a:p>
            <a:pPr lvl="4" defTabSz="914377"/>
            <a:endParaRPr lang="en-GB" dirty="0">
              <a:solidFill>
                <a:prstClr val="white"/>
              </a:solidFill>
              <a:latin typeface="Archivo"/>
            </a:endParaRPr>
          </a:p>
        </p:txBody>
      </p:sp>
      <p:sp>
        <p:nvSpPr>
          <p:cNvPr id="8" name="Freeform: Shape 7">
            <a:extLst>
              <a:ext uri="{FF2B5EF4-FFF2-40B4-BE49-F238E27FC236}">
                <a16:creationId xmlns:a16="http://schemas.microsoft.com/office/drawing/2014/main" id="{6A46AF45-7F6A-2A14-235D-66EEE6A56427}"/>
              </a:ext>
            </a:extLst>
          </p:cNvPr>
          <p:cNvSpPr>
            <a:spLocks noChangeAspect="1"/>
          </p:cNvSpPr>
          <p:nvPr/>
        </p:nvSpPr>
        <p:spPr>
          <a:xfrm>
            <a:off x="8016461" y="2668842"/>
            <a:ext cx="1710000" cy="1709928"/>
          </a:xfrm>
          <a:custGeom>
            <a:avLst/>
            <a:gdLst>
              <a:gd name="connsiteX0" fmla="*/ 0 w 1706880"/>
              <a:gd name="connsiteY0" fmla="*/ 270256 h 1709928"/>
              <a:gd name="connsiteX1" fmla="*/ 270256 w 1706880"/>
              <a:gd name="connsiteY1" fmla="*/ 0 h 1709928"/>
              <a:gd name="connsiteX2" fmla="*/ 1436624 w 1706880"/>
              <a:gd name="connsiteY2" fmla="*/ 0 h 1709928"/>
              <a:gd name="connsiteX3" fmla="*/ 1706880 w 1706880"/>
              <a:gd name="connsiteY3" fmla="*/ 270256 h 1709928"/>
              <a:gd name="connsiteX4" fmla="*/ 1706880 w 1706880"/>
              <a:gd name="connsiteY4" fmla="*/ 1439672 h 1709928"/>
              <a:gd name="connsiteX5" fmla="*/ 1436624 w 1706880"/>
              <a:gd name="connsiteY5" fmla="*/ 1709928 h 1709928"/>
              <a:gd name="connsiteX6" fmla="*/ 270256 w 1706880"/>
              <a:gd name="connsiteY6" fmla="*/ 1709928 h 1709928"/>
              <a:gd name="connsiteX7" fmla="*/ 0 w 1706880"/>
              <a:gd name="connsiteY7" fmla="*/ 1439672 h 1709928"/>
              <a:gd name="connsiteX8" fmla="*/ 0 w 1706880"/>
              <a:gd name="connsiteY8" fmla="*/ 270256 h 170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80" h="1709928">
                <a:moveTo>
                  <a:pt x="0" y="270256"/>
                </a:moveTo>
                <a:cubicBezTo>
                  <a:pt x="0" y="121031"/>
                  <a:pt x="121031" y="0"/>
                  <a:pt x="270256" y="0"/>
                </a:cubicBezTo>
                <a:lnTo>
                  <a:pt x="1436624" y="0"/>
                </a:lnTo>
                <a:cubicBezTo>
                  <a:pt x="1585849" y="0"/>
                  <a:pt x="1706880" y="121031"/>
                  <a:pt x="1706880" y="270256"/>
                </a:cubicBezTo>
                <a:lnTo>
                  <a:pt x="1706880" y="1439672"/>
                </a:lnTo>
                <a:cubicBezTo>
                  <a:pt x="1706880" y="1588897"/>
                  <a:pt x="1585849" y="1709928"/>
                  <a:pt x="1436624" y="1709928"/>
                </a:cubicBezTo>
                <a:lnTo>
                  <a:pt x="270256" y="1709928"/>
                </a:lnTo>
                <a:cubicBezTo>
                  <a:pt x="121031" y="1709928"/>
                  <a:pt x="0" y="1588897"/>
                  <a:pt x="0" y="1439672"/>
                </a:cubicBezTo>
                <a:lnTo>
                  <a:pt x="0" y="270256"/>
                </a:lnTo>
                <a:close/>
              </a:path>
            </a:pathLst>
          </a:custGeom>
          <a:solidFill>
            <a:schemeClr val="tx2"/>
          </a:solidFill>
          <a:ln w="12700" cap="flat">
            <a:noFill/>
            <a:prstDash val="solid"/>
            <a:miter/>
          </a:ln>
        </p:spPr>
        <p:txBody>
          <a:bodyPr lIns="144000" tIns="144000" rIns="144000" bIns="144000" rtlCol="0" anchor="ctr"/>
          <a:lstStyle/>
          <a:p>
            <a:pPr lvl="4" defTabSz="914377"/>
            <a:endParaRPr lang="en-GB" dirty="0">
              <a:solidFill>
                <a:prstClr val="white"/>
              </a:solidFill>
              <a:latin typeface="Archivo"/>
            </a:endParaRPr>
          </a:p>
        </p:txBody>
      </p:sp>
      <p:sp>
        <p:nvSpPr>
          <p:cNvPr id="4" name="Title 3">
            <a:extLst>
              <a:ext uri="{FF2B5EF4-FFF2-40B4-BE49-F238E27FC236}">
                <a16:creationId xmlns:a16="http://schemas.microsoft.com/office/drawing/2014/main" id="{966D84E0-3914-0C2D-A642-58DCD2DED292}"/>
              </a:ext>
            </a:extLst>
          </p:cNvPr>
          <p:cNvSpPr>
            <a:spLocks noGrp="1"/>
          </p:cNvSpPr>
          <p:nvPr>
            <p:ph type="title"/>
          </p:nvPr>
        </p:nvSpPr>
        <p:spPr/>
        <p:txBody>
          <a:bodyPr/>
          <a:lstStyle/>
          <a:p>
            <a:br>
              <a:rPr lang="es-ES" b="1" dirty="0"/>
            </a:br>
            <a:r>
              <a:rPr lang="es-ES" dirty="0"/>
              <a:t>IA en acción</a:t>
            </a:r>
            <a:br>
              <a:rPr lang="es-ES" dirty="0"/>
            </a:br>
            <a:endParaRPr lang="es-ES" dirty="0"/>
          </a:p>
        </p:txBody>
      </p:sp>
      <p:sp>
        <p:nvSpPr>
          <p:cNvPr id="3" name="Slide Number Placeholder 2">
            <a:extLst>
              <a:ext uri="{FF2B5EF4-FFF2-40B4-BE49-F238E27FC236}">
                <a16:creationId xmlns:a16="http://schemas.microsoft.com/office/drawing/2014/main" id="{6610B09C-E1C5-C778-2387-06D60A1173CD}"/>
              </a:ext>
            </a:extLst>
          </p:cNvPr>
          <p:cNvSpPr>
            <a:spLocks noGrp="1"/>
          </p:cNvSpPr>
          <p:nvPr>
            <p:ph type="sldNum" sz="quarter" idx="11"/>
          </p:nvPr>
        </p:nvSpPr>
        <p:spPr/>
        <p:txBody>
          <a:bodyPr/>
          <a:lstStyle/>
          <a:p>
            <a:pPr defTabSz="914377"/>
            <a:fld id="{9A0F3412-00EB-454F-952B-1EB5D3D69307}" type="slidenum">
              <a:rPr lang="en-US">
                <a:solidFill>
                  <a:srgbClr val="003C70"/>
                </a:solidFill>
                <a:latin typeface="Archivo"/>
              </a:rPr>
              <a:pPr defTabSz="914377"/>
              <a:t>6</a:t>
            </a:fld>
            <a:endParaRPr lang="en-US" dirty="0">
              <a:solidFill>
                <a:srgbClr val="003C70"/>
              </a:solidFill>
              <a:latin typeface="Archivo"/>
            </a:endParaRPr>
          </a:p>
        </p:txBody>
      </p:sp>
      <p:pic>
        <p:nvPicPr>
          <p:cNvPr id="25" name="Graphic 24">
            <a:extLst>
              <a:ext uri="{FF2B5EF4-FFF2-40B4-BE49-F238E27FC236}">
                <a16:creationId xmlns:a16="http://schemas.microsoft.com/office/drawing/2014/main" id="{3F818A56-4AD7-8769-E1C6-35C8E0BC2E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32694" y="2885279"/>
            <a:ext cx="1277054" cy="1277054"/>
          </a:xfrm>
          <a:prstGeom prst="rect">
            <a:avLst/>
          </a:prstGeom>
        </p:spPr>
      </p:pic>
      <p:pic>
        <p:nvPicPr>
          <p:cNvPr id="29" name="Graphic 28">
            <a:extLst>
              <a:ext uri="{FF2B5EF4-FFF2-40B4-BE49-F238E27FC236}">
                <a16:creationId xmlns:a16="http://schemas.microsoft.com/office/drawing/2014/main" id="{07EEC728-ED0C-55C6-5D78-96B38574CA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85532" y="2847598"/>
            <a:ext cx="1352415" cy="1352415"/>
          </a:xfrm>
          <a:prstGeom prst="rect">
            <a:avLst/>
          </a:prstGeom>
        </p:spPr>
      </p:pic>
      <p:pic>
        <p:nvPicPr>
          <p:cNvPr id="31" name="Graphic 30">
            <a:extLst>
              <a:ext uri="{FF2B5EF4-FFF2-40B4-BE49-F238E27FC236}">
                <a16:creationId xmlns:a16="http://schemas.microsoft.com/office/drawing/2014/main" id="{205D496A-A81C-E560-FD9F-02E3E552E31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08037" y="2805946"/>
            <a:ext cx="1426223" cy="1426223"/>
          </a:xfrm>
          <a:prstGeom prst="rect">
            <a:avLst/>
          </a:prstGeom>
        </p:spPr>
      </p:pic>
    </p:spTree>
    <p:extLst>
      <p:ext uri="{BB962C8B-B14F-4D97-AF65-F5344CB8AC3E}">
        <p14:creationId xmlns:p14="http://schemas.microsoft.com/office/powerpoint/2010/main" val="33333658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FBE5F0-D979-4ACB-C7E0-453AB2034AE4}"/>
              </a:ext>
            </a:extLst>
          </p:cNvPr>
          <p:cNvSpPr>
            <a:spLocks noGrp="1"/>
          </p:cNvSpPr>
          <p:nvPr>
            <p:ph type="title"/>
          </p:nvPr>
        </p:nvSpPr>
        <p:spPr/>
        <p:txBody>
          <a:bodyPr/>
          <a:lstStyle/>
          <a:p>
            <a:r>
              <a:rPr lang="es-ES" b="1" dirty="0"/>
              <a:t>El análisis de comportamiento puede descubrir omisiones de información</a:t>
            </a:r>
            <a:br>
              <a:rPr lang="es-ES" b="1" dirty="0"/>
            </a:br>
            <a:r>
              <a:rPr lang="es-ES" dirty="0"/>
              <a:t>Identificar el riesgo de ocultación por parte del cliente o del agente</a:t>
            </a:r>
            <a:endParaRPr lang="en-GB" i="1" dirty="0">
              <a:solidFill>
                <a:schemeClr val="accent3"/>
              </a:solidFill>
            </a:endParaRPr>
          </a:p>
        </p:txBody>
      </p:sp>
      <p:sp>
        <p:nvSpPr>
          <p:cNvPr id="4" name="Slide Number Placeholder 3">
            <a:extLst>
              <a:ext uri="{FF2B5EF4-FFF2-40B4-BE49-F238E27FC236}">
                <a16:creationId xmlns:a16="http://schemas.microsoft.com/office/drawing/2014/main" id="{153BC59B-26A5-24B3-0655-A32444D5BAF1}"/>
              </a:ext>
            </a:extLst>
          </p:cNvPr>
          <p:cNvSpPr>
            <a:spLocks noGrp="1"/>
          </p:cNvSpPr>
          <p:nvPr>
            <p:ph type="sldNum" sz="quarter" idx="11"/>
          </p:nvPr>
        </p:nvSpPr>
        <p:spPr/>
        <p:txBody>
          <a:bodyPr/>
          <a:lstStyle/>
          <a:p>
            <a:fld id="{9A0F3412-00EB-454F-952B-1EB5D3D69307}" type="slidenum">
              <a:rPr lang="en-US" noProof="0" smtClean="0"/>
              <a:pPr/>
              <a:t>7</a:t>
            </a:fld>
            <a:endParaRPr lang="en-US" noProof="0"/>
          </a:p>
        </p:txBody>
      </p:sp>
      <p:sp>
        <p:nvSpPr>
          <p:cNvPr id="5" name="Google Shape;196;p21">
            <a:extLst>
              <a:ext uri="{FF2B5EF4-FFF2-40B4-BE49-F238E27FC236}">
                <a16:creationId xmlns:a16="http://schemas.microsoft.com/office/drawing/2014/main" id="{3CB08E70-D8BE-60D1-D296-45F8D3983C83}"/>
              </a:ext>
            </a:extLst>
          </p:cNvPr>
          <p:cNvSpPr/>
          <p:nvPr/>
        </p:nvSpPr>
        <p:spPr>
          <a:xfrm>
            <a:off x="9993289" y="2444651"/>
            <a:ext cx="1439133" cy="1379119"/>
          </a:xfrm>
          <a:prstGeom prst="rect">
            <a:avLst/>
          </a:prstGeom>
          <a:noFill/>
          <a:ln>
            <a:noFill/>
          </a:ln>
          <a:effectLst>
            <a:outerShdw blurRad="50800" dist="38100" dir="2700000" algn="tl" rotWithShape="0">
              <a:srgbClr val="000000">
                <a:alpha val="40000"/>
              </a:srgbClr>
            </a:outerShdw>
          </a:effectLst>
        </p:spPr>
        <p:txBody>
          <a:bodyPr spcFirstLastPara="1" wrap="square" lIns="121928" tIns="60947" rIns="121928" bIns="60947" anchor="ctr" anchorCtr="0">
            <a:noAutofit/>
          </a:bodyPr>
          <a:lstStyle/>
          <a:p>
            <a:pPr algn="ctr">
              <a:buClr>
                <a:srgbClr val="000000"/>
              </a:buClr>
              <a:buSzPts val="1050"/>
            </a:pPr>
            <a:endParaRPr sz="1400">
              <a:solidFill>
                <a:srgbClr val="FFFFFF"/>
              </a:solidFill>
              <a:latin typeface="Arial"/>
              <a:ea typeface="Arial"/>
              <a:cs typeface="Arial"/>
              <a:sym typeface="Arial"/>
            </a:endParaRPr>
          </a:p>
        </p:txBody>
      </p:sp>
      <p:sp>
        <p:nvSpPr>
          <p:cNvPr id="6" name="Google Shape;198;p21">
            <a:extLst>
              <a:ext uri="{FF2B5EF4-FFF2-40B4-BE49-F238E27FC236}">
                <a16:creationId xmlns:a16="http://schemas.microsoft.com/office/drawing/2014/main" id="{3E4778BA-A6FA-D6E3-1202-C7C74143028F}"/>
              </a:ext>
            </a:extLst>
          </p:cNvPr>
          <p:cNvSpPr/>
          <p:nvPr/>
        </p:nvSpPr>
        <p:spPr>
          <a:xfrm>
            <a:off x="618732" y="4398970"/>
            <a:ext cx="1727200" cy="719366"/>
          </a:xfrm>
          <a:prstGeom prst="roundRect">
            <a:avLst>
              <a:gd name="adj" fmla="val 16667"/>
            </a:avLst>
          </a:prstGeom>
          <a:solidFill>
            <a:schemeClr val="accent1"/>
          </a:solidFill>
          <a:ln>
            <a:solidFill>
              <a:schemeClr val="accent1"/>
            </a:solidFill>
          </a:ln>
          <a:effectLst/>
        </p:spPr>
        <p:txBody>
          <a:bodyPr spcFirstLastPara="1" wrap="square" lIns="121928" tIns="60947" rIns="121928" bIns="60947" anchor="ctr" anchorCtr="0">
            <a:noAutofit/>
          </a:bodyPr>
          <a:lstStyle/>
          <a:p>
            <a:pPr algn="ctr">
              <a:buClr>
                <a:srgbClr val="000000"/>
              </a:buClr>
              <a:buSzPts val="1050"/>
            </a:pPr>
            <a:r>
              <a:rPr lang="es-ES" b="1" dirty="0">
                <a:solidFill>
                  <a:schemeClr val="lt1"/>
                </a:solidFill>
                <a:latin typeface="+mj-lt"/>
                <a:ea typeface="Inter"/>
                <a:cs typeface="Inter"/>
                <a:sym typeface="Inter"/>
              </a:rPr>
              <a:t>Comienza la cotización</a:t>
            </a:r>
            <a:br>
              <a:rPr lang="es-ES" b="1" dirty="0">
                <a:solidFill>
                  <a:schemeClr val="lt1"/>
                </a:solidFill>
                <a:latin typeface="+mj-lt"/>
                <a:ea typeface="Inter"/>
                <a:cs typeface="Inter"/>
                <a:sym typeface="Inter"/>
              </a:rPr>
            </a:br>
            <a:r>
              <a:rPr lang="es-ES" dirty="0">
                <a:solidFill>
                  <a:schemeClr val="lt1"/>
                </a:solidFill>
                <a:latin typeface="+mj-lt"/>
                <a:ea typeface="Inter"/>
                <a:cs typeface="Inter"/>
                <a:sym typeface="Inter"/>
              </a:rPr>
              <a:t>10:30 a.m.</a:t>
            </a:r>
          </a:p>
        </p:txBody>
      </p:sp>
      <p:sp>
        <p:nvSpPr>
          <p:cNvPr id="7" name="Google Shape;200;p21">
            <a:extLst>
              <a:ext uri="{FF2B5EF4-FFF2-40B4-BE49-F238E27FC236}">
                <a16:creationId xmlns:a16="http://schemas.microsoft.com/office/drawing/2014/main" id="{134D53B7-F3EA-0826-5E1C-95F5039C4B13}"/>
              </a:ext>
            </a:extLst>
          </p:cNvPr>
          <p:cNvSpPr/>
          <p:nvPr/>
        </p:nvSpPr>
        <p:spPr>
          <a:xfrm>
            <a:off x="2832701" y="4400783"/>
            <a:ext cx="1727200" cy="715766"/>
          </a:xfrm>
          <a:prstGeom prst="roundRect">
            <a:avLst>
              <a:gd name="adj" fmla="val 16667"/>
            </a:avLst>
          </a:prstGeom>
          <a:noFill/>
          <a:ln>
            <a:solidFill>
              <a:schemeClr val="accent1"/>
            </a:solidFill>
          </a:ln>
          <a:effectLst/>
        </p:spPr>
        <p:txBody>
          <a:bodyPr spcFirstLastPara="1" wrap="square" lIns="121928" tIns="60947" rIns="121928" bIns="60947" anchor="ctr" anchorCtr="0">
            <a:noAutofit/>
          </a:bodyPr>
          <a:lstStyle/>
          <a:p>
            <a:pPr algn="ctr">
              <a:buClr>
                <a:srgbClr val="000000"/>
              </a:buClr>
              <a:buSzPts val="1050"/>
            </a:pPr>
            <a:r>
              <a:rPr lang="es-ES" dirty="0"/>
              <a:t>Rellena el perfil en 2 minutos</a:t>
            </a:r>
            <a:endParaRPr b="1" dirty="0">
              <a:solidFill>
                <a:srgbClr val="042D60"/>
              </a:solidFill>
              <a:latin typeface="+mj-lt"/>
              <a:ea typeface="Inter"/>
              <a:cs typeface="Inter"/>
              <a:sym typeface="Inter"/>
            </a:endParaRPr>
          </a:p>
        </p:txBody>
      </p:sp>
      <p:sp>
        <p:nvSpPr>
          <p:cNvPr id="8" name="Google Shape;201;p21">
            <a:extLst>
              <a:ext uri="{FF2B5EF4-FFF2-40B4-BE49-F238E27FC236}">
                <a16:creationId xmlns:a16="http://schemas.microsoft.com/office/drawing/2014/main" id="{78A996F3-C467-2958-C93E-D34A5180D888}"/>
              </a:ext>
            </a:extLst>
          </p:cNvPr>
          <p:cNvSpPr/>
          <p:nvPr/>
        </p:nvSpPr>
        <p:spPr>
          <a:xfrm>
            <a:off x="2832701" y="3301293"/>
            <a:ext cx="1727200" cy="715766"/>
          </a:xfrm>
          <a:prstGeom prst="roundRect">
            <a:avLst>
              <a:gd name="adj" fmla="val 16667"/>
            </a:avLst>
          </a:prstGeom>
          <a:noFill/>
          <a:ln>
            <a:solidFill>
              <a:schemeClr val="accent1"/>
            </a:solidFill>
          </a:ln>
          <a:effectLst/>
        </p:spPr>
        <p:txBody>
          <a:bodyPr spcFirstLastPara="1" wrap="square" lIns="121928" tIns="60947" rIns="121928" bIns="60947" anchor="ctr" anchorCtr="0">
            <a:noAutofit/>
          </a:bodyPr>
          <a:lstStyle/>
          <a:p>
            <a:pPr algn="ctr">
              <a:buClr>
                <a:srgbClr val="000000"/>
              </a:buClr>
              <a:buSzPts val="1050"/>
            </a:pPr>
            <a:r>
              <a:rPr lang="es-ES" dirty="0"/>
              <a:t>Pasa 3,5 minutos fuera de la página</a:t>
            </a:r>
            <a:endParaRPr b="1" dirty="0">
              <a:solidFill>
                <a:srgbClr val="042D60"/>
              </a:solidFill>
              <a:latin typeface="+mj-lt"/>
              <a:ea typeface="Inter"/>
              <a:cs typeface="Inter"/>
              <a:sym typeface="Inter"/>
            </a:endParaRPr>
          </a:p>
        </p:txBody>
      </p:sp>
      <p:sp>
        <p:nvSpPr>
          <p:cNvPr id="9" name="Google Shape;202;p21">
            <a:extLst>
              <a:ext uri="{FF2B5EF4-FFF2-40B4-BE49-F238E27FC236}">
                <a16:creationId xmlns:a16="http://schemas.microsoft.com/office/drawing/2014/main" id="{7B8C27AC-3D3D-69BC-B364-0A51642423CA}"/>
              </a:ext>
            </a:extLst>
          </p:cNvPr>
          <p:cNvSpPr/>
          <p:nvPr/>
        </p:nvSpPr>
        <p:spPr>
          <a:xfrm>
            <a:off x="2832701" y="2189861"/>
            <a:ext cx="1727200" cy="719366"/>
          </a:xfrm>
          <a:prstGeom prst="roundRect">
            <a:avLst>
              <a:gd name="adj" fmla="val 16667"/>
            </a:avLst>
          </a:prstGeom>
          <a:noFill/>
          <a:ln>
            <a:solidFill>
              <a:schemeClr val="accent1"/>
            </a:solidFill>
          </a:ln>
          <a:effectLst/>
        </p:spPr>
        <p:txBody>
          <a:bodyPr spcFirstLastPara="1" wrap="square" lIns="121928" tIns="60947" rIns="121928" bIns="60947" anchor="ctr" anchorCtr="0">
            <a:noAutofit/>
          </a:bodyPr>
          <a:lstStyle/>
          <a:p>
            <a:pPr algn="ctr">
              <a:buClr>
                <a:srgbClr val="000000"/>
              </a:buClr>
              <a:buSzPts val="1050"/>
            </a:pPr>
            <a:r>
              <a:rPr lang="es-ES" dirty="0"/>
              <a:t>Responde ‘Sí’ al uso de tabaco</a:t>
            </a:r>
            <a:endParaRPr b="1" dirty="0">
              <a:solidFill>
                <a:srgbClr val="042D60"/>
              </a:solidFill>
              <a:latin typeface="+mj-lt"/>
              <a:ea typeface="Inter"/>
              <a:cs typeface="Inter"/>
              <a:sym typeface="Inter"/>
            </a:endParaRPr>
          </a:p>
        </p:txBody>
      </p:sp>
      <p:sp>
        <p:nvSpPr>
          <p:cNvPr id="10" name="Google Shape;203;p21">
            <a:extLst>
              <a:ext uri="{FF2B5EF4-FFF2-40B4-BE49-F238E27FC236}">
                <a16:creationId xmlns:a16="http://schemas.microsoft.com/office/drawing/2014/main" id="{97C963EE-4CF9-117B-877C-AC083C730782}"/>
              </a:ext>
            </a:extLst>
          </p:cNvPr>
          <p:cNvSpPr/>
          <p:nvPr/>
        </p:nvSpPr>
        <p:spPr>
          <a:xfrm>
            <a:off x="5186452" y="3295873"/>
            <a:ext cx="1727200" cy="713765"/>
          </a:xfrm>
          <a:prstGeom prst="roundRect">
            <a:avLst>
              <a:gd name="adj" fmla="val 16667"/>
            </a:avLst>
          </a:prstGeom>
          <a:noFill/>
          <a:ln>
            <a:solidFill>
              <a:schemeClr val="accent1"/>
            </a:solidFill>
          </a:ln>
          <a:effectLst/>
        </p:spPr>
        <p:txBody>
          <a:bodyPr spcFirstLastPara="1" wrap="square" lIns="121928" tIns="60947" rIns="121928" bIns="60947" anchor="ctr" anchorCtr="0">
            <a:noAutofit/>
          </a:bodyPr>
          <a:lstStyle/>
          <a:p>
            <a:pPr algn="ctr">
              <a:buClr>
                <a:srgbClr val="000000"/>
              </a:buClr>
              <a:buSzPts val="1050"/>
            </a:pPr>
            <a:r>
              <a:rPr lang="es-ES" b="1" dirty="0">
                <a:solidFill>
                  <a:srgbClr val="042D60"/>
                </a:solidFill>
                <a:latin typeface="+mj-lt"/>
                <a:ea typeface="Inter"/>
                <a:cs typeface="Inter"/>
                <a:sym typeface="Inter"/>
              </a:rPr>
              <a:t>Responde ‘No’ al consumo de alcohol</a:t>
            </a:r>
          </a:p>
        </p:txBody>
      </p:sp>
      <p:sp>
        <p:nvSpPr>
          <p:cNvPr id="11" name="Google Shape;204;p21">
            <a:extLst>
              <a:ext uri="{FF2B5EF4-FFF2-40B4-BE49-F238E27FC236}">
                <a16:creationId xmlns:a16="http://schemas.microsoft.com/office/drawing/2014/main" id="{AA6EC788-3B5E-E556-E5CE-FA7542365B89}"/>
              </a:ext>
            </a:extLst>
          </p:cNvPr>
          <p:cNvSpPr/>
          <p:nvPr/>
        </p:nvSpPr>
        <p:spPr>
          <a:xfrm>
            <a:off x="5186452" y="2189861"/>
            <a:ext cx="1727200" cy="717766"/>
          </a:xfrm>
          <a:prstGeom prst="roundRect">
            <a:avLst>
              <a:gd name="adj" fmla="val 16667"/>
            </a:avLst>
          </a:prstGeom>
          <a:noFill/>
          <a:ln>
            <a:solidFill>
              <a:schemeClr val="accent1"/>
            </a:solidFill>
          </a:ln>
          <a:effectLst/>
        </p:spPr>
        <p:txBody>
          <a:bodyPr spcFirstLastPara="1" wrap="square" lIns="121928" tIns="60947" rIns="121928" bIns="60947" anchor="ctr" anchorCtr="0">
            <a:noAutofit/>
          </a:bodyPr>
          <a:lstStyle/>
          <a:p>
            <a:pPr algn="ctr">
              <a:buClr>
                <a:srgbClr val="000000"/>
              </a:buClr>
              <a:buSzPts val="1000"/>
            </a:pPr>
            <a:r>
              <a:rPr lang="es-ES" dirty="0"/>
              <a:t>Pasa el cursor sobre ‘Consumo de alcohol’</a:t>
            </a:r>
            <a:endParaRPr b="1" dirty="0">
              <a:solidFill>
                <a:srgbClr val="042D60"/>
              </a:solidFill>
              <a:latin typeface="+mj-lt"/>
              <a:ea typeface="Inter"/>
              <a:cs typeface="Inter"/>
              <a:sym typeface="Inter"/>
            </a:endParaRPr>
          </a:p>
        </p:txBody>
      </p:sp>
      <p:sp>
        <p:nvSpPr>
          <p:cNvPr id="12" name="Google Shape;205;p21">
            <a:extLst>
              <a:ext uri="{FF2B5EF4-FFF2-40B4-BE49-F238E27FC236}">
                <a16:creationId xmlns:a16="http://schemas.microsoft.com/office/drawing/2014/main" id="{C5D33729-9E24-0DEF-704E-7911C799F831}"/>
              </a:ext>
            </a:extLst>
          </p:cNvPr>
          <p:cNvSpPr/>
          <p:nvPr/>
        </p:nvSpPr>
        <p:spPr>
          <a:xfrm>
            <a:off x="5193854" y="4402673"/>
            <a:ext cx="1712396" cy="713765"/>
          </a:xfrm>
          <a:prstGeom prst="roundRect">
            <a:avLst>
              <a:gd name="adj" fmla="val 16667"/>
            </a:avLst>
          </a:prstGeom>
          <a:noFill/>
          <a:ln>
            <a:solidFill>
              <a:schemeClr val="accent1"/>
            </a:solidFill>
          </a:ln>
          <a:effectLst/>
        </p:spPr>
        <p:txBody>
          <a:bodyPr spcFirstLastPara="1" wrap="square" lIns="121928" tIns="60947" rIns="121928" bIns="60947" anchor="ctr" anchorCtr="0">
            <a:noAutofit/>
          </a:bodyPr>
          <a:lstStyle/>
          <a:p>
            <a:pPr algn="ctr">
              <a:buClr>
                <a:srgbClr val="000000"/>
              </a:buClr>
              <a:buSzPts val="900"/>
            </a:pPr>
            <a:r>
              <a:rPr lang="es-ES" dirty="0"/>
              <a:t>Cambia el uso de tabaco a ‘No’</a:t>
            </a:r>
            <a:endParaRPr b="1" dirty="0">
              <a:solidFill>
                <a:srgbClr val="042D60"/>
              </a:solidFill>
              <a:latin typeface="+mj-lt"/>
              <a:ea typeface="Inter"/>
              <a:cs typeface="Inter"/>
              <a:sym typeface="Inter"/>
            </a:endParaRPr>
          </a:p>
        </p:txBody>
      </p:sp>
      <p:sp>
        <p:nvSpPr>
          <p:cNvPr id="13" name="Google Shape;206;p21">
            <a:extLst>
              <a:ext uri="{FF2B5EF4-FFF2-40B4-BE49-F238E27FC236}">
                <a16:creationId xmlns:a16="http://schemas.microsoft.com/office/drawing/2014/main" id="{2BFFDED1-C32D-291B-D14B-193EE8CE9060}"/>
              </a:ext>
            </a:extLst>
          </p:cNvPr>
          <p:cNvSpPr/>
          <p:nvPr/>
        </p:nvSpPr>
        <p:spPr>
          <a:xfrm>
            <a:off x="7498459" y="2189861"/>
            <a:ext cx="1727200" cy="707364"/>
          </a:xfrm>
          <a:prstGeom prst="roundRect">
            <a:avLst>
              <a:gd name="adj" fmla="val 16667"/>
            </a:avLst>
          </a:prstGeom>
          <a:solidFill>
            <a:schemeClr val="accent1"/>
          </a:solidFill>
          <a:ln w="9525" cap="flat" cmpd="sng">
            <a:solidFill>
              <a:schemeClr val="accent1"/>
            </a:solidFill>
            <a:prstDash val="solid"/>
            <a:round/>
            <a:headEnd type="none" w="sm" len="sm"/>
            <a:tailEnd type="none" w="sm" len="sm"/>
          </a:ln>
          <a:effectLst/>
        </p:spPr>
        <p:txBody>
          <a:bodyPr spcFirstLastPara="1" wrap="square" lIns="121928" tIns="60947" rIns="121928" bIns="60947" anchor="ctr" anchorCtr="0">
            <a:noAutofit/>
          </a:bodyPr>
          <a:lstStyle/>
          <a:p>
            <a:pPr algn="ctr">
              <a:buClr>
                <a:srgbClr val="000000"/>
              </a:buClr>
              <a:buSzPts val="1050"/>
            </a:pPr>
            <a:r>
              <a:rPr lang="es-ES" b="1" dirty="0">
                <a:solidFill>
                  <a:schemeClr val="lt1"/>
                </a:solidFill>
                <a:latin typeface="+mj-lt"/>
                <a:ea typeface="Inter"/>
                <a:cs typeface="Inter"/>
                <a:sym typeface="Inter"/>
              </a:rPr>
              <a:t>Envía la cotización </a:t>
            </a:r>
            <a:br>
              <a:rPr lang="es-ES" b="1" dirty="0">
                <a:solidFill>
                  <a:schemeClr val="lt1"/>
                </a:solidFill>
                <a:latin typeface="+mj-lt"/>
                <a:ea typeface="Inter"/>
                <a:cs typeface="Inter"/>
                <a:sym typeface="Inter"/>
              </a:rPr>
            </a:br>
            <a:r>
              <a:rPr lang="es-ES" b="1" dirty="0">
                <a:solidFill>
                  <a:schemeClr val="lt1"/>
                </a:solidFill>
                <a:latin typeface="+mj-lt"/>
                <a:ea typeface="Inter"/>
                <a:cs typeface="Inter"/>
                <a:sym typeface="Inter"/>
              </a:rPr>
              <a:t>10:47</a:t>
            </a:r>
            <a:r>
              <a:rPr lang="es-ES" dirty="0">
                <a:solidFill>
                  <a:schemeClr val="lt1"/>
                </a:solidFill>
                <a:latin typeface="+mj-lt"/>
                <a:ea typeface="Inter"/>
                <a:cs typeface="Inter"/>
                <a:sym typeface="Inter"/>
              </a:rPr>
              <a:t> a.</a:t>
            </a:r>
            <a:r>
              <a:rPr lang="es-ES" b="1" dirty="0">
                <a:solidFill>
                  <a:schemeClr val="lt1"/>
                </a:solidFill>
                <a:latin typeface="+mj-lt"/>
                <a:ea typeface="Inter"/>
                <a:cs typeface="Inter"/>
                <a:sym typeface="Inter"/>
              </a:rPr>
              <a:t>m.</a:t>
            </a:r>
            <a:endParaRPr dirty="0">
              <a:solidFill>
                <a:schemeClr val="lt1"/>
              </a:solidFill>
              <a:latin typeface="+mj-lt"/>
              <a:ea typeface="Inter"/>
              <a:cs typeface="Inter"/>
              <a:sym typeface="Inter"/>
            </a:endParaRPr>
          </a:p>
        </p:txBody>
      </p:sp>
      <p:sp>
        <p:nvSpPr>
          <p:cNvPr id="14" name="Google Shape;207;p21">
            <a:extLst>
              <a:ext uri="{FF2B5EF4-FFF2-40B4-BE49-F238E27FC236}">
                <a16:creationId xmlns:a16="http://schemas.microsoft.com/office/drawing/2014/main" id="{B7281133-E72B-18DE-4F05-84737AEA7BFC}"/>
              </a:ext>
            </a:extLst>
          </p:cNvPr>
          <p:cNvSpPr/>
          <p:nvPr/>
        </p:nvSpPr>
        <p:spPr>
          <a:xfrm>
            <a:off x="7533570" y="3278868"/>
            <a:ext cx="1727200" cy="715366"/>
          </a:xfrm>
          <a:prstGeom prst="roundRect">
            <a:avLst>
              <a:gd name="adj" fmla="val 16667"/>
            </a:avLst>
          </a:prstGeom>
          <a:noFill/>
          <a:ln>
            <a:solidFill>
              <a:schemeClr val="accent1"/>
            </a:solidFill>
          </a:ln>
          <a:effectLst/>
        </p:spPr>
        <p:txBody>
          <a:bodyPr spcFirstLastPara="1" wrap="square" lIns="121928" tIns="60947" rIns="121928" bIns="60947" anchor="ctr" anchorCtr="0">
            <a:noAutofit/>
          </a:bodyPr>
          <a:lstStyle/>
          <a:p>
            <a:pPr algn="ctr">
              <a:buClr>
                <a:srgbClr val="000000"/>
              </a:buClr>
              <a:buSzPts val="1050"/>
            </a:pPr>
            <a:r>
              <a:rPr lang="es-ES" dirty="0"/>
              <a:t>Elimina y vuelve a poner el peso en 2 cifras</a:t>
            </a:r>
            <a:endParaRPr b="1" dirty="0">
              <a:solidFill>
                <a:srgbClr val="042D60"/>
              </a:solidFill>
              <a:latin typeface="+mj-lt"/>
              <a:ea typeface="Inter"/>
              <a:cs typeface="Inter"/>
              <a:sym typeface="Inter"/>
            </a:endParaRPr>
          </a:p>
        </p:txBody>
      </p:sp>
      <p:sp>
        <p:nvSpPr>
          <p:cNvPr id="15" name="Google Shape;214;p21">
            <a:extLst>
              <a:ext uri="{FF2B5EF4-FFF2-40B4-BE49-F238E27FC236}">
                <a16:creationId xmlns:a16="http://schemas.microsoft.com/office/drawing/2014/main" id="{C5719029-36DD-EC66-A8CC-377A815BBFBE}"/>
              </a:ext>
            </a:extLst>
          </p:cNvPr>
          <p:cNvSpPr/>
          <p:nvPr/>
        </p:nvSpPr>
        <p:spPr>
          <a:xfrm>
            <a:off x="7498459" y="4401446"/>
            <a:ext cx="1727200" cy="715366"/>
          </a:xfrm>
          <a:prstGeom prst="roundRect">
            <a:avLst>
              <a:gd name="adj" fmla="val 16667"/>
            </a:avLst>
          </a:prstGeom>
          <a:noFill/>
          <a:ln>
            <a:solidFill>
              <a:schemeClr val="accent1"/>
            </a:solidFill>
          </a:ln>
          <a:effectLst/>
        </p:spPr>
        <p:txBody>
          <a:bodyPr spcFirstLastPara="1" wrap="square" lIns="121928" tIns="60947" rIns="121928" bIns="60947" anchor="ctr" anchorCtr="0">
            <a:noAutofit/>
          </a:bodyPr>
          <a:lstStyle/>
          <a:p>
            <a:pPr algn="ctr">
              <a:buClr>
                <a:srgbClr val="000000"/>
              </a:buClr>
              <a:buSzPts val="1050"/>
            </a:pPr>
            <a:r>
              <a:rPr lang="es-ES" sz="1390" b="1" dirty="0">
                <a:solidFill>
                  <a:srgbClr val="042D60"/>
                </a:solidFill>
                <a:latin typeface="+mj-lt"/>
                <a:ea typeface="Inter"/>
                <a:cs typeface="Inter"/>
                <a:sym typeface="Inter"/>
              </a:rPr>
              <a:t>Pone el peso en 3 pulsaciones </a:t>
            </a:r>
            <a:br>
              <a:rPr lang="es-ES" sz="1390" b="1" dirty="0">
                <a:solidFill>
                  <a:srgbClr val="042D60"/>
                </a:solidFill>
                <a:latin typeface="+mj-lt"/>
                <a:ea typeface="Inter"/>
                <a:cs typeface="Inter"/>
                <a:sym typeface="Inter"/>
              </a:rPr>
            </a:br>
            <a:r>
              <a:rPr lang="es-ES" sz="1390" b="1" dirty="0">
                <a:solidFill>
                  <a:srgbClr val="042D60"/>
                </a:solidFill>
                <a:latin typeface="+mj-lt"/>
                <a:ea typeface="Inter"/>
                <a:cs typeface="Inter"/>
                <a:sym typeface="Inter"/>
              </a:rPr>
              <a:t>de tecla</a:t>
            </a:r>
            <a:endParaRPr sz="1390" b="1" dirty="0">
              <a:solidFill>
                <a:srgbClr val="042D60"/>
              </a:solidFill>
              <a:latin typeface="+mj-lt"/>
              <a:ea typeface="Inter"/>
              <a:cs typeface="Inter"/>
              <a:sym typeface="Inter"/>
            </a:endParaRPr>
          </a:p>
        </p:txBody>
      </p:sp>
      <p:cxnSp>
        <p:nvCxnSpPr>
          <p:cNvPr id="16" name="Google Shape;220;p21">
            <a:extLst>
              <a:ext uri="{FF2B5EF4-FFF2-40B4-BE49-F238E27FC236}">
                <a16:creationId xmlns:a16="http://schemas.microsoft.com/office/drawing/2014/main" id="{27813C07-7E60-78E2-733E-E8D437EC366A}"/>
              </a:ext>
            </a:extLst>
          </p:cNvPr>
          <p:cNvCxnSpPr>
            <a:cxnSpLocks/>
            <a:endCxn id="6" idx="0"/>
          </p:cNvCxnSpPr>
          <p:nvPr/>
        </p:nvCxnSpPr>
        <p:spPr>
          <a:xfrm>
            <a:off x="1482319" y="4147878"/>
            <a:ext cx="0" cy="251258"/>
          </a:xfrm>
          <a:prstGeom prst="straightConnector1">
            <a:avLst/>
          </a:prstGeom>
          <a:noFill/>
          <a:ln w="9525" cap="flat" cmpd="sng">
            <a:solidFill>
              <a:schemeClr val="accent1"/>
            </a:solidFill>
            <a:prstDash val="solid"/>
            <a:round/>
            <a:headEnd type="none" w="med" len="med"/>
            <a:tailEnd type="none" w="med" len="med"/>
          </a:ln>
        </p:spPr>
      </p:cxnSp>
      <p:cxnSp>
        <p:nvCxnSpPr>
          <p:cNvPr id="17" name="Google Shape;221;p21">
            <a:extLst>
              <a:ext uri="{FF2B5EF4-FFF2-40B4-BE49-F238E27FC236}">
                <a16:creationId xmlns:a16="http://schemas.microsoft.com/office/drawing/2014/main" id="{970865F4-5913-4E0E-76EE-A8C904C090F0}"/>
              </a:ext>
            </a:extLst>
          </p:cNvPr>
          <p:cNvCxnSpPr>
            <a:stCxn id="6" idx="2"/>
            <a:endCxn id="7" idx="2"/>
          </p:cNvCxnSpPr>
          <p:nvPr/>
        </p:nvCxnSpPr>
        <p:spPr>
          <a:xfrm rot="5400000" flipH="1" flipV="1">
            <a:off x="2588422" y="4010458"/>
            <a:ext cx="1787" cy="2213969"/>
          </a:xfrm>
          <a:prstGeom prst="bentConnector3">
            <a:avLst>
              <a:gd name="adj1" fmla="val -12792389"/>
            </a:avLst>
          </a:prstGeom>
          <a:noFill/>
          <a:ln w="9525" cap="flat" cmpd="sng">
            <a:solidFill>
              <a:schemeClr val="accent1"/>
            </a:solidFill>
            <a:prstDash val="solid"/>
            <a:round/>
            <a:headEnd type="none" w="med" len="med"/>
            <a:tailEnd type="triangle" w="med" len="med"/>
          </a:ln>
        </p:spPr>
      </p:cxnSp>
      <p:cxnSp>
        <p:nvCxnSpPr>
          <p:cNvPr id="18" name="Google Shape;222;p21">
            <a:extLst>
              <a:ext uri="{FF2B5EF4-FFF2-40B4-BE49-F238E27FC236}">
                <a16:creationId xmlns:a16="http://schemas.microsoft.com/office/drawing/2014/main" id="{64326E88-B551-F6FC-5B77-E52D86769D6F}"/>
              </a:ext>
            </a:extLst>
          </p:cNvPr>
          <p:cNvCxnSpPr>
            <a:stCxn id="7" idx="0"/>
            <a:endCxn id="8" idx="2"/>
          </p:cNvCxnSpPr>
          <p:nvPr/>
        </p:nvCxnSpPr>
        <p:spPr>
          <a:xfrm flipV="1">
            <a:off x="3696301" y="4017059"/>
            <a:ext cx="0" cy="383724"/>
          </a:xfrm>
          <a:prstGeom prst="straightConnector1">
            <a:avLst/>
          </a:prstGeom>
          <a:noFill/>
          <a:ln w="9525" cap="flat" cmpd="sng">
            <a:solidFill>
              <a:schemeClr val="accent1"/>
            </a:solidFill>
            <a:prstDash val="solid"/>
            <a:round/>
            <a:headEnd type="none" w="med" len="med"/>
            <a:tailEnd type="none" w="med" len="med"/>
          </a:ln>
        </p:spPr>
      </p:cxnSp>
      <p:cxnSp>
        <p:nvCxnSpPr>
          <p:cNvPr id="19" name="Google Shape;223;p21">
            <a:extLst>
              <a:ext uri="{FF2B5EF4-FFF2-40B4-BE49-F238E27FC236}">
                <a16:creationId xmlns:a16="http://schemas.microsoft.com/office/drawing/2014/main" id="{18458CDB-C821-3858-10B0-C045D4721C57}"/>
              </a:ext>
            </a:extLst>
          </p:cNvPr>
          <p:cNvCxnSpPr>
            <a:stCxn id="8" idx="0"/>
            <a:endCxn id="9" idx="2"/>
          </p:cNvCxnSpPr>
          <p:nvPr/>
        </p:nvCxnSpPr>
        <p:spPr>
          <a:xfrm flipV="1">
            <a:off x="3696301" y="2909227"/>
            <a:ext cx="0" cy="392066"/>
          </a:xfrm>
          <a:prstGeom prst="straightConnector1">
            <a:avLst/>
          </a:prstGeom>
          <a:noFill/>
          <a:ln w="9525" cap="flat" cmpd="sng">
            <a:solidFill>
              <a:schemeClr val="accent1"/>
            </a:solidFill>
            <a:prstDash val="solid"/>
            <a:round/>
            <a:headEnd type="none" w="med" len="med"/>
            <a:tailEnd type="none" w="med" len="med"/>
          </a:ln>
        </p:spPr>
      </p:cxnSp>
      <p:cxnSp>
        <p:nvCxnSpPr>
          <p:cNvPr id="20" name="Google Shape;224;p21">
            <a:extLst>
              <a:ext uri="{FF2B5EF4-FFF2-40B4-BE49-F238E27FC236}">
                <a16:creationId xmlns:a16="http://schemas.microsoft.com/office/drawing/2014/main" id="{9B9D3B70-27C1-F3D0-429B-9F5C07608D86}"/>
              </a:ext>
            </a:extLst>
          </p:cNvPr>
          <p:cNvCxnSpPr>
            <a:stCxn id="9" idx="0"/>
            <a:endCxn id="11" idx="0"/>
          </p:cNvCxnSpPr>
          <p:nvPr/>
        </p:nvCxnSpPr>
        <p:spPr>
          <a:xfrm rot="5400000" flipH="1" flipV="1">
            <a:off x="4873176" y="1012986"/>
            <a:ext cx="12700" cy="2353751"/>
          </a:xfrm>
          <a:prstGeom prst="bentConnector3">
            <a:avLst>
              <a:gd name="adj1" fmla="val 1800000"/>
            </a:avLst>
          </a:prstGeom>
          <a:noFill/>
          <a:ln w="9525" cap="flat" cmpd="sng">
            <a:solidFill>
              <a:schemeClr val="accent1"/>
            </a:solidFill>
            <a:prstDash val="solid"/>
            <a:round/>
            <a:headEnd type="none" w="med" len="med"/>
            <a:tailEnd type="triangle" w="med" len="med"/>
          </a:ln>
        </p:spPr>
      </p:cxnSp>
      <p:cxnSp>
        <p:nvCxnSpPr>
          <p:cNvPr id="21" name="Google Shape;225;p21">
            <a:extLst>
              <a:ext uri="{FF2B5EF4-FFF2-40B4-BE49-F238E27FC236}">
                <a16:creationId xmlns:a16="http://schemas.microsoft.com/office/drawing/2014/main" id="{0B7E712A-1628-DF93-6F43-552498DD1AD9}"/>
              </a:ext>
            </a:extLst>
          </p:cNvPr>
          <p:cNvCxnSpPr>
            <a:stCxn id="12" idx="2"/>
            <a:endCxn id="15" idx="2"/>
          </p:cNvCxnSpPr>
          <p:nvPr/>
        </p:nvCxnSpPr>
        <p:spPr>
          <a:xfrm rot="16200000" flipH="1">
            <a:off x="7205868" y="3960621"/>
            <a:ext cx="374" cy="2312007"/>
          </a:xfrm>
          <a:prstGeom prst="bentConnector3">
            <a:avLst>
              <a:gd name="adj1" fmla="val 61222995"/>
            </a:avLst>
          </a:prstGeom>
          <a:noFill/>
          <a:ln w="9525" cap="flat" cmpd="sng">
            <a:solidFill>
              <a:schemeClr val="accent1"/>
            </a:solidFill>
            <a:prstDash val="solid"/>
            <a:round/>
            <a:headEnd type="none" w="med" len="med"/>
            <a:tailEnd type="triangle" w="med" len="med"/>
          </a:ln>
        </p:spPr>
      </p:cxnSp>
      <p:cxnSp>
        <p:nvCxnSpPr>
          <p:cNvPr id="22" name="Google Shape;226;p21">
            <a:extLst>
              <a:ext uri="{FF2B5EF4-FFF2-40B4-BE49-F238E27FC236}">
                <a16:creationId xmlns:a16="http://schemas.microsoft.com/office/drawing/2014/main" id="{B57045E7-A503-4FE2-821E-328889A6321C}"/>
              </a:ext>
            </a:extLst>
          </p:cNvPr>
          <p:cNvCxnSpPr/>
          <p:nvPr/>
        </p:nvCxnSpPr>
        <p:spPr>
          <a:xfrm rot="10800000">
            <a:off x="6055695" y="2909202"/>
            <a:ext cx="0" cy="392091"/>
          </a:xfrm>
          <a:prstGeom prst="straightConnector1">
            <a:avLst/>
          </a:prstGeom>
          <a:noFill/>
          <a:ln w="9525" cap="flat" cmpd="sng">
            <a:solidFill>
              <a:schemeClr val="accent1"/>
            </a:solidFill>
            <a:prstDash val="solid"/>
            <a:round/>
            <a:headEnd type="none" w="med" len="med"/>
            <a:tailEnd type="none" w="med" len="med"/>
          </a:ln>
        </p:spPr>
      </p:cxnSp>
      <p:cxnSp>
        <p:nvCxnSpPr>
          <p:cNvPr id="23" name="Google Shape;227;p21">
            <a:extLst>
              <a:ext uri="{FF2B5EF4-FFF2-40B4-BE49-F238E27FC236}">
                <a16:creationId xmlns:a16="http://schemas.microsoft.com/office/drawing/2014/main" id="{6BCEFB2D-5F86-C813-539B-E19ABA26FD69}"/>
              </a:ext>
            </a:extLst>
          </p:cNvPr>
          <p:cNvCxnSpPr/>
          <p:nvPr/>
        </p:nvCxnSpPr>
        <p:spPr>
          <a:xfrm rot="10800000">
            <a:off x="6055711" y="4017094"/>
            <a:ext cx="0" cy="383689"/>
          </a:xfrm>
          <a:prstGeom prst="straightConnector1">
            <a:avLst/>
          </a:prstGeom>
          <a:noFill/>
          <a:ln w="9525" cap="flat" cmpd="sng">
            <a:solidFill>
              <a:schemeClr val="accent1"/>
            </a:solidFill>
            <a:prstDash val="solid"/>
            <a:round/>
            <a:headEnd type="none" w="med" len="med"/>
            <a:tailEnd type="none" w="med" len="med"/>
          </a:ln>
        </p:spPr>
      </p:cxnSp>
      <p:cxnSp>
        <p:nvCxnSpPr>
          <p:cNvPr id="24" name="Google Shape;228;p21">
            <a:extLst>
              <a:ext uri="{FF2B5EF4-FFF2-40B4-BE49-F238E27FC236}">
                <a16:creationId xmlns:a16="http://schemas.microsoft.com/office/drawing/2014/main" id="{B1C27C46-B992-1425-8EDF-958B78734C9E}"/>
              </a:ext>
            </a:extLst>
          </p:cNvPr>
          <p:cNvCxnSpPr/>
          <p:nvPr/>
        </p:nvCxnSpPr>
        <p:spPr>
          <a:xfrm rot="10800000">
            <a:off x="8362028" y="2909202"/>
            <a:ext cx="0" cy="392091"/>
          </a:xfrm>
          <a:prstGeom prst="straightConnector1">
            <a:avLst/>
          </a:prstGeom>
          <a:noFill/>
          <a:ln w="9525" cap="flat" cmpd="sng">
            <a:solidFill>
              <a:schemeClr val="accent1"/>
            </a:solidFill>
            <a:prstDash val="solid"/>
            <a:round/>
            <a:headEnd type="none" w="med" len="med"/>
            <a:tailEnd type="none" w="med" len="med"/>
          </a:ln>
        </p:spPr>
      </p:cxnSp>
      <p:cxnSp>
        <p:nvCxnSpPr>
          <p:cNvPr id="25" name="Google Shape;229;p21">
            <a:extLst>
              <a:ext uri="{FF2B5EF4-FFF2-40B4-BE49-F238E27FC236}">
                <a16:creationId xmlns:a16="http://schemas.microsoft.com/office/drawing/2014/main" id="{493BD858-6E6B-2BBA-BAAC-C7299842007E}"/>
              </a:ext>
            </a:extLst>
          </p:cNvPr>
          <p:cNvCxnSpPr/>
          <p:nvPr/>
        </p:nvCxnSpPr>
        <p:spPr>
          <a:xfrm rot="10800000">
            <a:off x="8362044" y="4017094"/>
            <a:ext cx="0" cy="383689"/>
          </a:xfrm>
          <a:prstGeom prst="straightConnector1">
            <a:avLst/>
          </a:prstGeom>
          <a:noFill/>
          <a:ln w="9525" cap="flat" cmpd="sng">
            <a:solidFill>
              <a:schemeClr val="accent1"/>
            </a:solidFill>
            <a:prstDash val="solid"/>
            <a:round/>
            <a:headEnd type="none" w="med" len="med"/>
            <a:tailEnd type="none" w="med" len="med"/>
          </a:ln>
        </p:spPr>
      </p:cxnSp>
      <p:cxnSp>
        <p:nvCxnSpPr>
          <p:cNvPr id="26" name="Google Shape;230;p21">
            <a:extLst>
              <a:ext uri="{FF2B5EF4-FFF2-40B4-BE49-F238E27FC236}">
                <a16:creationId xmlns:a16="http://schemas.microsoft.com/office/drawing/2014/main" id="{D4AD8D72-50F9-10F9-EC00-D20CF064D8CF}"/>
              </a:ext>
            </a:extLst>
          </p:cNvPr>
          <p:cNvCxnSpPr>
            <a:cxnSpLocks/>
            <a:stCxn id="13" idx="0"/>
          </p:cNvCxnSpPr>
          <p:nvPr/>
        </p:nvCxnSpPr>
        <p:spPr>
          <a:xfrm rot="-5400000" flipH="1">
            <a:off x="9385296" y="1166624"/>
            <a:ext cx="304470" cy="2350944"/>
          </a:xfrm>
          <a:prstGeom prst="bentConnector3">
            <a:avLst>
              <a:gd name="adj1" fmla="val -104304"/>
            </a:avLst>
          </a:prstGeom>
          <a:noFill/>
          <a:ln w="9525" cap="flat" cmpd="sng">
            <a:solidFill>
              <a:schemeClr val="accent1"/>
            </a:solidFill>
            <a:prstDash val="solid"/>
            <a:round/>
            <a:headEnd type="none" w="med" len="med"/>
            <a:tailEnd type="triangle" w="med" len="med"/>
          </a:ln>
        </p:spPr>
      </p:cxnSp>
      <p:sp>
        <p:nvSpPr>
          <p:cNvPr id="28" name="Google Shape;233;p21">
            <a:extLst>
              <a:ext uri="{FF2B5EF4-FFF2-40B4-BE49-F238E27FC236}">
                <a16:creationId xmlns:a16="http://schemas.microsoft.com/office/drawing/2014/main" id="{5A35F0A4-44FC-285F-F36A-8E54FCDD3D4F}"/>
              </a:ext>
            </a:extLst>
          </p:cNvPr>
          <p:cNvSpPr txBox="1"/>
          <p:nvPr/>
        </p:nvSpPr>
        <p:spPr>
          <a:xfrm>
            <a:off x="440929" y="2153195"/>
            <a:ext cx="2213969" cy="1108657"/>
          </a:xfrm>
          <a:prstGeom prst="rect">
            <a:avLst/>
          </a:prstGeom>
          <a:noFill/>
          <a:ln>
            <a:noFill/>
          </a:ln>
        </p:spPr>
        <p:txBody>
          <a:bodyPr spcFirstLastPara="1" wrap="square" lIns="0" tIns="121928" rIns="0" bIns="121928" anchor="ctr" anchorCtr="0">
            <a:noAutofit/>
          </a:bodyPr>
          <a:lstStyle/>
          <a:p>
            <a:pPr algn="ctr"/>
            <a:r>
              <a:rPr lang="es-ES" sz="2134" b="1" dirty="0">
                <a:solidFill>
                  <a:srgbClr val="042D60"/>
                </a:solidFill>
                <a:latin typeface="+mj-lt"/>
                <a:ea typeface="Poppins"/>
                <a:cs typeface="Poppins"/>
                <a:sym typeface="Poppins"/>
              </a:rPr>
              <a:t>Datos de comportamiento con </a:t>
            </a:r>
            <a:r>
              <a:rPr lang="es-ES" sz="2267" dirty="0" err="1">
                <a:solidFill>
                  <a:schemeClr val="accent1"/>
                </a:solidFill>
                <a:latin typeface="+mj-lt"/>
                <a:ea typeface="Poppins ExtraBold"/>
                <a:cs typeface="Poppins ExtraBold"/>
                <a:sym typeface="Poppins ExtraBold"/>
              </a:rPr>
              <a:t>ForMotiv</a:t>
            </a:r>
            <a:endParaRPr lang="es-ES" sz="2267" dirty="0">
              <a:solidFill>
                <a:schemeClr val="accent1"/>
              </a:solidFill>
              <a:latin typeface="+mj-lt"/>
              <a:ea typeface="Poppins ExtraBold"/>
              <a:cs typeface="Poppins ExtraBold"/>
              <a:sym typeface="Poppins ExtraBold"/>
            </a:endParaRPr>
          </a:p>
        </p:txBody>
      </p:sp>
      <p:sp>
        <p:nvSpPr>
          <p:cNvPr id="29" name="Google Shape;232;p21">
            <a:extLst>
              <a:ext uri="{FF2B5EF4-FFF2-40B4-BE49-F238E27FC236}">
                <a16:creationId xmlns:a16="http://schemas.microsoft.com/office/drawing/2014/main" id="{FFCACE9E-F263-5D9E-FD42-63CCA6D61783}"/>
              </a:ext>
            </a:extLst>
          </p:cNvPr>
          <p:cNvSpPr/>
          <p:nvPr/>
        </p:nvSpPr>
        <p:spPr>
          <a:xfrm>
            <a:off x="9891949" y="4073764"/>
            <a:ext cx="1727200" cy="1379119"/>
          </a:xfrm>
          <a:prstGeom prst="roundRect">
            <a:avLst>
              <a:gd name="adj" fmla="val 16667"/>
            </a:avLst>
          </a:prstGeom>
          <a:solidFill>
            <a:schemeClr val="accent3"/>
          </a:solidFill>
          <a:ln>
            <a:solidFill>
              <a:schemeClr val="accent3"/>
            </a:solidFill>
          </a:ln>
          <a:effectLst/>
        </p:spPr>
        <p:txBody>
          <a:bodyPr spcFirstLastPara="1" wrap="square" lIns="121928" tIns="60947" rIns="121928" bIns="60947" anchor="ctr" anchorCtr="0">
            <a:noAutofit/>
          </a:bodyPr>
          <a:lstStyle/>
          <a:p>
            <a:pPr algn="ctr">
              <a:buClr>
                <a:srgbClr val="000000"/>
              </a:buClr>
              <a:buSzPts val="1050"/>
            </a:pPr>
            <a:r>
              <a:rPr lang="en-US" sz="1000" b="1" dirty="0">
                <a:solidFill>
                  <a:srgbClr val="FFFFFF"/>
                </a:solidFill>
                <a:latin typeface="+mj-lt"/>
                <a:ea typeface="Inter"/>
                <a:cs typeface="Inter"/>
                <a:sym typeface="Inter"/>
              </a:rPr>
              <a:t>RECOMENDACIÓN</a:t>
            </a:r>
            <a:br>
              <a:rPr lang="en-US" sz="1000" b="1" dirty="0">
                <a:solidFill>
                  <a:srgbClr val="FFFFFF"/>
                </a:solidFill>
                <a:latin typeface="+mj-lt"/>
                <a:ea typeface="Inter"/>
                <a:cs typeface="Inter"/>
                <a:sym typeface="Inter"/>
              </a:rPr>
            </a:br>
            <a:r>
              <a:rPr lang="es-ES" dirty="0">
                <a:solidFill>
                  <a:srgbClr val="FFFFFF"/>
                </a:solidFill>
                <a:latin typeface="+mj-lt"/>
                <a:ea typeface="Inter"/>
                <a:cs typeface="Inter"/>
                <a:sym typeface="Inter"/>
              </a:rPr>
              <a:t>Posible señal de riesgo de ocultación para revisión manual</a:t>
            </a:r>
            <a:endParaRPr dirty="0">
              <a:solidFill>
                <a:srgbClr val="FFFFFF"/>
              </a:solidFill>
              <a:latin typeface="+mj-lt"/>
              <a:ea typeface="Inter"/>
              <a:cs typeface="Inter"/>
              <a:sym typeface="Inter"/>
            </a:endParaRPr>
          </a:p>
        </p:txBody>
      </p:sp>
      <p:grpSp>
        <p:nvGrpSpPr>
          <p:cNvPr id="35" name="Group 4">
            <a:extLst>
              <a:ext uri="{FF2B5EF4-FFF2-40B4-BE49-F238E27FC236}">
                <a16:creationId xmlns:a16="http://schemas.microsoft.com/office/drawing/2014/main" id="{46F20EC7-B280-3AA5-6C16-366E4A54DD43}"/>
              </a:ext>
            </a:extLst>
          </p:cNvPr>
          <p:cNvGrpSpPr>
            <a:grpSpLocks noChangeAspect="1"/>
          </p:cNvGrpSpPr>
          <p:nvPr/>
        </p:nvGrpSpPr>
        <p:grpSpPr bwMode="auto">
          <a:xfrm>
            <a:off x="1296364" y="3467205"/>
            <a:ext cx="762000" cy="582612"/>
            <a:chOff x="3601" y="1977"/>
            <a:chExt cx="480" cy="367"/>
          </a:xfrm>
          <a:solidFill>
            <a:schemeClr val="accent1"/>
          </a:solidFill>
        </p:grpSpPr>
        <p:sp>
          <p:nvSpPr>
            <p:cNvPr id="36" name="Freeform 5">
              <a:extLst>
                <a:ext uri="{FF2B5EF4-FFF2-40B4-BE49-F238E27FC236}">
                  <a16:creationId xmlns:a16="http://schemas.microsoft.com/office/drawing/2014/main" id="{9C501799-8088-2C10-3121-C3281A1157EF}"/>
                </a:ext>
              </a:extLst>
            </p:cNvPr>
            <p:cNvSpPr>
              <a:spLocks/>
            </p:cNvSpPr>
            <p:nvPr/>
          </p:nvSpPr>
          <p:spPr bwMode="auto">
            <a:xfrm>
              <a:off x="3690" y="2066"/>
              <a:ext cx="111" cy="109"/>
            </a:xfrm>
            <a:custGeom>
              <a:avLst/>
              <a:gdLst>
                <a:gd name="T0" fmla="*/ 81 w 111"/>
                <a:gd name="T1" fmla="*/ 64 h 109"/>
                <a:gd name="T2" fmla="*/ 103 w 111"/>
                <a:gd name="T3" fmla="*/ 42 h 109"/>
                <a:gd name="T4" fmla="*/ 0 w 111"/>
                <a:gd name="T5" fmla="*/ 0 h 109"/>
                <a:gd name="T6" fmla="*/ 43 w 111"/>
                <a:gd name="T7" fmla="*/ 102 h 109"/>
                <a:gd name="T8" fmla="*/ 66 w 111"/>
                <a:gd name="T9" fmla="*/ 79 h 109"/>
                <a:gd name="T10" fmla="*/ 96 w 111"/>
                <a:gd name="T11" fmla="*/ 109 h 109"/>
                <a:gd name="T12" fmla="*/ 111 w 111"/>
                <a:gd name="T13" fmla="*/ 95 h 109"/>
                <a:gd name="T14" fmla="*/ 81 w 111"/>
                <a:gd name="T15" fmla="*/ 64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09">
                  <a:moveTo>
                    <a:pt x="81" y="64"/>
                  </a:moveTo>
                  <a:lnTo>
                    <a:pt x="103" y="42"/>
                  </a:lnTo>
                  <a:lnTo>
                    <a:pt x="0" y="0"/>
                  </a:lnTo>
                  <a:lnTo>
                    <a:pt x="43" y="102"/>
                  </a:lnTo>
                  <a:lnTo>
                    <a:pt x="66" y="79"/>
                  </a:lnTo>
                  <a:lnTo>
                    <a:pt x="96" y="109"/>
                  </a:lnTo>
                  <a:lnTo>
                    <a:pt x="111" y="95"/>
                  </a:lnTo>
                  <a:lnTo>
                    <a:pt x="8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6">
              <a:extLst>
                <a:ext uri="{FF2B5EF4-FFF2-40B4-BE49-F238E27FC236}">
                  <a16:creationId xmlns:a16="http://schemas.microsoft.com/office/drawing/2014/main" id="{FD5832F0-6071-A100-442A-AB1062164B76}"/>
                </a:ext>
              </a:extLst>
            </p:cNvPr>
            <p:cNvSpPr>
              <a:spLocks noEditPoints="1"/>
            </p:cNvSpPr>
            <p:nvPr/>
          </p:nvSpPr>
          <p:spPr bwMode="auto">
            <a:xfrm>
              <a:off x="3601" y="1977"/>
              <a:ext cx="480" cy="322"/>
            </a:xfrm>
            <a:custGeom>
              <a:avLst/>
              <a:gdLst>
                <a:gd name="T0" fmla="*/ 0 w 480"/>
                <a:gd name="T1" fmla="*/ 0 h 322"/>
                <a:gd name="T2" fmla="*/ 0 w 480"/>
                <a:gd name="T3" fmla="*/ 322 h 322"/>
                <a:gd name="T4" fmla="*/ 480 w 480"/>
                <a:gd name="T5" fmla="*/ 322 h 322"/>
                <a:gd name="T6" fmla="*/ 480 w 480"/>
                <a:gd name="T7" fmla="*/ 0 h 322"/>
                <a:gd name="T8" fmla="*/ 0 w 480"/>
                <a:gd name="T9" fmla="*/ 0 h 322"/>
                <a:gd name="T10" fmla="*/ 240 w 480"/>
                <a:gd name="T11" fmla="*/ 312 h 322"/>
                <a:gd name="T12" fmla="*/ 240 w 480"/>
                <a:gd name="T13" fmla="*/ 312 h 322"/>
                <a:gd name="T14" fmla="*/ 237 w 480"/>
                <a:gd name="T15" fmla="*/ 312 h 322"/>
                <a:gd name="T16" fmla="*/ 234 w 480"/>
                <a:gd name="T17" fmla="*/ 311 h 322"/>
                <a:gd name="T18" fmla="*/ 227 w 480"/>
                <a:gd name="T19" fmla="*/ 307 h 322"/>
                <a:gd name="T20" fmla="*/ 224 w 480"/>
                <a:gd name="T21" fmla="*/ 302 h 322"/>
                <a:gd name="T22" fmla="*/ 223 w 480"/>
                <a:gd name="T23" fmla="*/ 299 h 322"/>
                <a:gd name="T24" fmla="*/ 223 w 480"/>
                <a:gd name="T25" fmla="*/ 296 h 322"/>
                <a:gd name="T26" fmla="*/ 223 w 480"/>
                <a:gd name="T27" fmla="*/ 296 h 322"/>
                <a:gd name="T28" fmla="*/ 223 w 480"/>
                <a:gd name="T29" fmla="*/ 293 h 322"/>
                <a:gd name="T30" fmla="*/ 224 w 480"/>
                <a:gd name="T31" fmla="*/ 289 h 322"/>
                <a:gd name="T32" fmla="*/ 227 w 480"/>
                <a:gd name="T33" fmla="*/ 284 h 322"/>
                <a:gd name="T34" fmla="*/ 234 w 480"/>
                <a:gd name="T35" fmla="*/ 280 h 322"/>
                <a:gd name="T36" fmla="*/ 237 w 480"/>
                <a:gd name="T37" fmla="*/ 279 h 322"/>
                <a:gd name="T38" fmla="*/ 240 w 480"/>
                <a:gd name="T39" fmla="*/ 279 h 322"/>
                <a:gd name="T40" fmla="*/ 240 w 480"/>
                <a:gd name="T41" fmla="*/ 279 h 322"/>
                <a:gd name="T42" fmla="*/ 243 w 480"/>
                <a:gd name="T43" fmla="*/ 279 h 322"/>
                <a:gd name="T44" fmla="*/ 246 w 480"/>
                <a:gd name="T45" fmla="*/ 280 h 322"/>
                <a:gd name="T46" fmla="*/ 252 w 480"/>
                <a:gd name="T47" fmla="*/ 284 h 322"/>
                <a:gd name="T48" fmla="*/ 256 w 480"/>
                <a:gd name="T49" fmla="*/ 289 h 322"/>
                <a:gd name="T50" fmla="*/ 256 w 480"/>
                <a:gd name="T51" fmla="*/ 293 h 322"/>
                <a:gd name="T52" fmla="*/ 257 w 480"/>
                <a:gd name="T53" fmla="*/ 296 h 322"/>
                <a:gd name="T54" fmla="*/ 257 w 480"/>
                <a:gd name="T55" fmla="*/ 296 h 322"/>
                <a:gd name="T56" fmla="*/ 256 w 480"/>
                <a:gd name="T57" fmla="*/ 299 h 322"/>
                <a:gd name="T58" fmla="*/ 256 w 480"/>
                <a:gd name="T59" fmla="*/ 302 h 322"/>
                <a:gd name="T60" fmla="*/ 252 w 480"/>
                <a:gd name="T61" fmla="*/ 307 h 322"/>
                <a:gd name="T62" fmla="*/ 246 w 480"/>
                <a:gd name="T63" fmla="*/ 311 h 322"/>
                <a:gd name="T64" fmla="*/ 243 w 480"/>
                <a:gd name="T65" fmla="*/ 312 h 322"/>
                <a:gd name="T66" fmla="*/ 240 w 480"/>
                <a:gd name="T67" fmla="*/ 312 h 322"/>
                <a:gd name="T68" fmla="*/ 240 w 480"/>
                <a:gd name="T69" fmla="*/ 312 h 322"/>
                <a:gd name="T70" fmla="*/ 429 w 480"/>
                <a:gd name="T71" fmla="*/ 272 h 322"/>
                <a:gd name="T72" fmla="*/ 51 w 480"/>
                <a:gd name="T73" fmla="*/ 272 h 322"/>
                <a:gd name="T74" fmla="*/ 51 w 480"/>
                <a:gd name="T75" fmla="*/ 50 h 322"/>
                <a:gd name="T76" fmla="*/ 429 w 480"/>
                <a:gd name="T77" fmla="*/ 50 h 322"/>
                <a:gd name="T78" fmla="*/ 429 w 480"/>
                <a:gd name="T79" fmla="*/ 27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322">
                  <a:moveTo>
                    <a:pt x="0" y="0"/>
                  </a:moveTo>
                  <a:lnTo>
                    <a:pt x="0" y="322"/>
                  </a:lnTo>
                  <a:lnTo>
                    <a:pt x="480" y="322"/>
                  </a:lnTo>
                  <a:lnTo>
                    <a:pt x="480" y="0"/>
                  </a:lnTo>
                  <a:lnTo>
                    <a:pt x="0" y="0"/>
                  </a:lnTo>
                  <a:close/>
                  <a:moveTo>
                    <a:pt x="240" y="312"/>
                  </a:moveTo>
                  <a:lnTo>
                    <a:pt x="240" y="312"/>
                  </a:lnTo>
                  <a:lnTo>
                    <a:pt x="237" y="312"/>
                  </a:lnTo>
                  <a:lnTo>
                    <a:pt x="234" y="311"/>
                  </a:lnTo>
                  <a:lnTo>
                    <a:pt x="227" y="307"/>
                  </a:lnTo>
                  <a:lnTo>
                    <a:pt x="224" y="302"/>
                  </a:lnTo>
                  <a:lnTo>
                    <a:pt x="223" y="299"/>
                  </a:lnTo>
                  <a:lnTo>
                    <a:pt x="223" y="296"/>
                  </a:lnTo>
                  <a:lnTo>
                    <a:pt x="223" y="296"/>
                  </a:lnTo>
                  <a:lnTo>
                    <a:pt x="223" y="293"/>
                  </a:lnTo>
                  <a:lnTo>
                    <a:pt x="224" y="289"/>
                  </a:lnTo>
                  <a:lnTo>
                    <a:pt x="227" y="284"/>
                  </a:lnTo>
                  <a:lnTo>
                    <a:pt x="234" y="280"/>
                  </a:lnTo>
                  <a:lnTo>
                    <a:pt x="237" y="279"/>
                  </a:lnTo>
                  <a:lnTo>
                    <a:pt x="240" y="279"/>
                  </a:lnTo>
                  <a:lnTo>
                    <a:pt x="240" y="279"/>
                  </a:lnTo>
                  <a:lnTo>
                    <a:pt x="243" y="279"/>
                  </a:lnTo>
                  <a:lnTo>
                    <a:pt x="246" y="280"/>
                  </a:lnTo>
                  <a:lnTo>
                    <a:pt x="252" y="284"/>
                  </a:lnTo>
                  <a:lnTo>
                    <a:pt x="256" y="289"/>
                  </a:lnTo>
                  <a:lnTo>
                    <a:pt x="256" y="293"/>
                  </a:lnTo>
                  <a:lnTo>
                    <a:pt x="257" y="296"/>
                  </a:lnTo>
                  <a:lnTo>
                    <a:pt x="257" y="296"/>
                  </a:lnTo>
                  <a:lnTo>
                    <a:pt x="256" y="299"/>
                  </a:lnTo>
                  <a:lnTo>
                    <a:pt x="256" y="302"/>
                  </a:lnTo>
                  <a:lnTo>
                    <a:pt x="252" y="307"/>
                  </a:lnTo>
                  <a:lnTo>
                    <a:pt x="246" y="311"/>
                  </a:lnTo>
                  <a:lnTo>
                    <a:pt x="243" y="312"/>
                  </a:lnTo>
                  <a:lnTo>
                    <a:pt x="240" y="312"/>
                  </a:lnTo>
                  <a:lnTo>
                    <a:pt x="240" y="312"/>
                  </a:lnTo>
                  <a:close/>
                  <a:moveTo>
                    <a:pt x="429" y="272"/>
                  </a:moveTo>
                  <a:lnTo>
                    <a:pt x="51" y="272"/>
                  </a:lnTo>
                  <a:lnTo>
                    <a:pt x="51" y="50"/>
                  </a:lnTo>
                  <a:lnTo>
                    <a:pt x="429" y="50"/>
                  </a:lnTo>
                  <a:lnTo>
                    <a:pt x="429"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Rectangle 7">
              <a:extLst>
                <a:ext uri="{FF2B5EF4-FFF2-40B4-BE49-F238E27FC236}">
                  <a16:creationId xmlns:a16="http://schemas.microsoft.com/office/drawing/2014/main" id="{723F8E7B-6A08-CB31-438E-41BEC056DE70}"/>
                </a:ext>
              </a:extLst>
            </p:cNvPr>
            <p:cNvSpPr>
              <a:spLocks noChangeArrowheads="1"/>
            </p:cNvSpPr>
            <p:nvPr/>
          </p:nvSpPr>
          <p:spPr bwMode="auto">
            <a:xfrm>
              <a:off x="3669" y="2310"/>
              <a:ext cx="34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9" name="Group 4">
            <a:extLst>
              <a:ext uri="{FF2B5EF4-FFF2-40B4-BE49-F238E27FC236}">
                <a16:creationId xmlns:a16="http://schemas.microsoft.com/office/drawing/2014/main" id="{B3D17F88-EB39-7DB5-DA8B-C7A11C026E9E}"/>
              </a:ext>
            </a:extLst>
          </p:cNvPr>
          <p:cNvGrpSpPr>
            <a:grpSpLocks noChangeAspect="1"/>
          </p:cNvGrpSpPr>
          <p:nvPr/>
        </p:nvGrpSpPr>
        <p:grpSpPr bwMode="auto">
          <a:xfrm>
            <a:off x="1037252" y="3473238"/>
            <a:ext cx="179438" cy="531211"/>
            <a:chOff x="3601" y="1450"/>
            <a:chExt cx="480" cy="1421"/>
          </a:xfrm>
          <a:solidFill>
            <a:schemeClr val="accent1"/>
          </a:solidFill>
        </p:grpSpPr>
        <p:sp>
          <p:nvSpPr>
            <p:cNvPr id="40" name="Freeform 5">
              <a:extLst>
                <a:ext uri="{FF2B5EF4-FFF2-40B4-BE49-F238E27FC236}">
                  <a16:creationId xmlns:a16="http://schemas.microsoft.com/office/drawing/2014/main" id="{4121E862-16C7-B181-A6FF-396ABDB341E6}"/>
                </a:ext>
              </a:extLst>
            </p:cNvPr>
            <p:cNvSpPr>
              <a:spLocks/>
            </p:cNvSpPr>
            <p:nvPr/>
          </p:nvSpPr>
          <p:spPr bwMode="auto">
            <a:xfrm>
              <a:off x="3710" y="1450"/>
              <a:ext cx="262" cy="263"/>
            </a:xfrm>
            <a:custGeom>
              <a:avLst/>
              <a:gdLst>
                <a:gd name="T0" fmla="*/ 131 w 262"/>
                <a:gd name="T1" fmla="*/ 263 h 263"/>
                <a:gd name="T2" fmla="*/ 131 w 262"/>
                <a:gd name="T3" fmla="*/ 263 h 263"/>
                <a:gd name="T4" fmla="*/ 156 w 262"/>
                <a:gd name="T5" fmla="*/ 260 h 263"/>
                <a:gd name="T6" fmla="*/ 181 w 262"/>
                <a:gd name="T7" fmla="*/ 254 h 263"/>
                <a:gd name="T8" fmla="*/ 203 w 262"/>
                <a:gd name="T9" fmla="*/ 241 h 263"/>
                <a:gd name="T10" fmla="*/ 221 w 262"/>
                <a:gd name="T11" fmla="*/ 225 h 263"/>
                <a:gd name="T12" fmla="*/ 240 w 262"/>
                <a:gd name="T13" fmla="*/ 203 h 263"/>
                <a:gd name="T14" fmla="*/ 249 w 262"/>
                <a:gd name="T15" fmla="*/ 182 h 263"/>
                <a:gd name="T16" fmla="*/ 259 w 262"/>
                <a:gd name="T17" fmla="*/ 156 h 263"/>
                <a:gd name="T18" fmla="*/ 262 w 262"/>
                <a:gd name="T19" fmla="*/ 131 h 263"/>
                <a:gd name="T20" fmla="*/ 262 w 262"/>
                <a:gd name="T21" fmla="*/ 131 h 263"/>
                <a:gd name="T22" fmla="*/ 259 w 262"/>
                <a:gd name="T23" fmla="*/ 106 h 263"/>
                <a:gd name="T24" fmla="*/ 249 w 262"/>
                <a:gd name="T25" fmla="*/ 81 h 263"/>
                <a:gd name="T26" fmla="*/ 240 w 262"/>
                <a:gd name="T27" fmla="*/ 59 h 263"/>
                <a:gd name="T28" fmla="*/ 221 w 262"/>
                <a:gd name="T29" fmla="*/ 38 h 263"/>
                <a:gd name="T30" fmla="*/ 203 w 262"/>
                <a:gd name="T31" fmla="*/ 22 h 263"/>
                <a:gd name="T32" fmla="*/ 181 w 262"/>
                <a:gd name="T33" fmla="*/ 9 h 263"/>
                <a:gd name="T34" fmla="*/ 156 w 262"/>
                <a:gd name="T35" fmla="*/ 3 h 263"/>
                <a:gd name="T36" fmla="*/ 131 w 262"/>
                <a:gd name="T37" fmla="*/ 0 h 263"/>
                <a:gd name="T38" fmla="*/ 131 w 262"/>
                <a:gd name="T39" fmla="*/ 0 h 263"/>
                <a:gd name="T40" fmla="*/ 103 w 262"/>
                <a:gd name="T41" fmla="*/ 3 h 263"/>
                <a:gd name="T42" fmla="*/ 78 w 262"/>
                <a:gd name="T43" fmla="*/ 9 h 263"/>
                <a:gd name="T44" fmla="*/ 56 w 262"/>
                <a:gd name="T45" fmla="*/ 22 h 263"/>
                <a:gd name="T46" fmla="*/ 37 w 262"/>
                <a:gd name="T47" fmla="*/ 38 h 263"/>
                <a:gd name="T48" fmla="*/ 22 w 262"/>
                <a:gd name="T49" fmla="*/ 59 h 263"/>
                <a:gd name="T50" fmla="*/ 9 w 262"/>
                <a:gd name="T51" fmla="*/ 81 h 263"/>
                <a:gd name="T52" fmla="*/ 3 w 262"/>
                <a:gd name="T53" fmla="*/ 106 h 263"/>
                <a:gd name="T54" fmla="*/ 0 w 262"/>
                <a:gd name="T55" fmla="*/ 131 h 263"/>
                <a:gd name="T56" fmla="*/ 0 w 262"/>
                <a:gd name="T57" fmla="*/ 131 h 263"/>
                <a:gd name="T58" fmla="*/ 3 w 262"/>
                <a:gd name="T59" fmla="*/ 156 h 263"/>
                <a:gd name="T60" fmla="*/ 9 w 262"/>
                <a:gd name="T61" fmla="*/ 182 h 263"/>
                <a:gd name="T62" fmla="*/ 22 w 262"/>
                <a:gd name="T63" fmla="*/ 203 h 263"/>
                <a:gd name="T64" fmla="*/ 37 w 262"/>
                <a:gd name="T65" fmla="*/ 225 h 263"/>
                <a:gd name="T66" fmla="*/ 56 w 262"/>
                <a:gd name="T67" fmla="*/ 241 h 263"/>
                <a:gd name="T68" fmla="*/ 78 w 262"/>
                <a:gd name="T69" fmla="*/ 254 h 263"/>
                <a:gd name="T70" fmla="*/ 103 w 262"/>
                <a:gd name="T71" fmla="*/ 260 h 263"/>
                <a:gd name="T72" fmla="*/ 131 w 262"/>
                <a:gd name="T73" fmla="*/ 263 h 263"/>
                <a:gd name="T74" fmla="*/ 131 w 262"/>
                <a:gd name="T75"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2" h="263">
                  <a:moveTo>
                    <a:pt x="131" y="263"/>
                  </a:moveTo>
                  <a:lnTo>
                    <a:pt x="131" y="263"/>
                  </a:lnTo>
                  <a:lnTo>
                    <a:pt x="156" y="260"/>
                  </a:lnTo>
                  <a:lnTo>
                    <a:pt x="181" y="254"/>
                  </a:lnTo>
                  <a:lnTo>
                    <a:pt x="203" y="241"/>
                  </a:lnTo>
                  <a:lnTo>
                    <a:pt x="221" y="225"/>
                  </a:lnTo>
                  <a:lnTo>
                    <a:pt x="240" y="203"/>
                  </a:lnTo>
                  <a:lnTo>
                    <a:pt x="249" y="182"/>
                  </a:lnTo>
                  <a:lnTo>
                    <a:pt x="259" y="156"/>
                  </a:lnTo>
                  <a:lnTo>
                    <a:pt x="262" y="131"/>
                  </a:lnTo>
                  <a:lnTo>
                    <a:pt x="262" y="131"/>
                  </a:lnTo>
                  <a:lnTo>
                    <a:pt x="259" y="106"/>
                  </a:lnTo>
                  <a:lnTo>
                    <a:pt x="249" y="81"/>
                  </a:lnTo>
                  <a:lnTo>
                    <a:pt x="240" y="59"/>
                  </a:lnTo>
                  <a:lnTo>
                    <a:pt x="221" y="38"/>
                  </a:lnTo>
                  <a:lnTo>
                    <a:pt x="203" y="22"/>
                  </a:lnTo>
                  <a:lnTo>
                    <a:pt x="181" y="9"/>
                  </a:lnTo>
                  <a:lnTo>
                    <a:pt x="156" y="3"/>
                  </a:lnTo>
                  <a:lnTo>
                    <a:pt x="131" y="0"/>
                  </a:lnTo>
                  <a:lnTo>
                    <a:pt x="131" y="0"/>
                  </a:lnTo>
                  <a:lnTo>
                    <a:pt x="103" y="3"/>
                  </a:lnTo>
                  <a:lnTo>
                    <a:pt x="78" y="9"/>
                  </a:lnTo>
                  <a:lnTo>
                    <a:pt x="56" y="22"/>
                  </a:lnTo>
                  <a:lnTo>
                    <a:pt x="37" y="38"/>
                  </a:lnTo>
                  <a:lnTo>
                    <a:pt x="22" y="59"/>
                  </a:lnTo>
                  <a:lnTo>
                    <a:pt x="9" y="81"/>
                  </a:lnTo>
                  <a:lnTo>
                    <a:pt x="3" y="106"/>
                  </a:lnTo>
                  <a:lnTo>
                    <a:pt x="0" y="131"/>
                  </a:lnTo>
                  <a:lnTo>
                    <a:pt x="0" y="131"/>
                  </a:lnTo>
                  <a:lnTo>
                    <a:pt x="3" y="156"/>
                  </a:lnTo>
                  <a:lnTo>
                    <a:pt x="9" y="182"/>
                  </a:lnTo>
                  <a:lnTo>
                    <a:pt x="22" y="203"/>
                  </a:lnTo>
                  <a:lnTo>
                    <a:pt x="37" y="225"/>
                  </a:lnTo>
                  <a:lnTo>
                    <a:pt x="56" y="241"/>
                  </a:lnTo>
                  <a:lnTo>
                    <a:pt x="78" y="254"/>
                  </a:lnTo>
                  <a:lnTo>
                    <a:pt x="103" y="260"/>
                  </a:lnTo>
                  <a:lnTo>
                    <a:pt x="131" y="263"/>
                  </a:lnTo>
                  <a:lnTo>
                    <a:pt x="131"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6">
              <a:extLst>
                <a:ext uri="{FF2B5EF4-FFF2-40B4-BE49-F238E27FC236}">
                  <a16:creationId xmlns:a16="http://schemas.microsoft.com/office/drawing/2014/main" id="{84AEBFB4-73DE-0426-A894-462A604F77EC}"/>
                </a:ext>
              </a:extLst>
            </p:cNvPr>
            <p:cNvSpPr>
              <a:spLocks/>
            </p:cNvSpPr>
            <p:nvPr/>
          </p:nvSpPr>
          <p:spPr bwMode="auto">
            <a:xfrm>
              <a:off x="3691" y="1732"/>
              <a:ext cx="300" cy="1139"/>
            </a:xfrm>
            <a:custGeom>
              <a:avLst/>
              <a:gdLst>
                <a:gd name="T0" fmla="*/ 150 w 300"/>
                <a:gd name="T1" fmla="*/ 112 h 1139"/>
                <a:gd name="T2" fmla="*/ 75 w 300"/>
                <a:gd name="T3" fmla="*/ 0 h 1139"/>
                <a:gd name="T4" fmla="*/ 0 w 300"/>
                <a:gd name="T5" fmla="*/ 0 h 1139"/>
                <a:gd name="T6" fmla="*/ 32 w 300"/>
                <a:gd name="T7" fmla="*/ 532 h 1139"/>
                <a:gd name="T8" fmla="*/ 32 w 300"/>
                <a:gd name="T9" fmla="*/ 532 h 1139"/>
                <a:gd name="T10" fmla="*/ 32 w 300"/>
                <a:gd name="T11" fmla="*/ 1089 h 1139"/>
                <a:gd name="T12" fmla="*/ 32 w 300"/>
                <a:gd name="T13" fmla="*/ 1089 h 1139"/>
                <a:gd name="T14" fmla="*/ 32 w 300"/>
                <a:gd name="T15" fmla="*/ 1098 h 1139"/>
                <a:gd name="T16" fmla="*/ 35 w 300"/>
                <a:gd name="T17" fmla="*/ 1108 h 1139"/>
                <a:gd name="T18" fmla="*/ 44 w 300"/>
                <a:gd name="T19" fmla="*/ 1123 h 1139"/>
                <a:gd name="T20" fmla="*/ 63 w 300"/>
                <a:gd name="T21" fmla="*/ 1133 h 1139"/>
                <a:gd name="T22" fmla="*/ 72 w 300"/>
                <a:gd name="T23" fmla="*/ 1136 h 1139"/>
                <a:gd name="T24" fmla="*/ 81 w 300"/>
                <a:gd name="T25" fmla="*/ 1139 h 1139"/>
                <a:gd name="T26" fmla="*/ 81 w 300"/>
                <a:gd name="T27" fmla="*/ 1139 h 1139"/>
                <a:gd name="T28" fmla="*/ 91 w 300"/>
                <a:gd name="T29" fmla="*/ 1136 h 1139"/>
                <a:gd name="T30" fmla="*/ 100 w 300"/>
                <a:gd name="T31" fmla="*/ 1133 h 1139"/>
                <a:gd name="T32" fmla="*/ 116 w 300"/>
                <a:gd name="T33" fmla="*/ 1123 h 1139"/>
                <a:gd name="T34" fmla="*/ 128 w 300"/>
                <a:gd name="T35" fmla="*/ 1108 h 1139"/>
                <a:gd name="T36" fmla="*/ 128 w 300"/>
                <a:gd name="T37" fmla="*/ 1098 h 1139"/>
                <a:gd name="T38" fmla="*/ 131 w 300"/>
                <a:gd name="T39" fmla="*/ 1089 h 1139"/>
                <a:gd name="T40" fmla="*/ 131 w 300"/>
                <a:gd name="T41" fmla="*/ 532 h 1139"/>
                <a:gd name="T42" fmla="*/ 169 w 300"/>
                <a:gd name="T43" fmla="*/ 532 h 1139"/>
                <a:gd name="T44" fmla="*/ 169 w 300"/>
                <a:gd name="T45" fmla="*/ 1089 h 1139"/>
                <a:gd name="T46" fmla="*/ 169 w 300"/>
                <a:gd name="T47" fmla="*/ 1089 h 1139"/>
                <a:gd name="T48" fmla="*/ 169 w 300"/>
                <a:gd name="T49" fmla="*/ 1098 h 1139"/>
                <a:gd name="T50" fmla="*/ 172 w 300"/>
                <a:gd name="T51" fmla="*/ 1108 h 1139"/>
                <a:gd name="T52" fmla="*/ 181 w 300"/>
                <a:gd name="T53" fmla="*/ 1123 h 1139"/>
                <a:gd name="T54" fmla="*/ 200 w 300"/>
                <a:gd name="T55" fmla="*/ 1133 h 1139"/>
                <a:gd name="T56" fmla="*/ 209 w 300"/>
                <a:gd name="T57" fmla="*/ 1136 h 1139"/>
                <a:gd name="T58" fmla="*/ 219 w 300"/>
                <a:gd name="T59" fmla="*/ 1139 h 1139"/>
                <a:gd name="T60" fmla="*/ 219 w 300"/>
                <a:gd name="T61" fmla="*/ 1139 h 1139"/>
                <a:gd name="T62" fmla="*/ 228 w 300"/>
                <a:gd name="T63" fmla="*/ 1136 h 1139"/>
                <a:gd name="T64" fmla="*/ 237 w 300"/>
                <a:gd name="T65" fmla="*/ 1133 h 1139"/>
                <a:gd name="T66" fmla="*/ 253 w 300"/>
                <a:gd name="T67" fmla="*/ 1123 h 1139"/>
                <a:gd name="T68" fmla="*/ 265 w 300"/>
                <a:gd name="T69" fmla="*/ 1108 h 1139"/>
                <a:gd name="T70" fmla="*/ 265 w 300"/>
                <a:gd name="T71" fmla="*/ 1098 h 1139"/>
                <a:gd name="T72" fmla="*/ 268 w 300"/>
                <a:gd name="T73" fmla="*/ 1089 h 1139"/>
                <a:gd name="T74" fmla="*/ 268 w 300"/>
                <a:gd name="T75" fmla="*/ 532 h 1139"/>
                <a:gd name="T76" fmla="*/ 268 w 300"/>
                <a:gd name="T77" fmla="*/ 532 h 1139"/>
                <a:gd name="T78" fmla="*/ 300 w 300"/>
                <a:gd name="T79" fmla="*/ 0 h 1139"/>
                <a:gd name="T80" fmla="*/ 225 w 300"/>
                <a:gd name="T81" fmla="*/ 0 h 1139"/>
                <a:gd name="T82" fmla="*/ 150 w 300"/>
                <a:gd name="T83" fmla="*/ 112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0" h="1139">
                  <a:moveTo>
                    <a:pt x="150" y="112"/>
                  </a:moveTo>
                  <a:lnTo>
                    <a:pt x="75" y="0"/>
                  </a:lnTo>
                  <a:lnTo>
                    <a:pt x="0" y="0"/>
                  </a:lnTo>
                  <a:lnTo>
                    <a:pt x="32" y="532"/>
                  </a:lnTo>
                  <a:lnTo>
                    <a:pt x="32" y="532"/>
                  </a:lnTo>
                  <a:lnTo>
                    <a:pt x="32" y="1089"/>
                  </a:lnTo>
                  <a:lnTo>
                    <a:pt x="32" y="1089"/>
                  </a:lnTo>
                  <a:lnTo>
                    <a:pt x="32" y="1098"/>
                  </a:lnTo>
                  <a:lnTo>
                    <a:pt x="35" y="1108"/>
                  </a:lnTo>
                  <a:lnTo>
                    <a:pt x="44" y="1123"/>
                  </a:lnTo>
                  <a:lnTo>
                    <a:pt x="63" y="1133"/>
                  </a:lnTo>
                  <a:lnTo>
                    <a:pt x="72" y="1136"/>
                  </a:lnTo>
                  <a:lnTo>
                    <a:pt x="81" y="1139"/>
                  </a:lnTo>
                  <a:lnTo>
                    <a:pt x="81" y="1139"/>
                  </a:lnTo>
                  <a:lnTo>
                    <a:pt x="91" y="1136"/>
                  </a:lnTo>
                  <a:lnTo>
                    <a:pt x="100" y="1133"/>
                  </a:lnTo>
                  <a:lnTo>
                    <a:pt x="116" y="1123"/>
                  </a:lnTo>
                  <a:lnTo>
                    <a:pt x="128" y="1108"/>
                  </a:lnTo>
                  <a:lnTo>
                    <a:pt x="128" y="1098"/>
                  </a:lnTo>
                  <a:lnTo>
                    <a:pt x="131" y="1089"/>
                  </a:lnTo>
                  <a:lnTo>
                    <a:pt x="131" y="532"/>
                  </a:lnTo>
                  <a:lnTo>
                    <a:pt x="169" y="532"/>
                  </a:lnTo>
                  <a:lnTo>
                    <a:pt x="169" y="1089"/>
                  </a:lnTo>
                  <a:lnTo>
                    <a:pt x="169" y="1089"/>
                  </a:lnTo>
                  <a:lnTo>
                    <a:pt x="169" y="1098"/>
                  </a:lnTo>
                  <a:lnTo>
                    <a:pt x="172" y="1108"/>
                  </a:lnTo>
                  <a:lnTo>
                    <a:pt x="181" y="1123"/>
                  </a:lnTo>
                  <a:lnTo>
                    <a:pt x="200" y="1133"/>
                  </a:lnTo>
                  <a:lnTo>
                    <a:pt x="209" y="1136"/>
                  </a:lnTo>
                  <a:lnTo>
                    <a:pt x="219" y="1139"/>
                  </a:lnTo>
                  <a:lnTo>
                    <a:pt x="219" y="1139"/>
                  </a:lnTo>
                  <a:lnTo>
                    <a:pt x="228" y="1136"/>
                  </a:lnTo>
                  <a:lnTo>
                    <a:pt x="237" y="1133"/>
                  </a:lnTo>
                  <a:lnTo>
                    <a:pt x="253" y="1123"/>
                  </a:lnTo>
                  <a:lnTo>
                    <a:pt x="265" y="1108"/>
                  </a:lnTo>
                  <a:lnTo>
                    <a:pt x="265" y="1098"/>
                  </a:lnTo>
                  <a:lnTo>
                    <a:pt x="268" y="1089"/>
                  </a:lnTo>
                  <a:lnTo>
                    <a:pt x="268" y="532"/>
                  </a:lnTo>
                  <a:lnTo>
                    <a:pt x="268" y="532"/>
                  </a:lnTo>
                  <a:lnTo>
                    <a:pt x="300" y="0"/>
                  </a:lnTo>
                  <a:lnTo>
                    <a:pt x="225" y="0"/>
                  </a:lnTo>
                  <a:lnTo>
                    <a:pt x="15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7">
              <a:extLst>
                <a:ext uri="{FF2B5EF4-FFF2-40B4-BE49-F238E27FC236}">
                  <a16:creationId xmlns:a16="http://schemas.microsoft.com/office/drawing/2014/main" id="{04F5015A-CCF8-94A3-C7DC-8A4DFCDE3A20}"/>
                </a:ext>
              </a:extLst>
            </p:cNvPr>
            <p:cNvSpPr>
              <a:spLocks/>
            </p:cNvSpPr>
            <p:nvPr/>
          </p:nvSpPr>
          <p:spPr bwMode="auto">
            <a:xfrm>
              <a:off x="3601" y="1732"/>
              <a:ext cx="84" cy="563"/>
            </a:xfrm>
            <a:custGeom>
              <a:avLst/>
              <a:gdLst>
                <a:gd name="T0" fmla="*/ 0 w 84"/>
                <a:gd name="T1" fmla="*/ 0 h 563"/>
                <a:gd name="T2" fmla="*/ 22 w 84"/>
                <a:gd name="T3" fmla="*/ 532 h 563"/>
                <a:gd name="T4" fmla="*/ 22 w 84"/>
                <a:gd name="T5" fmla="*/ 532 h 563"/>
                <a:gd name="T6" fmla="*/ 25 w 84"/>
                <a:gd name="T7" fmla="*/ 544 h 563"/>
                <a:gd name="T8" fmla="*/ 31 w 84"/>
                <a:gd name="T9" fmla="*/ 554 h 563"/>
                <a:gd name="T10" fmla="*/ 41 w 84"/>
                <a:gd name="T11" fmla="*/ 563 h 563"/>
                <a:gd name="T12" fmla="*/ 53 w 84"/>
                <a:gd name="T13" fmla="*/ 563 h 563"/>
                <a:gd name="T14" fmla="*/ 53 w 84"/>
                <a:gd name="T15" fmla="*/ 563 h 563"/>
                <a:gd name="T16" fmla="*/ 65 w 84"/>
                <a:gd name="T17" fmla="*/ 563 h 563"/>
                <a:gd name="T18" fmla="*/ 75 w 84"/>
                <a:gd name="T19" fmla="*/ 554 h 563"/>
                <a:gd name="T20" fmla="*/ 81 w 84"/>
                <a:gd name="T21" fmla="*/ 544 h 563"/>
                <a:gd name="T22" fmla="*/ 84 w 84"/>
                <a:gd name="T23" fmla="*/ 532 h 563"/>
                <a:gd name="T24" fmla="*/ 53 w 84"/>
                <a:gd name="T25" fmla="*/ 0 h 563"/>
                <a:gd name="T26" fmla="*/ 0 w 84"/>
                <a:gd name="T27"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563">
                  <a:moveTo>
                    <a:pt x="0" y="0"/>
                  </a:moveTo>
                  <a:lnTo>
                    <a:pt x="22" y="532"/>
                  </a:lnTo>
                  <a:lnTo>
                    <a:pt x="22" y="532"/>
                  </a:lnTo>
                  <a:lnTo>
                    <a:pt x="25" y="544"/>
                  </a:lnTo>
                  <a:lnTo>
                    <a:pt x="31" y="554"/>
                  </a:lnTo>
                  <a:lnTo>
                    <a:pt x="41" y="563"/>
                  </a:lnTo>
                  <a:lnTo>
                    <a:pt x="53" y="563"/>
                  </a:lnTo>
                  <a:lnTo>
                    <a:pt x="53" y="563"/>
                  </a:lnTo>
                  <a:lnTo>
                    <a:pt x="65" y="563"/>
                  </a:lnTo>
                  <a:lnTo>
                    <a:pt x="75" y="554"/>
                  </a:lnTo>
                  <a:lnTo>
                    <a:pt x="81" y="544"/>
                  </a:lnTo>
                  <a:lnTo>
                    <a:pt x="84" y="532"/>
                  </a:lnTo>
                  <a:lnTo>
                    <a:pt x="5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8">
              <a:extLst>
                <a:ext uri="{FF2B5EF4-FFF2-40B4-BE49-F238E27FC236}">
                  <a16:creationId xmlns:a16="http://schemas.microsoft.com/office/drawing/2014/main" id="{C9E913EF-3C14-887F-8DB6-4CB1AF20F026}"/>
                </a:ext>
              </a:extLst>
            </p:cNvPr>
            <p:cNvSpPr>
              <a:spLocks/>
            </p:cNvSpPr>
            <p:nvPr/>
          </p:nvSpPr>
          <p:spPr bwMode="auto">
            <a:xfrm>
              <a:off x="3997" y="1732"/>
              <a:ext cx="84" cy="563"/>
            </a:xfrm>
            <a:custGeom>
              <a:avLst/>
              <a:gdLst>
                <a:gd name="T0" fmla="*/ 31 w 84"/>
                <a:gd name="T1" fmla="*/ 0 h 563"/>
                <a:gd name="T2" fmla="*/ 0 w 84"/>
                <a:gd name="T3" fmla="*/ 532 h 563"/>
                <a:gd name="T4" fmla="*/ 0 w 84"/>
                <a:gd name="T5" fmla="*/ 532 h 563"/>
                <a:gd name="T6" fmla="*/ 3 w 84"/>
                <a:gd name="T7" fmla="*/ 544 h 563"/>
                <a:gd name="T8" fmla="*/ 9 w 84"/>
                <a:gd name="T9" fmla="*/ 554 h 563"/>
                <a:gd name="T10" fmla="*/ 19 w 84"/>
                <a:gd name="T11" fmla="*/ 563 h 563"/>
                <a:gd name="T12" fmla="*/ 31 w 84"/>
                <a:gd name="T13" fmla="*/ 563 h 563"/>
                <a:gd name="T14" fmla="*/ 31 w 84"/>
                <a:gd name="T15" fmla="*/ 563 h 563"/>
                <a:gd name="T16" fmla="*/ 43 w 84"/>
                <a:gd name="T17" fmla="*/ 563 h 563"/>
                <a:gd name="T18" fmla="*/ 53 w 84"/>
                <a:gd name="T19" fmla="*/ 554 h 563"/>
                <a:gd name="T20" fmla="*/ 59 w 84"/>
                <a:gd name="T21" fmla="*/ 544 h 563"/>
                <a:gd name="T22" fmla="*/ 62 w 84"/>
                <a:gd name="T23" fmla="*/ 532 h 563"/>
                <a:gd name="T24" fmla="*/ 84 w 84"/>
                <a:gd name="T25" fmla="*/ 0 h 563"/>
                <a:gd name="T26" fmla="*/ 31 w 84"/>
                <a:gd name="T27"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563">
                  <a:moveTo>
                    <a:pt x="31" y="0"/>
                  </a:moveTo>
                  <a:lnTo>
                    <a:pt x="0" y="532"/>
                  </a:lnTo>
                  <a:lnTo>
                    <a:pt x="0" y="532"/>
                  </a:lnTo>
                  <a:lnTo>
                    <a:pt x="3" y="544"/>
                  </a:lnTo>
                  <a:lnTo>
                    <a:pt x="9" y="554"/>
                  </a:lnTo>
                  <a:lnTo>
                    <a:pt x="19" y="563"/>
                  </a:lnTo>
                  <a:lnTo>
                    <a:pt x="31" y="563"/>
                  </a:lnTo>
                  <a:lnTo>
                    <a:pt x="31" y="563"/>
                  </a:lnTo>
                  <a:lnTo>
                    <a:pt x="43" y="563"/>
                  </a:lnTo>
                  <a:lnTo>
                    <a:pt x="53" y="554"/>
                  </a:lnTo>
                  <a:lnTo>
                    <a:pt x="59" y="544"/>
                  </a:lnTo>
                  <a:lnTo>
                    <a:pt x="62" y="532"/>
                  </a:lnTo>
                  <a:lnTo>
                    <a:pt x="84" y="0"/>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4" name="Group 43">
            <a:extLst>
              <a:ext uri="{FF2B5EF4-FFF2-40B4-BE49-F238E27FC236}">
                <a16:creationId xmlns:a16="http://schemas.microsoft.com/office/drawing/2014/main" id="{BD7D4A92-D9FC-5B0C-4B3C-417B7D79CEAC}"/>
              </a:ext>
            </a:extLst>
          </p:cNvPr>
          <p:cNvGrpSpPr/>
          <p:nvPr/>
        </p:nvGrpSpPr>
        <p:grpSpPr>
          <a:xfrm>
            <a:off x="6696313" y="4215491"/>
            <a:ext cx="445963" cy="391200"/>
            <a:chOff x="5278438" y="2698750"/>
            <a:chExt cx="1635125" cy="1465263"/>
          </a:xfrm>
          <a:solidFill>
            <a:schemeClr val="accent3"/>
          </a:solidFill>
        </p:grpSpPr>
        <p:sp>
          <p:nvSpPr>
            <p:cNvPr id="45" name="Freeform 5">
              <a:extLst>
                <a:ext uri="{FF2B5EF4-FFF2-40B4-BE49-F238E27FC236}">
                  <a16:creationId xmlns:a16="http://schemas.microsoft.com/office/drawing/2014/main" id="{B1A29B1F-3753-280B-EE80-4BCDBBC09898}"/>
                </a:ext>
              </a:extLst>
            </p:cNvPr>
            <p:cNvSpPr>
              <a:spLocks noEditPoints="1"/>
            </p:cNvSpPr>
            <p:nvPr/>
          </p:nvSpPr>
          <p:spPr bwMode="auto">
            <a:xfrm>
              <a:off x="5278438" y="2698750"/>
              <a:ext cx="1635125" cy="1465263"/>
            </a:xfrm>
            <a:custGeom>
              <a:avLst/>
              <a:gdLst>
                <a:gd name="T0" fmla="*/ 514 w 1030"/>
                <a:gd name="T1" fmla="*/ 165 h 923"/>
                <a:gd name="T2" fmla="*/ 891 w 1030"/>
                <a:gd name="T3" fmla="*/ 842 h 923"/>
                <a:gd name="T4" fmla="*/ 136 w 1030"/>
                <a:gd name="T5" fmla="*/ 842 h 923"/>
                <a:gd name="T6" fmla="*/ 514 w 1030"/>
                <a:gd name="T7" fmla="*/ 165 h 923"/>
                <a:gd name="T8" fmla="*/ 514 w 1030"/>
                <a:gd name="T9" fmla="*/ 0 h 923"/>
                <a:gd name="T10" fmla="*/ 0 w 1030"/>
                <a:gd name="T11" fmla="*/ 923 h 923"/>
                <a:gd name="T12" fmla="*/ 1030 w 1030"/>
                <a:gd name="T13" fmla="*/ 923 h 923"/>
                <a:gd name="T14" fmla="*/ 514 w 1030"/>
                <a:gd name="T15" fmla="*/ 0 h 9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923">
                  <a:moveTo>
                    <a:pt x="514" y="165"/>
                  </a:moveTo>
                  <a:lnTo>
                    <a:pt x="891" y="842"/>
                  </a:lnTo>
                  <a:lnTo>
                    <a:pt x="136" y="842"/>
                  </a:lnTo>
                  <a:lnTo>
                    <a:pt x="514" y="165"/>
                  </a:lnTo>
                  <a:close/>
                  <a:moveTo>
                    <a:pt x="514" y="0"/>
                  </a:moveTo>
                  <a:lnTo>
                    <a:pt x="0" y="923"/>
                  </a:lnTo>
                  <a:lnTo>
                    <a:pt x="1030" y="923"/>
                  </a:lnTo>
                  <a:lnTo>
                    <a:pt x="5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6">
              <a:extLst>
                <a:ext uri="{FF2B5EF4-FFF2-40B4-BE49-F238E27FC236}">
                  <a16:creationId xmlns:a16="http://schemas.microsoft.com/office/drawing/2014/main" id="{C3DBB10B-3BD6-ACE5-7039-21F9FC38393E}"/>
                </a:ext>
              </a:extLst>
            </p:cNvPr>
            <p:cNvSpPr>
              <a:spLocks noEditPoints="1"/>
            </p:cNvSpPr>
            <p:nvPr/>
          </p:nvSpPr>
          <p:spPr bwMode="auto">
            <a:xfrm>
              <a:off x="6021388" y="3271838"/>
              <a:ext cx="144463" cy="668338"/>
            </a:xfrm>
            <a:custGeom>
              <a:avLst/>
              <a:gdLst>
                <a:gd name="T0" fmla="*/ 38 w 38"/>
                <a:gd name="T1" fmla="*/ 156 h 176"/>
                <a:gd name="T2" fmla="*/ 33 w 38"/>
                <a:gd name="T3" fmla="*/ 170 h 176"/>
                <a:gd name="T4" fmla="*/ 19 w 38"/>
                <a:gd name="T5" fmla="*/ 176 h 176"/>
                <a:gd name="T6" fmla="*/ 5 w 38"/>
                <a:gd name="T7" fmla="*/ 170 h 176"/>
                <a:gd name="T8" fmla="*/ 0 w 38"/>
                <a:gd name="T9" fmla="*/ 156 h 176"/>
                <a:gd name="T10" fmla="*/ 5 w 38"/>
                <a:gd name="T11" fmla="*/ 143 h 176"/>
                <a:gd name="T12" fmla="*/ 19 w 38"/>
                <a:gd name="T13" fmla="*/ 137 h 176"/>
                <a:gd name="T14" fmla="*/ 33 w 38"/>
                <a:gd name="T15" fmla="*/ 143 h 176"/>
                <a:gd name="T16" fmla="*/ 38 w 38"/>
                <a:gd name="T17" fmla="*/ 156 h 176"/>
                <a:gd name="T18" fmla="*/ 31 w 38"/>
                <a:gd name="T19" fmla="*/ 123 h 176"/>
                <a:gd name="T20" fmla="*/ 7 w 38"/>
                <a:gd name="T21" fmla="*/ 123 h 176"/>
                <a:gd name="T22" fmla="*/ 2 w 38"/>
                <a:gd name="T23" fmla="*/ 0 h 176"/>
                <a:gd name="T24" fmla="*/ 36 w 38"/>
                <a:gd name="T25" fmla="*/ 0 h 176"/>
                <a:gd name="T26" fmla="*/ 31 w 38"/>
                <a:gd name="T27" fmla="*/ 12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176">
                  <a:moveTo>
                    <a:pt x="38" y="156"/>
                  </a:moveTo>
                  <a:cubicBezTo>
                    <a:pt x="38" y="162"/>
                    <a:pt x="37" y="167"/>
                    <a:pt x="33" y="170"/>
                  </a:cubicBezTo>
                  <a:cubicBezTo>
                    <a:pt x="29" y="174"/>
                    <a:pt x="25" y="176"/>
                    <a:pt x="19" y="176"/>
                  </a:cubicBezTo>
                  <a:cubicBezTo>
                    <a:pt x="14" y="176"/>
                    <a:pt x="9" y="174"/>
                    <a:pt x="5" y="170"/>
                  </a:cubicBezTo>
                  <a:cubicBezTo>
                    <a:pt x="2" y="167"/>
                    <a:pt x="0" y="162"/>
                    <a:pt x="0" y="156"/>
                  </a:cubicBezTo>
                  <a:cubicBezTo>
                    <a:pt x="0" y="151"/>
                    <a:pt x="2" y="146"/>
                    <a:pt x="5" y="143"/>
                  </a:cubicBezTo>
                  <a:cubicBezTo>
                    <a:pt x="9" y="139"/>
                    <a:pt x="14" y="137"/>
                    <a:pt x="19" y="137"/>
                  </a:cubicBezTo>
                  <a:cubicBezTo>
                    <a:pt x="25" y="137"/>
                    <a:pt x="29" y="139"/>
                    <a:pt x="33" y="143"/>
                  </a:cubicBezTo>
                  <a:cubicBezTo>
                    <a:pt x="37" y="146"/>
                    <a:pt x="38" y="151"/>
                    <a:pt x="38" y="156"/>
                  </a:cubicBezTo>
                  <a:moveTo>
                    <a:pt x="31" y="123"/>
                  </a:moveTo>
                  <a:cubicBezTo>
                    <a:pt x="7" y="123"/>
                    <a:pt x="7" y="123"/>
                    <a:pt x="7" y="123"/>
                  </a:cubicBezTo>
                  <a:cubicBezTo>
                    <a:pt x="2" y="0"/>
                    <a:pt x="2" y="0"/>
                    <a:pt x="2" y="0"/>
                  </a:cubicBezTo>
                  <a:cubicBezTo>
                    <a:pt x="36" y="0"/>
                    <a:pt x="36" y="0"/>
                    <a:pt x="36" y="0"/>
                  </a:cubicBezTo>
                  <a:lnTo>
                    <a:pt x="31"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7" name="Group 46">
            <a:extLst>
              <a:ext uri="{FF2B5EF4-FFF2-40B4-BE49-F238E27FC236}">
                <a16:creationId xmlns:a16="http://schemas.microsoft.com/office/drawing/2014/main" id="{12F751AF-8060-48F0-DEBE-F8046EE18753}"/>
              </a:ext>
            </a:extLst>
          </p:cNvPr>
          <p:cNvGrpSpPr/>
          <p:nvPr/>
        </p:nvGrpSpPr>
        <p:grpSpPr>
          <a:xfrm>
            <a:off x="6655552" y="1955472"/>
            <a:ext cx="445963" cy="391200"/>
            <a:chOff x="5278438" y="2698750"/>
            <a:chExt cx="1635125" cy="1465263"/>
          </a:xfrm>
          <a:solidFill>
            <a:schemeClr val="accent3"/>
          </a:solidFill>
        </p:grpSpPr>
        <p:sp>
          <p:nvSpPr>
            <p:cNvPr id="48" name="Freeform 5">
              <a:extLst>
                <a:ext uri="{FF2B5EF4-FFF2-40B4-BE49-F238E27FC236}">
                  <a16:creationId xmlns:a16="http://schemas.microsoft.com/office/drawing/2014/main" id="{FE479F42-8984-5401-625F-34C3C6A3EC50}"/>
                </a:ext>
              </a:extLst>
            </p:cNvPr>
            <p:cNvSpPr>
              <a:spLocks noEditPoints="1"/>
            </p:cNvSpPr>
            <p:nvPr/>
          </p:nvSpPr>
          <p:spPr bwMode="auto">
            <a:xfrm>
              <a:off x="5278438" y="2698750"/>
              <a:ext cx="1635125" cy="1465263"/>
            </a:xfrm>
            <a:custGeom>
              <a:avLst/>
              <a:gdLst>
                <a:gd name="T0" fmla="*/ 514 w 1030"/>
                <a:gd name="T1" fmla="*/ 165 h 923"/>
                <a:gd name="T2" fmla="*/ 891 w 1030"/>
                <a:gd name="T3" fmla="*/ 842 h 923"/>
                <a:gd name="T4" fmla="*/ 136 w 1030"/>
                <a:gd name="T5" fmla="*/ 842 h 923"/>
                <a:gd name="T6" fmla="*/ 514 w 1030"/>
                <a:gd name="T7" fmla="*/ 165 h 923"/>
                <a:gd name="T8" fmla="*/ 514 w 1030"/>
                <a:gd name="T9" fmla="*/ 0 h 923"/>
                <a:gd name="T10" fmla="*/ 0 w 1030"/>
                <a:gd name="T11" fmla="*/ 923 h 923"/>
                <a:gd name="T12" fmla="*/ 1030 w 1030"/>
                <a:gd name="T13" fmla="*/ 923 h 923"/>
                <a:gd name="T14" fmla="*/ 514 w 1030"/>
                <a:gd name="T15" fmla="*/ 0 h 9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923">
                  <a:moveTo>
                    <a:pt x="514" y="165"/>
                  </a:moveTo>
                  <a:lnTo>
                    <a:pt x="891" y="842"/>
                  </a:lnTo>
                  <a:lnTo>
                    <a:pt x="136" y="842"/>
                  </a:lnTo>
                  <a:lnTo>
                    <a:pt x="514" y="165"/>
                  </a:lnTo>
                  <a:close/>
                  <a:moveTo>
                    <a:pt x="514" y="0"/>
                  </a:moveTo>
                  <a:lnTo>
                    <a:pt x="0" y="923"/>
                  </a:lnTo>
                  <a:lnTo>
                    <a:pt x="1030" y="923"/>
                  </a:lnTo>
                  <a:lnTo>
                    <a:pt x="5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6">
              <a:extLst>
                <a:ext uri="{FF2B5EF4-FFF2-40B4-BE49-F238E27FC236}">
                  <a16:creationId xmlns:a16="http://schemas.microsoft.com/office/drawing/2014/main" id="{005EC35D-F705-2CCD-D84F-AABB20C129EB}"/>
                </a:ext>
              </a:extLst>
            </p:cNvPr>
            <p:cNvSpPr>
              <a:spLocks noEditPoints="1"/>
            </p:cNvSpPr>
            <p:nvPr/>
          </p:nvSpPr>
          <p:spPr bwMode="auto">
            <a:xfrm>
              <a:off x="6021388" y="3271838"/>
              <a:ext cx="144463" cy="668338"/>
            </a:xfrm>
            <a:custGeom>
              <a:avLst/>
              <a:gdLst>
                <a:gd name="T0" fmla="*/ 38 w 38"/>
                <a:gd name="T1" fmla="*/ 156 h 176"/>
                <a:gd name="T2" fmla="*/ 33 w 38"/>
                <a:gd name="T3" fmla="*/ 170 h 176"/>
                <a:gd name="T4" fmla="*/ 19 w 38"/>
                <a:gd name="T5" fmla="*/ 176 h 176"/>
                <a:gd name="T6" fmla="*/ 5 w 38"/>
                <a:gd name="T7" fmla="*/ 170 h 176"/>
                <a:gd name="T8" fmla="*/ 0 w 38"/>
                <a:gd name="T9" fmla="*/ 156 h 176"/>
                <a:gd name="T10" fmla="*/ 5 w 38"/>
                <a:gd name="T11" fmla="*/ 143 h 176"/>
                <a:gd name="T12" fmla="*/ 19 w 38"/>
                <a:gd name="T13" fmla="*/ 137 h 176"/>
                <a:gd name="T14" fmla="*/ 33 w 38"/>
                <a:gd name="T15" fmla="*/ 143 h 176"/>
                <a:gd name="T16" fmla="*/ 38 w 38"/>
                <a:gd name="T17" fmla="*/ 156 h 176"/>
                <a:gd name="T18" fmla="*/ 31 w 38"/>
                <a:gd name="T19" fmla="*/ 123 h 176"/>
                <a:gd name="T20" fmla="*/ 7 w 38"/>
                <a:gd name="T21" fmla="*/ 123 h 176"/>
                <a:gd name="T22" fmla="*/ 2 w 38"/>
                <a:gd name="T23" fmla="*/ 0 h 176"/>
                <a:gd name="T24" fmla="*/ 36 w 38"/>
                <a:gd name="T25" fmla="*/ 0 h 176"/>
                <a:gd name="T26" fmla="*/ 31 w 38"/>
                <a:gd name="T27" fmla="*/ 12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176">
                  <a:moveTo>
                    <a:pt x="38" y="156"/>
                  </a:moveTo>
                  <a:cubicBezTo>
                    <a:pt x="38" y="162"/>
                    <a:pt x="37" y="167"/>
                    <a:pt x="33" y="170"/>
                  </a:cubicBezTo>
                  <a:cubicBezTo>
                    <a:pt x="29" y="174"/>
                    <a:pt x="25" y="176"/>
                    <a:pt x="19" y="176"/>
                  </a:cubicBezTo>
                  <a:cubicBezTo>
                    <a:pt x="14" y="176"/>
                    <a:pt x="9" y="174"/>
                    <a:pt x="5" y="170"/>
                  </a:cubicBezTo>
                  <a:cubicBezTo>
                    <a:pt x="2" y="167"/>
                    <a:pt x="0" y="162"/>
                    <a:pt x="0" y="156"/>
                  </a:cubicBezTo>
                  <a:cubicBezTo>
                    <a:pt x="0" y="151"/>
                    <a:pt x="2" y="146"/>
                    <a:pt x="5" y="143"/>
                  </a:cubicBezTo>
                  <a:cubicBezTo>
                    <a:pt x="9" y="139"/>
                    <a:pt x="14" y="137"/>
                    <a:pt x="19" y="137"/>
                  </a:cubicBezTo>
                  <a:cubicBezTo>
                    <a:pt x="25" y="137"/>
                    <a:pt x="29" y="139"/>
                    <a:pt x="33" y="143"/>
                  </a:cubicBezTo>
                  <a:cubicBezTo>
                    <a:pt x="37" y="146"/>
                    <a:pt x="38" y="151"/>
                    <a:pt x="38" y="156"/>
                  </a:cubicBezTo>
                  <a:moveTo>
                    <a:pt x="31" y="123"/>
                  </a:moveTo>
                  <a:cubicBezTo>
                    <a:pt x="7" y="123"/>
                    <a:pt x="7" y="123"/>
                    <a:pt x="7" y="123"/>
                  </a:cubicBezTo>
                  <a:cubicBezTo>
                    <a:pt x="2" y="0"/>
                    <a:pt x="2" y="0"/>
                    <a:pt x="2" y="0"/>
                  </a:cubicBezTo>
                  <a:cubicBezTo>
                    <a:pt x="36" y="0"/>
                    <a:pt x="36" y="0"/>
                    <a:pt x="36" y="0"/>
                  </a:cubicBezTo>
                  <a:lnTo>
                    <a:pt x="31"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0" name="Group 49">
            <a:extLst>
              <a:ext uri="{FF2B5EF4-FFF2-40B4-BE49-F238E27FC236}">
                <a16:creationId xmlns:a16="http://schemas.microsoft.com/office/drawing/2014/main" id="{C13C9F61-B6CC-42D9-BDB1-C416475F2F65}"/>
              </a:ext>
            </a:extLst>
          </p:cNvPr>
          <p:cNvGrpSpPr/>
          <p:nvPr/>
        </p:nvGrpSpPr>
        <p:grpSpPr>
          <a:xfrm>
            <a:off x="9073640" y="3034246"/>
            <a:ext cx="445963" cy="391200"/>
            <a:chOff x="5278438" y="2698750"/>
            <a:chExt cx="1635125" cy="1465263"/>
          </a:xfrm>
          <a:solidFill>
            <a:schemeClr val="accent3"/>
          </a:solidFill>
        </p:grpSpPr>
        <p:sp>
          <p:nvSpPr>
            <p:cNvPr id="51" name="Freeform 5">
              <a:extLst>
                <a:ext uri="{FF2B5EF4-FFF2-40B4-BE49-F238E27FC236}">
                  <a16:creationId xmlns:a16="http://schemas.microsoft.com/office/drawing/2014/main" id="{C67EA7C7-00A5-4741-D459-A5CD4F34992D}"/>
                </a:ext>
              </a:extLst>
            </p:cNvPr>
            <p:cNvSpPr>
              <a:spLocks noEditPoints="1"/>
            </p:cNvSpPr>
            <p:nvPr/>
          </p:nvSpPr>
          <p:spPr bwMode="auto">
            <a:xfrm>
              <a:off x="5278438" y="2698750"/>
              <a:ext cx="1635125" cy="1465263"/>
            </a:xfrm>
            <a:custGeom>
              <a:avLst/>
              <a:gdLst>
                <a:gd name="T0" fmla="*/ 514 w 1030"/>
                <a:gd name="T1" fmla="*/ 165 h 923"/>
                <a:gd name="T2" fmla="*/ 891 w 1030"/>
                <a:gd name="T3" fmla="*/ 842 h 923"/>
                <a:gd name="T4" fmla="*/ 136 w 1030"/>
                <a:gd name="T5" fmla="*/ 842 h 923"/>
                <a:gd name="T6" fmla="*/ 514 w 1030"/>
                <a:gd name="T7" fmla="*/ 165 h 923"/>
                <a:gd name="T8" fmla="*/ 514 w 1030"/>
                <a:gd name="T9" fmla="*/ 0 h 923"/>
                <a:gd name="T10" fmla="*/ 0 w 1030"/>
                <a:gd name="T11" fmla="*/ 923 h 923"/>
                <a:gd name="T12" fmla="*/ 1030 w 1030"/>
                <a:gd name="T13" fmla="*/ 923 h 923"/>
                <a:gd name="T14" fmla="*/ 514 w 1030"/>
                <a:gd name="T15" fmla="*/ 0 h 9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923">
                  <a:moveTo>
                    <a:pt x="514" y="165"/>
                  </a:moveTo>
                  <a:lnTo>
                    <a:pt x="891" y="842"/>
                  </a:lnTo>
                  <a:lnTo>
                    <a:pt x="136" y="842"/>
                  </a:lnTo>
                  <a:lnTo>
                    <a:pt x="514" y="165"/>
                  </a:lnTo>
                  <a:close/>
                  <a:moveTo>
                    <a:pt x="514" y="0"/>
                  </a:moveTo>
                  <a:lnTo>
                    <a:pt x="0" y="923"/>
                  </a:lnTo>
                  <a:lnTo>
                    <a:pt x="1030" y="923"/>
                  </a:lnTo>
                  <a:lnTo>
                    <a:pt x="5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6">
              <a:extLst>
                <a:ext uri="{FF2B5EF4-FFF2-40B4-BE49-F238E27FC236}">
                  <a16:creationId xmlns:a16="http://schemas.microsoft.com/office/drawing/2014/main" id="{6C618CAE-40D0-1682-588D-360B31989B51}"/>
                </a:ext>
              </a:extLst>
            </p:cNvPr>
            <p:cNvSpPr>
              <a:spLocks noEditPoints="1"/>
            </p:cNvSpPr>
            <p:nvPr/>
          </p:nvSpPr>
          <p:spPr bwMode="auto">
            <a:xfrm>
              <a:off x="6021388" y="3271838"/>
              <a:ext cx="144463" cy="668338"/>
            </a:xfrm>
            <a:custGeom>
              <a:avLst/>
              <a:gdLst>
                <a:gd name="T0" fmla="*/ 38 w 38"/>
                <a:gd name="T1" fmla="*/ 156 h 176"/>
                <a:gd name="T2" fmla="*/ 33 w 38"/>
                <a:gd name="T3" fmla="*/ 170 h 176"/>
                <a:gd name="T4" fmla="*/ 19 w 38"/>
                <a:gd name="T5" fmla="*/ 176 h 176"/>
                <a:gd name="T6" fmla="*/ 5 w 38"/>
                <a:gd name="T7" fmla="*/ 170 h 176"/>
                <a:gd name="T8" fmla="*/ 0 w 38"/>
                <a:gd name="T9" fmla="*/ 156 h 176"/>
                <a:gd name="T10" fmla="*/ 5 w 38"/>
                <a:gd name="T11" fmla="*/ 143 h 176"/>
                <a:gd name="T12" fmla="*/ 19 w 38"/>
                <a:gd name="T13" fmla="*/ 137 h 176"/>
                <a:gd name="T14" fmla="*/ 33 w 38"/>
                <a:gd name="T15" fmla="*/ 143 h 176"/>
                <a:gd name="T16" fmla="*/ 38 w 38"/>
                <a:gd name="T17" fmla="*/ 156 h 176"/>
                <a:gd name="T18" fmla="*/ 31 w 38"/>
                <a:gd name="T19" fmla="*/ 123 h 176"/>
                <a:gd name="T20" fmla="*/ 7 w 38"/>
                <a:gd name="T21" fmla="*/ 123 h 176"/>
                <a:gd name="T22" fmla="*/ 2 w 38"/>
                <a:gd name="T23" fmla="*/ 0 h 176"/>
                <a:gd name="T24" fmla="*/ 36 w 38"/>
                <a:gd name="T25" fmla="*/ 0 h 176"/>
                <a:gd name="T26" fmla="*/ 31 w 38"/>
                <a:gd name="T27" fmla="*/ 12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176">
                  <a:moveTo>
                    <a:pt x="38" y="156"/>
                  </a:moveTo>
                  <a:cubicBezTo>
                    <a:pt x="38" y="162"/>
                    <a:pt x="37" y="167"/>
                    <a:pt x="33" y="170"/>
                  </a:cubicBezTo>
                  <a:cubicBezTo>
                    <a:pt x="29" y="174"/>
                    <a:pt x="25" y="176"/>
                    <a:pt x="19" y="176"/>
                  </a:cubicBezTo>
                  <a:cubicBezTo>
                    <a:pt x="14" y="176"/>
                    <a:pt x="9" y="174"/>
                    <a:pt x="5" y="170"/>
                  </a:cubicBezTo>
                  <a:cubicBezTo>
                    <a:pt x="2" y="167"/>
                    <a:pt x="0" y="162"/>
                    <a:pt x="0" y="156"/>
                  </a:cubicBezTo>
                  <a:cubicBezTo>
                    <a:pt x="0" y="151"/>
                    <a:pt x="2" y="146"/>
                    <a:pt x="5" y="143"/>
                  </a:cubicBezTo>
                  <a:cubicBezTo>
                    <a:pt x="9" y="139"/>
                    <a:pt x="14" y="137"/>
                    <a:pt x="19" y="137"/>
                  </a:cubicBezTo>
                  <a:cubicBezTo>
                    <a:pt x="25" y="137"/>
                    <a:pt x="29" y="139"/>
                    <a:pt x="33" y="143"/>
                  </a:cubicBezTo>
                  <a:cubicBezTo>
                    <a:pt x="37" y="146"/>
                    <a:pt x="38" y="151"/>
                    <a:pt x="38" y="156"/>
                  </a:cubicBezTo>
                  <a:moveTo>
                    <a:pt x="31" y="123"/>
                  </a:moveTo>
                  <a:cubicBezTo>
                    <a:pt x="7" y="123"/>
                    <a:pt x="7" y="123"/>
                    <a:pt x="7" y="123"/>
                  </a:cubicBezTo>
                  <a:cubicBezTo>
                    <a:pt x="2" y="0"/>
                    <a:pt x="2" y="0"/>
                    <a:pt x="2" y="0"/>
                  </a:cubicBezTo>
                  <a:cubicBezTo>
                    <a:pt x="36" y="0"/>
                    <a:pt x="36" y="0"/>
                    <a:pt x="36" y="0"/>
                  </a:cubicBezTo>
                  <a:lnTo>
                    <a:pt x="31"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3" name="Freeform 5">
            <a:extLst>
              <a:ext uri="{FF2B5EF4-FFF2-40B4-BE49-F238E27FC236}">
                <a16:creationId xmlns:a16="http://schemas.microsoft.com/office/drawing/2014/main" id="{7953B1D5-2B94-0544-1782-E68A90574E3D}"/>
              </a:ext>
            </a:extLst>
          </p:cNvPr>
          <p:cNvSpPr>
            <a:spLocks noEditPoints="1"/>
          </p:cNvSpPr>
          <p:nvPr/>
        </p:nvSpPr>
        <p:spPr bwMode="auto">
          <a:xfrm>
            <a:off x="6664281" y="4860517"/>
            <a:ext cx="353828" cy="390399"/>
          </a:xfrm>
          <a:custGeom>
            <a:avLst/>
            <a:gdLst>
              <a:gd name="T0" fmla="*/ 37 w 480"/>
              <a:gd name="T1" fmla="*/ 385 h 477"/>
              <a:gd name="T2" fmla="*/ 53 w 480"/>
              <a:gd name="T3" fmla="*/ 329 h 477"/>
              <a:gd name="T4" fmla="*/ 149 w 480"/>
              <a:gd name="T5" fmla="*/ 424 h 477"/>
              <a:gd name="T6" fmla="*/ 93 w 480"/>
              <a:gd name="T7" fmla="*/ 439 h 477"/>
              <a:gd name="T8" fmla="*/ 37 w 480"/>
              <a:gd name="T9" fmla="*/ 385 h 477"/>
              <a:gd name="T10" fmla="*/ 352 w 480"/>
              <a:gd name="T11" fmla="*/ 0 h 477"/>
              <a:gd name="T12" fmla="*/ 46 w 480"/>
              <a:gd name="T13" fmla="*/ 304 h 477"/>
              <a:gd name="T14" fmla="*/ 28 w 480"/>
              <a:gd name="T15" fmla="*/ 374 h 477"/>
              <a:gd name="T16" fmla="*/ 0 w 480"/>
              <a:gd name="T17" fmla="*/ 477 h 477"/>
              <a:gd name="T18" fmla="*/ 174 w 480"/>
              <a:gd name="T19" fmla="*/ 431 h 477"/>
              <a:gd name="T20" fmla="*/ 480 w 480"/>
              <a:gd name="T21" fmla="*/ 127 h 477"/>
              <a:gd name="T22" fmla="*/ 437 w 480"/>
              <a:gd name="T23" fmla="*/ 85 h 477"/>
              <a:gd name="T24" fmla="*/ 395 w 480"/>
              <a:gd name="T25" fmla="*/ 42 h 477"/>
              <a:gd name="T26" fmla="*/ 352 w 480"/>
              <a:gd name="T27" fmla="*/ 0 h 477"/>
              <a:gd name="T28" fmla="*/ 352 w 480"/>
              <a:gd name="T2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0" h="477">
                <a:moveTo>
                  <a:pt x="37" y="385"/>
                </a:moveTo>
                <a:lnTo>
                  <a:pt x="53" y="329"/>
                </a:lnTo>
                <a:lnTo>
                  <a:pt x="149" y="424"/>
                </a:lnTo>
                <a:lnTo>
                  <a:pt x="93" y="439"/>
                </a:lnTo>
                <a:lnTo>
                  <a:pt x="37" y="385"/>
                </a:lnTo>
                <a:close/>
                <a:moveTo>
                  <a:pt x="352" y="0"/>
                </a:moveTo>
                <a:lnTo>
                  <a:pt x="46" y="304"/>
                </a:lnTo>
                <a:lnTo>
                  <a:pt x="28" y="374"/>
                </a:lnTo>
                <a:lnTo>
                  <a:pt x="0" y="477"/>
                </a:lnTo>
                <a:lnTo>
                  <a:pt x="174" y="431"/>
                </a:lnTo>
                <a:lnTo>
                  <a:pt x="480" y="127"/>
                </a:lnTo>
                <a:lnTo>
                  <a:pt x="437" y="85"/>
                </a:lnTo>
                <a:lnTo>
                  <a:pt x="395" y="42"/>
                </a:lnTo>
                <a:lnTo>
                  <a:pt x="352" y="0"/>
                </a:lnTo>
                <a:lnTo>
                  <a:pt x="35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5">
            <a:extLst>
              <a:ext uri="{FF2B5EF4-FFF2-40B4-BE49-F238E27FC236}">
                <a16:creationId xmlns:a16="http://schemas.microsoft.com/office/drawing/2014/main" id="{C7516C8B-9268-3FC9-D0D1-B41B9FBF3FC1}"/>
              </a:ext>
            </a:extLst>
          </p:cNvPr>
          <p:cNvSpPr>
            <a:spLocks noEditPoints="1"/>
          </p:cNvSpPr>
          <p:nvPr/>
        </p:nvSpPr>
        <p:spPr bwMode="auto">
          <a:xfrm>
            <a:off x="9099358" y="3713488"/>
            <a:ext cx="353828" cy="390399"/>
          </a:xfrm>
          <a:custGeom>
            <a:avLst/>
            <a:gdLst>
              <a:gd name="T0" fmla="*/ 37 w 480"/>
              <a:gd name="T1" fmla="*/ 385 h 477"/>
              <a:gd name="T2" fmla="*/ 53 w 480"/>
              <a:gd name="T3" fmla="*/ 329 h 477"/>
              <a:gd name="T4" fmla="*/ 149 w 480"/>
              <a:gd name="T5" fmla="*/ 424 h 477"/>
              <a:gd name="T6" fmla="*/ 93 w 480"/>
              <a:gd name="T7" fmla="*/ 439 h 477"/>
              <a:gd name="T8" fmla="*/ 37 w 480"/>
              <a:gd name="T9" fmla="*/ 385 h 477"/>
              <a:gd name="T10" fmla="*/ 352 w 480"/>
              <a:gd name="T11" fmla="*/ 0 h 477"/>
              <a:gd name="T12" fmla="*/ 46 w 480"/>
              <a:gd name="T13" fmla="*/ 304 h 477"/>
              <a:gd name="T14" fmla="*/ 28 w 480"/>
              <a:gd name="T15" fmla="*/ 374 h 477"/>
              <a:gd name="T16" fmla="*/ 0 w 480"/>
              <a:gd name="T17" fmla="*/ 477 h 477"/>
              <a:gd name="T18" fmla="*/ 174 w 480"/>
              <a:gd name="T19" fmla="*/ 431 h 477"/>
              <a:gd name="T20" fmla="*/ 480 w 480"/>
              <a:gd name="T21" fmla="*/ 127 h 477"/>
              <a:gd name="T22" fmla="*/ 437 w 480"/>
              <a:gd name="T23" fmla="*/ 85 h 477"/>
              <a:gd name="T24" fmla="*/ 395 w 480"/>
              <a:gd name="T25" fmla="*/ 42 h 477"/>
              <a:gd name="T26" fmla="*/ 352 w 480"/>
              <a:gd name="T27" fmla="*/ 0 h 477"/>
              <a:gd name="T28" fmla="*/ 352 w 480"/>
              <a:gd name="T2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0" h="477">
                <a:moveTo>
                  <a:pt x="37" y="385"/>
                </a:moveTo>
                <a:lnTo>
                  <a:pt x="53" y="329"/>
                </a:lnTo>
                <a:lnTo>
                  <a:pt x="149" y="424"/>
                </a:lnTo>
                <a:lnTo>
                  <a:pt x="93" y="439"/>
                </a:lnTo>
                <a:lnTo>
                  <a:pt x="37" y="385"/>
                </a:lnTo>
                <a:close/>
                <a:moveTo>
                  <a:pt x="352" y="0"/>
                </a:moveTo>
                <a:lnTo>
                  <a:pt x="46" y="304"/>
                </a:lnTo>
                <a:lnTo>
                  <a:pt x="28" y="374"/>
                </a:lnTo>
                <a:lnTo>
                  <a:pt x="0" y="477"/>
                </a:lnTo>
                <a:lnTo>
                  <a:pt x="174" y="431"/>
                </a:lnTo>
                <a:lnTo>
                  <a:pt x="480" y="127"/>
                </a:lnTo>
                <a:lnTo>
                  <a:pt x="437" y="85"/>
                </a:lnTo>
                <a:lnTo>
                  <a:pt x="395" y="42"/>
                </a:lnTo>
                <a:lnTo>
                  <a:pt x="352" y="0"/>
                </a:lnTo>
                <a:lnTo>
                  <a:pt x="35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55" name="Group 4">
            <a:extLst>
              <a:ext uri="{FF2B5EF4-FFF2-40B4-BE49-F238E27FC236}">
                <a16:creationId xmlns:a16="http://schemas.microsoft.com/office/drawing/2014/main" id="{93F7A7F6-6264-590A-F989-6B2B2C6146E3}"/>
              </a:ext>
            </a:extLst>
          </p:cNvPr>
          <p:cNvGrpSpPr>
            <a:grpSpLocks noChangeAspect="1"/>
          </p:cNvGrpSpPr>
          <p:nvPr/>
        </p:nvGrpSpPr>
        <p:grpSpPr bwMode="auto">
          <a:xfrm>
            <a:off x="6600406" y="2664444"/>
            <a:ext cx="429850" cy="355522"/>
            <a:chOff x="3601" y="1962"/>
            <a:chExt cx="480" cy="397"/>
          </a:xfrm>
          <a:solidFill>
            <a:schemeClr val="accent1"/>
          </a:solidFill>
        </p:grpSpPr>
        <p:sp>
          <p:nvSpPr>
            <p:cNvPr id="56" name="Freeform 5">
              <a:extLst>
                <a:ext uri="{FF2B5EF4-FFF2-40B4-BE49-F238E27FC236}">
                  <a16:creationId xmlns:a16="http://schemas.microsoft.com/office/drawing/2014/main" id="{ADA9C506-4AF3-86F8-0E4A-BD1047666238}"/>
                </a:ext>
              </a:extLst>
            </p:cNvPr>
            <p:cNvSpPr>
              <a:spLocks/>
            </p:cNvSpPr>
            <p:nvPr/>
          </p:nvSpPr>
          <p:spPr bwMode="auto">
            <a:xfrm>
              <a:off x="3830" y="2107"/>
              <a:ext cx="251" cy="252"/>
            </a:xfrm>
            <a:custGeom>
              <a:avLst/>
              <a:gdLst>
                <a:gd name="T0" fmla="*/ 230 w 251"/>
                <a:gd name="T1" fmla="*/ 42 h 252"/>
                <a:gd name="T2" fmla="*/ 230 w 251"/>
                <a:gd name="T3" fmla="*/ 42 h 252"/>
                <a:gd name="T4" fmla="*/ 225 w 251"/>
                <a:gd name="T5" fmla="*/ 31 h 252"/>
                <a:gd name="T6" fmla="*/ 218 w 251"/>
                <a:gd name="T7" fmla="*/ 20 h 252"/>
                <a:gd name="T8" fmla="*/ 212 w 251"/>
                <a:gd name="T9" fmla="*/ 9 h 252"/>
                <a:gd name="T10" fmla="*/ 204 w 251"/>
                <a:gd name="T11" fmla="*/ 0 h 252"/>
                <a:gd name="T12" fmla="*/ 0 w 251"/>
                <a:gd name="T13" fmla="*/ 92 h 252"/>
                <a:gd name="T14" fmla="*/ 0 w 251"/>
                <a:gd name="T15" fmla="*/ 92 h 252"/>
                <a:gd name="T16" fmla="*/ 4 w 251"/>
                <a:gd name="T17" fmla="*/ 105 h 252"/>
                <a:gd name="T18" fmla="*/ 7 w 251"/>
                <a:gd name="T19" fmla="*/ 117 h 252"/>
                <a:gd name="T20" fmla="*/ 11 w 251"/>
                <a:gd name="T21" fmla="*/ 129 h 252"/>
                <a:gd name="T22" fmla="*/ 16 w 251"/>
                <a:gd name="T23" fmla="*/ 141 h 252"/>
                <a:gd name="T24" fmla="*/ 16 w 251"/>
                <a:gd name="T25" fmla="*/ 141 h 252"/>
                <a:gd name="T26" fmla="*/ 24 w 251"/>
                <a:gd name="T27" fmla="*/ 156 h 252"/>
                <a:gd name="T28" fmla="*/ 32 w 251"/>
                <a:gd name="T29" fmla="*/ 170 h 252"/>
                <a:gd name="T30" fmla="*/ 42 w 251"/>
                <a:gd name="T31" fmla="*/ 184 h 252"/>
                <a:gd name="T32" fmla="*/ 52 w 251"/>
                <a:gd name="T33" fmla="*/ 196 h 252"/>
                <a:gd name="T34" fmla="*/ 63 w 251"/>
                <a:gd name="T35" fmla="*/ 208 h 252"/>
                <a:gd name="T36" fmla="*/ 73 w 251"/>
                <a:gd name="T37" fmla="*/ 218 h 252"/>
                <a:gd name="T38" fmla="*/ 85 w 251"/>
                <a:gd name="T39" fmla="*/ 227 h 252"/>
                <a:gd name="T40" fmla="*/ 97 w 251"/>
                <a:gd name="T41" fmla="*/ 234 h 252"/>
                <a:gd name="T42" fmla="*/ 109 w 251"/>
                <a:gd name="T43" fmla="*/ 241 h 252"/>
                <a:gd name="T44" fmla="*/ 121 w 251"/>
                <a:gd name="T45" fmla="*/ 246 h 252"/>
                <a:gd name="T46" fmla="*/ 134 w 251"/>
                <a:gd name="T47" fmla="*/ 250 h 252"/>
                <a:gd name="T48" fmla="*/ 145 w 251"/>
                <a:gd name="T49" fmla="*/ 252 h 252"/>
                <a:gd name="T50" fmla="*/ 158 w 251"/>
                <a:gd name="T51" fmla="*/ 252 h 252"/>
                <a:gd name="T52" fmla="*/ 170 w 251"/>
                <a:gd name="T53" fmla="*/ 252 h 252"/>
                <a:gd name="T54" fmla="*/ 181 w 251"/>
                <a:gd name="T55" fmla="*/ 249 h 252"/>
                <a:gd name="T56" fmla="*/ 193 w 251"/>
                <a:gd name="T57" fmla="*/ 245 h 252"/>
                <a:gd name="T58" fmla="*/ 193 w 251"/>
                <a:gd name="T59" fmla="*/ 245 h 252"/>
                <a:gd name="T60" fmla="*/ 203 w 251"/>
                <a:gd name="T61" fmla="*/ 239 h 252"/>
                <a:gd name="T62" fmla="*/ 213 w 251"/>
                <a:gd name="T63" fmla="*/ 232 h 252"/>
                <a:gd name="T64" fmla="*/ 221 w 251"/>
                <a:gd name="T65" fmla="*/ 224 h 252"/>
                <a:gd name="T66" fmla="*/ 229 w 251"/>
                <a:gd name="T67" fmla="*/ 213 h 252"/>
                <a:gd name="T68" fmla="*/ 235 w 251"/>
                <a:gd name="T69" fmla="*/ 203 h 252"/>
                <a:gd name="T70" fmla="*/ 240 w 251"/>
                <a:gd name="T71" fmla="*/ 191 h 252"/>
                <a:gd name="T72" fmla="*/ 245 w 251"/>
                <a:gd name="T73" fmla="*/ 178 h 252"/>
                <a:gd name="T74" fmla="*/ 248 w 251"/>
                <a:gd name="T75" fmla="*/ 165 h 252"/>
                <a:gd name="T76" fmla="*/ 250 w 251"/>
                <a:gd name="T77" fmla="*/ 151 h 252"/>
                <a:gd name="T78" fmla="*/ 251 w 251"/>
                <a:gd name="T79" fmla="*/ 136 h 252"/>
                <a:gd name="T80" fmla="*/ 250 w 251"/>
                <a:gd name="T81" fmla="*/ 122 h 252"/>
                <a:gd name="T82" fmla="*/ 249 w 251"/>
                <a:gd name="T83" fmla="*/ 106 h 252"/>
                <a:gd name="T84" fmla="*/ 246 w 251"/>
                <a:gd name="T85" fmla="*/ 90 h 252"/>
                <a:gd name="T86" fmla="*/ 241 w 251"/>
                <a:gd name="T87" fmla="*/ 75 h 252"/>
                <a:gd name="T88" fmla="*/ 236 w 251"/>
                <a:gd name="T89" fmla="*/ 59 h 252"/>
                <a:gd name="T90" fmla="*/ 230 w 251"/>
                <a:gd name="T91" fmla="*/ 42 h 252"/>
                <a:gd name="T92" fmla="*/ 230 w 251"/>
                <a:gd name="T93" fmla="*/ 4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1" h="252">
                  <a:moveTo>
                    <a:pt x="230" y="42"/>
                  </a:moveTo>
                  <a:lnTo>
                    <a:pt x="230" y="42"/>
                  </a:lnTo>
                  <a:lnTo>
                    <a:pt x="225" y="31"/>
                  </a:lnTo>
                  <a:lnTo>
                    <a:pt x="218" y="20"/>
                  </a:lnTo>
                  <a:lnTo>
                    <a:pt x="212" y="9"/>
                  </a:lnTo>
                  <a:lnTo>
                    <a:pt x="204" y="0"/>
                  </a:lnTo>
                  <a:lnTo>
                    <a:pt x="0" y="92"/>
                  </a:lnTo>
                  <a:lnTo>
                    <a:pt x="0" y="92"/>
                  </a:lnTo>
                  <a:lnTo>
                    <a:pt x="4" y="105"/>
                  </a:lnTo>
                  <a:lnTo>
                    <a:pt x="7" y="117"/>
                  </a:lnTo>
                  <a:lnTo>
                    <a:pt x="11" y="129"/>
                  </a:lnTo>
                  <a:lnTo>
                    <a:pt x="16" y="141"/>
                  </a:lnTo>
                  <a:lnTo>
                    <a:pt x="16" y="141"/>
                  </a:lnTo>
                  <a:lnTo>
                    <a:pt x="24" y="156"/>
                  </a:lnTo>
                  <a:lnTo>
                    <a:pt x="32" y="170"/>
                  </a:lnTo>
                  <a:lnTo>
                    <a:pt x="42" y="184"/>
                  </a:lnTo>
                  <a:lnTo>
                    <a:pt x="52" y="196"/>
                  </a:lnTo>
                  <a:lnTo>
                    <a:pt x="63" y="208"/>
                  </a:lnTo>
                  <a:lnTo>
                    <a:pt x="73" y="218"/>
                  </a:lnTo>
                  <a:lnTo>
                    <a:pt x="85" y="227"/>
                  </a:lnTo>
                  <a:lnTo>
                    <a:pt x="97" y="234"/>
                  </a:lnTo>
                  <a:lnTo>
                    <a:pt x="109" y="241"/>
                  </a:lnTo>
                  <a:lnTo>
                    <a:pt x="121" y="246"/>
                  </a:lnTo>
                  <a:lnTo>
                    <a:pt x="134" y="250"/>
                  </a:lnTo>
                  <a:lnTo>
                    <a:pt x="145" y="252"/>
                  </a:lnTo>
                  <a:lnTo>
                    <a:pt x="158" y="252"/>
                  </a:lnTo>
                  <a:lnTo>
                    <a:pt x="170" y="252"/>
                  </a:lnTo>
                  <a:lnTo>
                    <a:pt x="181" y="249"/>
                  </a:lnTo>
                  <a:lnTo>
                    <a:pt x="193" y="245"/>
                  </a:lnTo>
                  <a:lnTo>
                    <a:pt x="193" y="245"/>
                  </a:lnTo>
                  <a:lnTo>
                    <a:pt x="203" y="239"/>
                  </a:lnTo>
                  <a:lnTo>
                    <a:pt x="213" y="232"/>
                  </a:lnTo>
                  <a:lnTo>
                    <a:pt x="221" y="224"/>
                  </a:lnTo>
                  <a:lnTo>
                    <a:pt x="229" y="213"/>
                  </a:lnTo>
                  <a:lnTo>
                    <a:pt x="235" y="203"/>
                  </a:lnTo>
                  <a:lnTo>
                    <a:pt x="240" y="191"/>
                  </a:lnTo>
                  <a:lnTo>
                    <a:pt x="245" y="178"/>
                  </a:lnTo>
                  <a:lnTo>
                    <a:pt x="248" y="165"/>
                  </a:lnTo>
                  <a:lnTo>
                    <a:pt x="250" y="151"/>
                  </a:lnTo>
                  <a:lnTo>
                    <a:pt x="251" y="136"/>
                  </a:lnTo>
                  <a:lnTo>
                    <a:pt x="250" y="122"/>
                  </a:lnTo>
                  <a:lnTo>
                    <a:pt x="249" y="106"/>
                  </a:lnTo>
                  <a:lnTo>
                    <a:pt x="246" y="90"/>
                  </a:lnTo>
                  <a:lnTo>
                    <a:pt x="241" y="75"/>
                  </a:lnTo>
                  <a:lnTo>
                    <a:pt x="236" y="59"/>
                  </a:lnTo>
                  <a:lnTo>
                    <a:pt x="230" y="42"/>
                  </a:lnTo>
                  <a:lnTo>
                    <a:pt x="23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6">
              <a:extLst>
                <a:ext uri="{FF2B5EF4-FFF2-40B4-BE49-F238E27FC236}">
                  <a16:creationId xmlns:a16="http://schemas.microsoft.com/office/drawing/2014/main" id="{2DFD4C74-5085-3F9F-5C67-A0DEF41210B8}"/>
                </a:ext>
              </a:extLst>
            </p:cNvPr>
            <p:cNvSpPr>
              <a:spLocks/>
            </p:cNvSpPr>
            <p:nvPr/>
          </p:nvSpPr>
          <p:spPr bwMode="auto">
            <a:xfrm>
              <a:off x="3893" y="2038"/>
              <a:ext cx="128" cy="92"/>
            </a:xfrm>
            <a:custGeom>
              <a:avLst/>
              <a:gdLst>
                <a:gd name="T0" fmla="*/ 1 w 128"/>
                <a:gd name="T1" fmla="*/ 6 h 92"/>
                <a:gd name="T2" fmla="*/ 40 w 128"/>
                <a:gd name="T3" fmla="*/ 92 h 92"/>
                <a:gd name="T4" fmla="*/ 128 w 128"/>
                <a:gd name="T5" fmla="*/ 52 h 92"/>
                <a:gd name="T6" fmla="*/ 128 w 128"/>
                <a:gd name="T7" fmla="*/ 52 h 92"/>
                <a:gd name="T8" fmla="*/ 113 w 128"/>
                <a:gd name="T9" fmla="*/ 37 h 92"/>
                <a:gd name="T10" fmla="*/ 98 w 128"/>
                <a:gd name="T11" fmla="*/ 25 h 92"/>
                <a:gd name="T12" fmla="*/ 82 w 128"/>
                <a:gd name="T13" fmla="*/ 14 h 92"/>
                <a:gd name="T14" fmla="*/ 65 w 128"/>
                <a:gd name="T15" fmla="*/ 7 h 92"/>
                <a:gd name="T16" fmla="*/ 57 w 128"/>
                <a:gd name="T17" fmla="*/ 4 h 92"/>
                <a:gd name="T18" fmla="*/ 48 w 128"/>
                <a:gd name="T19" fmla="*/ 2 h 92"/>
                <a:gd name="T20" fmla="*/ 40 w 128"/>
                <a:gd name="T21" fmla="*/ 1 h 92"/>
                <a:gd name="T22" fmla="*/ 32 w 128"/>
                <a:gd name="T23" fmla="*/ 0 h 92"/>
                <a:gd name="T24" fmla="*/ 24 w 128"/>
                <a:gd name="T25" fmla="*/ 0 h 92"/>
                <a:gd name="T26" fmla="*/ 16 w 128"/>
                <a:gd name="T27" fmla="*/ 1 h 92"/>
                <a:gd name="T28" fmla="*/ 7 w 128"/>
                <a:gd name="T29" fmla="*/ 2 h 92"/>
                <a:gd name="T30" fmla="*/ 0 w 128"/>
                <a:gd name="T31" fmla="*/ 4 h 92"/>
                <a:gd name="T32" fmla="*/ 0 w 128"/>
                <a:gd name="T33" fmla="*/ 4 h 92"/>
                <a:gd name="T34" fmla="*/ 1 w 128"/>
                <a:gd name="T35" fmla="*/ 6 h 92"/>
                <a:gd name="T36" fmla="*/ 1 w 128"/>
                <a:gd name="T37" fmla="*/ 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92">
                  <a:moveTo>
                    <a:pt x="1" y="6"/>
                  </a:moveTo>
                  <a:lnTo>
                    <a:pt x="40" y="92"/>
                  </a:lnTo>
                  <a:lnTo>
                    <a:pt x="128" y="52"/>
                  </a:lnTo>
                  <a:lnTo>
                    <a:pt x="128" y="52"/>
                  </a:lnTo>
                  <a:lnTo>
                    <a:pt x="113" y="37"/>
                  </a:lnTo>
                  <a:lnTo>
                    <a:pt x="98" y="25"/>
                  </a:lnTo>
                  <a:lnTo>
                    <a:pt x="82" y="14"/>
                  </a:lnTo>
                  <a:lnTo>
                    <a:pt x="65" y="7"/>
                  </a:lnTo>
                  <a:lnTo>
                    <a:pt x="57" y="4"/>
                  </a:lnTo>
                  <a:lnTo>
                    <a:pt x="48" y="2"/>
                  </a:lnTo>
                  <a:lnTo>
                    <a:pt x="40" y="1"/>
                  </a:lnTo>
                  <a:lnTo>
                    <a:pt x="32" y="0"/>
                  </a:lnTo>
                  <a:lnTo>
                    <a:pt x="24" y="0"/>
                  </a:lnTo>
                  <a:lnTo>
                    <a:pt x="16" y="1"/>
                  </a:lnTo>
                  <a:lnTo>
                    <a:pt x="7" y="2"/>
                  </a:lnTo>
                  <a:lnTo>
                    <a:pt x="0" y="4"/>
                  </a:lnTo>
                  <a:lnTo>
                    <a:pt x="0" y="4"/>
                  </a:lnTo>
                  <a:lnTo>
                    <a:pt x="1" y="6"/>
                  </a:ln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7">
              <a:extLst>
                <a:ext uri="{FF2B5EF4-FFF2-40B4-BE49-F238E27FC236}">
                  <a16:creationId xmlns:a16="http://schemas.microsoft.com/office/drawing/2014/main" id="{9FFDAC18-9EAB-E34C-025E-9B938BFE30A8}"/>
                </a:ext>
              </a:extLst>
            </p:cNvPr>
            <p:cNvSpPr>
              <a:spLocks/>
            </p:cNvSpPr>
            <p:nvPr/>
          </p:nvSpPr>
          <p:spPr bwMode="auto">
            <a:xfrm>
              <a:off x="3826" y="2051"/>
              <a:ext cx="88" cy="127"/>
            </a:xfrm>
            <a:custGeom>
              <a:avLst/>
              <a:gdLst>
                <a:gd name="T0" fmla="*/ 48 w 88"/>
                <a:gd name="T1" fmla="*/ 0 h 127"/>
                <a:gd name="T2" fmla="*/ 48 w 88"/>
                <a:gd name="T3" fmla="*/ 0 h 127"/>
                <a:gd name="T4" fmla="*/ 40 w 88"/>
                <a:gd name="T5" fmla="*/ 4 h 127"/>
                <a:gd name="T6" fmla="*/ 35 w 88"/>
                <a:gd name="T7" fmla="*/ 10 h 127"/>
                <a:gd name="T8" fmla="*/ 29 w 88"/>
                <a:gd name="T9" fmla="*/ 16 h 127"/>
                <a:gd name="T10" fmla="*/ 25 w 88"/>
                <a:gd name="T11" fmla="*/ 22 h 127"/>
                <a:gd name="T12" fmla="*/ 19 w 88"/>
                <a:gd name="T13" fmla="*/ 29 h 127"/>
                <a:gd name="T14" fmla="*/ 15 w 88"/>
                <a:gd name="T15" fmla="*/ 36 h 127"/>
                <a:gd name="T16" fmla="*/ 9 w 88"/>
                <a:gd name="T17" fmla="*/ 52 h 127"/>
                <a:gd name="T18" fmla="*/ 3 w 88"/>
                <a:gd name="T19" fmla="*/ 69 h 127"/>
                <a:gd name="T20" fmla="*/ 0 w 88"/>
                <a:gd name="T21" fmla="*/ 87 h 127"/>
                <a:gd name="T22" fmla="*/ 0 w 88"/>
                <a:gd name="T23" fmla="*/ 107 h 127"/>
                <a:gd name="T24" fmla="*/ 1 w 88"/>
                <a:gd name="T25" fmla="*/ 127 h 127"/>
                <a:gd name="T26" fmla="*/ 88 w 88"/>
                <a:gd name="T27" fmla="*/ 87 h 127"/>
                <a:gd name="T28" fmla="*/ 48 w 88"/>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27">
                  <a:moveTo>
                    <a:pt x="48" y="0"/>
                  </a:moveTo>
                  <a:lnTo>
                    <a:pt x="48" y="0"/>
                  </a:lnTo>
                  <a:lnTo>
                    <a:pt x="40" y="4"/>
                  </a:lnTo>
                  <a:lnTo>
                    <a:pt x="35" y="10"/>
                  </a:lnTo>
                  <a:lnTo>
                    <a:pt x="29" y="16"/>
                  </a:lnTo>
                  <a:lnTo>
                    <a:pt x="25" y="22"/>
                  </a:lnTo>
                  <a:lnTo>
                    <a:pt x="19" y="29"/>
                  </a:lnTo>
                  <a:lnTo>
                    <a:pt x="15" y="36"/>
                  </a:lnTo>
                  <a:lnTo>
                    <a:pt x="9" y="52"/>
                  </a:lnTo>
                  <a:lnTo>
                    <a:pt x="3" y="69"/>
                  </a:lnTo>
                  <a:lnTo>
                    <a:pt x="0" y="87"/>
                  </a:lnTo>
                  <a:lnTo>
                    <a:pt x="0" y="107"/>
                  </a:lnTo>
                  <a:lnTo>
                    <a:pt x="1" y="127"/>
                  </a:lnTo>
                  <a:lnTo>
                    <a:pt x="88" y="87"/>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8">
              <a:extLst>
                <a:ext uri="{FF2B5EF4-FFF2-40B4-BE49-F238E27FC236}">
                  <a16:creationId xmlns:a16="http://schemas.microsoft.com/office/drawing/2014/main" id="{C11EF0DF-882E-C4DE-752D-D67C4C600766}"/>
                </a:ext>
              </a:extLst>
            </p:cNvPr>
            <p:cNvSpPr>
              <a:spLocks/>
            </p:cNvSpPr>
            <p:nvPr/>
          </p:nvSpPr>
          <p:spPr bwMode="auto">
            <a:xfrm>
              <a:off x="3601" y="1962"/>
              <a:ext cx="291" cy="299"/>
            </a:xfrm>
            <a:custGeom>
              <a:avLst/>
              <a:gdLst>
                <a:gd name="T0" fmla="*/ 84 w 291"/>
                <a:gd name="T1" fmla="*/ 299 h 299"/>
                <a:gd name="T2" fmla="*/ 61 w 291"/>
                <a:gd name="T3" fmla="*/ 296 h 299"/>
                <a:gd name="T4" fmla="*/ 41 w 291"/>
                <a:gd name="T5" fmla="*/ 287 h 299"/>
                <a:gd name="T6" fmla="*/ 35 w 291"/>
                <a:gd name="T7" fmla="*/ 281 h 299"/>
                <a:gd name="T8" fmla="*/ 24 w 291"/>
                <a:gd name="T9" fmla="*/ 270 h 299"/>
                <a:gd name="T10" fmla="*/ 13 w 291"/>
                <a:gd name="T11" fmla="*/ 251 h 299"/>
                <a:gd name="T12" fmla="*/ 4 w 291"/>
                <a:gd name="T13" fmla="*/ 227 h 299"/>
                <a:gd name="T14" fmla="*/ 0 w 291"/>
                <a:gd name="T15" fmla="*/ 207 h 299"/>
                <a:gd name="T16" fmla="*/ 20 w 291"/>
                <a:gd name="T17" fmla="*/ 205 h 299"/>
                <a:gd name="T18" fmla="*/ 23 w 291"/>
                <a:gd name="T19" fmla="*/ 221 h 299"/>
                <a:gd name="T20" fmla="*/ 30 w 291"/>
                <a:gd name="T21" fmla="*/ 241 h 299"/>
                <a:gd name="T22" fmla="*/ 43 w 291"/>
                <a:gd name="T23" fmla="*/ 262 h 299"/>
                <a:gd name="T24" fmla="*/ 53 w 291"/>
                <a:gd name="T25" fmla="*/ 270 h 299"/>
                <a:gd name="T26" fmla="*/ 58 w 291"/>
                <a:gd name="T27" fmla="*/ 273 h 299"/>
                <a:gd name="T28" fmla="*/ 69 w 291"/>
                <a:gd name="T29" fmla="*/ 278 h 299"/>
                <a:gd name="T30" fmla="*/ 81 w 291"/>
                <a:gd name="T31" fmla="*/ 279 h 299"/>
                <a:gd name="T32" fmla="*/ 103 w 291"/>
                <a:gd name="T33" fmla="*/ 277 h 299"/>
                <a:gd name="T34" fmla="*/ 112 w 291"/>
                <a:gd name="T35" fmla="*/ 275 h 299"/>
                <a:gd name="T36" fmla="*/ 127 w 291"/>
                <a:gd name="T37" fmla="*/ 267 h 299"/>
                <a:gd name="T38" fmla="*/ 137 w 291"/>
                <a:gd name="T39" fmla="*/ 255 h 299"/>
                <a:gd name="T40" fmla="*/ 144 w 291"/>
                <a:gd name="T41" fmla="*/ 242 h 299"/>
                <a:gd name="T42" fmla="*/ 148 w 291"/>
                <a:gd name="T43" fmla="*/ 224 h 299"/>
                <a:gd name="T44" fmla="*/ 148 w 291"/>
                <a:gd name="T45" fmla="*/ 193 h 299"/>
                <a:gd name="T46" fmla="*/ 143 w 291"/>
                <a:gd name="T47" fmla="*/ 143 h 299"/>
                <a:gd name="T48" fmla="*/ 140 w 291"/>
                <a:gd name="T49" fmla="*/ 120 h 299"/>
                <a:gd name="T50" fmla="*/ 136 w 291"/>
                <a:gd name="T51" fmla="*/ 75 h 299"/>
                <a:gd name="T52" fmla="*/ 139 w 291"/>
                <a:gd name="T53" fmla="*/ 54 h 299"/>
                <a:gd name="T54" fmla="*/ 144 w 291"/>
                <a:gd name="T55" fmla="*/ 36 h 299"/>
                <a:gd name="T56" fmla="*/ 154 w 291"/>
                <a:gd name="T57" fmla="*/ 20 h 299"/>
                <a:gd name="T58" fmla="*/ 170 w 291"/>
                <a:gd name="T59" fmla="*/ 8 h 299"/>
                <a:gd name="T60" fmla="*/ 192 w 291"/>
                <a:gd name="T61" fmla="*/ 1 h 299"/>
                <a:gd name="T62" fmla="*/ 203 w 291"/>
                <a:gd name="T63" fmla="*/ 0 h 299"/>
                <a:gd name="T64" fmla="*/ 224 w 291"/>
                <a:gd name="T65" fmla="*/ 1 h 299"/>
                <a:gd name="T66" fmla="*/ 242 w 291"/>
                <a:gd name="T67" fmla="*/ 7 h 299"/>
                <a:gd name="T68" fmla="*/ 257 w 291"/>
                <a:gd name="T69" fmla="*/ 18 h 299"/>
                <a:gd name="T70" fmla="*/ 269 w 291"/>
                <a:gd name="T71" fmla="*/ 30 h 299"/>
                <a:gd name="T72" fmla="*/ 282 w 291"/>
                <a:gd name="T73" fmla="*/ 51 h 299"/>
                <a:gd name="T74" fmla="*/ 291 w 291"/>
                <a:gd name="T75" fmla="*/ 80 h 299"/>
                <a:gd name="T76" fmla="*/ 273 w 291"/>
                <a:gd name="T77" fmla="*/ 88 h 299"/>
                <a:gd name="T78" fmla="*/ 269 w 291"/>
                <a:gd name="T79" fmla="*/ 76 h 299"/>
                <a:gd name="T80" fmla="*/ 257 w 291"/>
                <a:gd name="T81" fmla="*/ 49 h 299"/>
                <a:gd name="T82" fmla="*/ 246 w 291"/>
                <a:gd name="T83" fmla="*/ 37 h 299"/>
                <a:gd name="T84" fmla="*/ 233 w 291"/>
                <a:gd name="T85" fmla="*/ 26 h 299"/>
                <a:gd name="T86" fmla="*/ 216 w 291"/>
                <a:gd name="T87" fmla="*/ 20 h 299"/>
                <a:gd name="T88" fmla="*/ 196 w 291"/>
                <a:gd name="T89" fmla="*/ 21 h 299"/>
                <a:gd name="T90" fmla="*/ 187 w 291"/>
                <a:gd name="T91" fmla="*/ 23 h 299"/>
                <a:gd name="T92" fmla="*/ 174 w 291"/>
                <a:gd name="T93" fmla="*/ 29 h 299"/>
                <a:gd name="T94" fmla="*/ 166 w 291"/>
                <a:gd name="T95" fmla="*/ 38 h 299"/>
                <a:gd name="T96" fmla="*/ 160 w 291"/>
                <a:gd name="T97" fmla="*/ 50 h 299"/>
                <a:gd name="T98" fmla="*/ 158 w 291"/>
                <a:gd name="T99" fmla="*/ 66 h 299"/>
                <a:gd name="T100" fmla="*/ 156 w 291"/>
                <a:gd name="T101" fmla="*/ 93 h 299"/>
                <a:gd name="T102" fmla="*/ 163 w 291"/>
                <a:gd name="T103" fmla="*/ 141 h 299"/>
                <a:gd name="T104" fmla="*/ 166 w 291"/>
                <a:gd name="T105" fmla="*/ 165 h 299"/>
                <a:gd name="T106" fmla="*/ 169 w 291"/>
                <a:gd name="T107" fmla="*/ 202 h 299"/>
                <a:gd name="T108" fmla="*/ 168 w 291"/>
                <a:gd name="T109" fmla="*/ 226 h 299"/>
                <a:gd name="T110" fmla="*/ 164 w 291"/>
                <a:gd name="T111" fmla="*/ 247 h 299"/>
                <a:gd name="T112" fmla="*/ 155 w 291"/>
                <a:gd name="T113" fmla="*/ 266 h 299"/>
                <a:gd name="T114" fmla="*/ 141 w 291"/>
                <a:gd name="T115" fmla="*/ 281 h 299"/>
                <a:gd name="T116" fmla="*/ 119 w 291"/>
                <a:gd name="T117" fmla="*/ 293 h 299"/>
                <a:gd name="T118" fmla="*/ 107 w 291"/>
                <a:gd name="T119" fmla="*/ 297 h 299"/>
                <a:gd name="T120" fmla="*/ 84 w 291"/>
                <a:gd name="T121"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1" h="299">
                  <a:moveTo>
                    <a:pt x="84" y="299"/>
                  </a:moveTo>
                  <a:lnTo>
                    <a:pt x="84" y="299"/>
                  </a:lnTo>
                  <a:lnTo>
                    <a:pt x="72" y="298"/>
                  </a:lnTo>
                  <a:lnTo>
                    <a:pt x="61" y="296"/>
                  </a:lnTo>
                  <a:lnTo>
                    <a:pt x="51" y="292"/>
                  </a:lnTo>
                  <a:lnTo>
                    <a:pt x="41" y="287"/>
                  </a:lnTo>
                  <a:lnTo>
                    <a:pt x="41" y="287"/>
                  </a:lnTo>
                  <a:lnTo>
                    <a:pt x="35" y="281"/>
                  </a:lnTo>
                  <a:lnTo>
                    <a:pt x="29" y="276"/>
                  </a:lnTo>
                  <a:lnTo>
                    <a:pt x="24" y="270"/>
                  </a:lnTo>
                  <a:lnTo>
                    <a:pt x="20" y="264"/>
                  </a:lnTo>
                  <a:lnTo>
                    <a:pt x="13" y="251"/>
                  </a:lnTo>
                  <a:lnTo>
                    <a:pt x="7" y="238"/>
                  </a:lnTo>
                  <a:lnTo>
                    <a:pt x="4" y="227"/>
                  </a:lnTo>
                  <a:lnTo>
                    <a:pt x="1" y="216"/>
                  </a:lnTo>
                  <a:lnTo>
                    <a:pt x="0" y="207"/>
                  </a:lnTo>
                  <a:lnTo>
                    <a:pt x="20" y="205"/>
                  </a:lnTo>
                  <a:lnTo>
                    <a:pt x="20" y="205"/>
                  </a:lnTo>
                  <a:lnTo>
                    <a:pt x="21" y="212"/>
                  </a:lnTo>
                  <a:lnTo>
                    <a:pt x="23" y="221"/>
                  </a:lnTo>
                  <a:lnTo>
                    <a:pt x="25" y="230"/>
                  </a:lnTo>
                  <a:lnTo>
                    <a:pt x="30" y="241"/>
                  </a:lnTo>
                  <a:lnTo>
                    <a:pt x="36" y="252"/>
                  </a:lnTo>
                  <a:lnTo>
                    <a:pt x="43" y="262"/>
                  </a:lnTo>
                  <a:lnTo>
                    <a:pt x="48" y="266"/>
                  </a:lnTo>
                  <a:lnTo>
                    <a:pt x="53" y="270"/>
                  </a:lnTo>
                  <a:lnTo>
                    <a:pt x="53" y="270"/>
                  </a:lnTo>
                  <a:lnTo>
                    <a:pt x="58" y="273"/>
                  </a:lnTo>
                  <a:lnTo>
                    <a:pt x="63" y="276"/>
                  </a:lnTo>
                  <a:lnTo>
                    <a:pt x="69" y="278"/>
                  </a:lnTo>
                  <a:lnTo>
                    <a:pt x="75" y="279"/>
                  </a:lnTo>
                  <a:lnTo>
                    <a:pt x="81" y="279"/>
                  </a:lnTo>
                  <a:lnTo>
                    <a:pt x="88" y="279"/>
                  </a:lnTo>
                  <a:lnTo>
                    <a:pt x="103" y="277"/>
                  </a:lnTo>
                  <a:lnTo>
                    <a:pt x="103" y="277"/>
                  </a:lnTo>
                  <a:lnTo>
                    <a:pt x="112" y="275"/>
                  </a:lnTo>
                  <a:lnTo>
                    <a:pt x="119" y="271"/>
                  </a:lnTo>
                  <a:lnTo>
                    <a:pt x="127" y="267"/>
                  </a:lnTo>
                  <a:lnTo>
                    <a:pt x="132" y="262"/>
                  </a:lnTo>
                  <a:lnTo>
                    <a:pt x="137" y="255"/>
                  </a:lnTo>
                  <a:lnTo>
                    <a:pt x="142" y="249"/>
                  </a:lnTo>
                  <a:lnTo>
                    <a:pt x="144" y="242"/>
                  </a:lnTo>
                  <a:lnTo>
                    <a:pt x="146" y="233"/>
                  </a:lnTo>
                  <a:lnTo>
                    <a:pt x="148" y="224"/>
                  </a:lnTo>
                  <a:lnTo>
                    <a:pt x="148" y="214"/>
                  </a:lnTo>
                  <a:lnTo>
                    <a:pt x="148" y="193"/>
                  </a:lnTo>
                  <a:lnTo>
                    <a:pt x="146" y="169"/>
                  </a:lnTo>
                  <a:lnTo>
                    <a:pt x="143" y="143"/>
                  </a:lnTo>
                  <a:lnTo>
                    <a:pt x="143" y="143"/>
                  </a:lnTo>
                  <a:lnTo>
                    <a:pt x="140" y="120"/>
                  </a:lnTo>
                  <a:lnTo>
                    <a:pt x="137" y="97"/>
                  </a:lnTo>
                  <a:lnTo>
                    <a:pt x="136" y="75"/>
                  </a:lnTo>
                  <a:lnTo>
                    <a:pt x="137" y="64"/>
                  </a:lnTo>
                  <a:lnTo>
                    <a:pt x="139" y="54"/>
                  </a:lnTo>
                  <a:lnTo>
                    <a:pt x="141" y="44"/>
                  </a:lnTo>
                  <a:lnTo>
                    <a:pt x="144" y="36"/>
                  </a:lnTo>
                  <a:lnTo>
                    <a:pt x="149" y="27"/>
                  </a:lnTo>
                  <a:lnTo>
                    <a:pt x="154" y="20"/>
                  </a:lnTo>
                  <a:lnTo>
                    <a:pt x="162" y="14"/>
                  </a:lnTo>
                  <a:lnTo>
                    <a:pt x="170" y="8"/>
                  </a:lnTo>
                  <a:lnTo>
                    <a:pt x="180" y="4"/>
                  </a:lnTo>
                  <a:lnTo>
                    <a:pt x="192" y="1"/>
                  </a:lnTo>
                  <a:lnTo>
                    <a:pt x="192" y="1"/>
                  </a:lnTo>
                  <a:lnTo>
                    <a:pt x="203" y="0"/>
                  </a:lnTo>
                  <a:lnTo>
                    <a:pt x="215" y="0"/>
                  </a:lnTo>
                  <a:lnTo>
                    <a:pt x="224" y="1"/>
                  </a:lnTo>
                  <a:lnTo>
                    <a:pt x="234" y="4"/>
                  </a:lnTo>
                  <a:lnTo>
                    <a:pt x="242" y="7"/>
                  </a:lnTo>
                  <a:lnTo>
                    <a:pt x="250" y="13"/>
                  </a:lnTo>
                  <a:lnTo>
                    <a:pt x="257" y="18"/>
                  </a:lnTo>
                  <a:lnTo>
                    <a:pt x="263" y="24"/>
                  </a:lnTo>
                  <a:lnTo>
                    <a:pt x="269" y="30"/>
                  </a:lnTo>
                  <a:lnTo>
                    <a:pt x="274" y="38"/>
                  </a:lnTo>
                  <a:lnTo>
                    <a:pt x="282" y="51"/>
                  </a:lnTo>
                  <a:lnTo>
                    <a:pt x="288" y="66"/>
                  </a:lnTo>
                  <a:lnTo>
                    <a:pt x="291" y="80"/>
                  </a:lnTo>
                  <a:lnTo>
                    <a:pt x="273" y="88"/>
                  </a:lnTo>
                  <a:lnTo>
                    <a:pt x="273" y="88"/>
                  </a:lnTo>
                  <a:lnTo>
                    <a:pt x="272" y="84"/>
                  </a:lnTo>
                  <a:lnTo>
                    <a:pt x="269" y="76"/>
                  </a:lnTo>
                  <a:lnTo>
                    <a:pt x="264" y="63"/>
                  </a:lnTo>
                  <a:lnTo>
                    <a:pt x="257" y="49"/>
                  </a:lnTo>
                  <a:lnTo>
                    <a:pt x="252" y="43"/>
                  </a:lnTo>
                  <a:lnTo>
                    <a:pt x="246" y="37"/>
                  </a:lnTo>
                  <a:lnTo>
                    <a:pt x="240" y="32"/>
                  </a:lnTo>
                  <a:lnTo>
                    <a:pt x="233" y="26"/>
                  </a:lnTo>
                  <a:lnTo>
                    <a:pt x="225" y="23"/>
                  </a:lnTo>
                  <a:lnTo>
                    <a:pt x="216" y="20"/>
                  </a:lnTo>
                  <a:lnTo>
                    <a:pt x="206" y="20"/>
                  </a:lnTo>
                  <a:lnTo>
                    <a:pt x="196" y="21"/>
                  </a:lnTo>
                  <a:lnTo>
                    <a:pt x="196" y="21"/>
                  </a:lnTo>
                  <a:lnTo>
                    <a:pt x="187" y="23"/>
                  </a:lnTo>
                  <a:lnTo>
                    <a:pt x="181" y="25"/>
                  </a:lnTo>
                  <a:lnTo>
                    <a:pt x="174" y="29"/>
                  </a:lnTo>
                  <a:lnTo>
                    <a:pt x="170" y="34"/>
                  </a:lnTo>
                  <a:lnTo>
                    <a:pt x="166" y="38"/>
                  </a:lnTo>
                  <a:lnTo>
                    <a:pt x="163" y="44"/>
                  </a:lnTo>
                  <a:lnTo>
                    <a:pt x="160" y="50"/>
                  </a:lnTo>
                  <a:lnTo>
                    <a:pt x="159" y="58"/>
                  </a:lnTo>
                  <a:lnTo>
                    <a:pt x="158" y="66"/>
                  </a:lnTo>
                  <a:lnTo>
                    <a:pt x="156" y="75"/>
                  </a:lnTo>
                  <a:lnTo>
                    <a:pt x="156" y="93"/>
                  </a:lnTo>
                  <a:lnTo>
                    <a:pt x="159" y="116"/>
                  </a:lnTo>
                  <a:lnTo>
                    <a:pt x="163" y="141"/>
                  </a:lnTo>
                  <a:lnTo>
                    <a:pt x="163" y="141"/>
                  </a:lnTo>
                  <a:lnTo>
                    <a:pt x="166" y="165"/>
                  </a:lnTo>
                  <a:lnTo>
                    <a:pt x="168" y="190"/>
                  </a:lnTo>
                  <a:lnTo>
                    <a:pt x="169" y="202"/>
                  </a:lnTo>
                  <a:lnTo>
                    <a:pt x="169" y="214"/>
                  </a:lnTo>
                  <a:lnTo>
                    <a:pt x="168" y="226"/>
                  </a:lnTo>
                  <a:lnTo>
                    <a:pt x="166" y="236"/>
                  </a:lnTo>
                  <a:lnTo>
                    <a:pt x="164" y="247"/>
                  </a:lnTo>
                  <a:lnTo>
                    <a:pt x="160" y="257"/>
                  </a:lnTo>
                  <a:lnTo>
                    <a:pt x="155" y="266"/>
                  </a:lnTo>
                  <a:lnTo>
                    <a:pt x="149" y="274"/>
                  </a:lnTo>
                  <a:lnTo>
                    <a:pt x="141" y="281"/>
                  </a:lnTo>
                  <a:lnTo>
                    <a:pt x="131" y="288"/>
                  </a:lnTo>
                  <a:lnTo>
                    <a:pt x="119" y="293"/>
                  </a:lnTo>
                  <a:lnTo>
                    <a:pt x="107" y="297"/>
                  </a:lnTo>
                  <a:lnTo>
                    <a:pt x="107" y="297"/>
                  </a:lnTo>
                  <a:lnTo>
                    <a:pt x="95" y="299"/>
                  </a:lnTo>
                  <a:lnTo>
                    <a:pt x="84" y="299"/>
                  </a:lnTo>
                  <a:lnTo>
                    <a:pt x="84"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0" name="Group 4">
            <a:extLst>
              <a:ext uri="{FF2B5EF4-FFF2-40B4-BE49-F238E27FC236}">
                <a16:creationId xmlns:a16="http://schemas.microsoft.com/office/drawing/2014/main" id="{230F9EF2-1E1A-9B81-2D9E-B9AFD7B34F30}"/>
              </a:ext>
            </a:extLst>
          </p:cNvPr>
          <p:cNvGrpSpPr>
            <a:grpSpLocks noChangeAspect="1"/>
          </p:cNvGrpSpPr>
          <p:nvPr/>
        </p:nvGrpSpPr>
        <p:grpSpPr bwMode="auto">
          <a:xfrm>
            <a:off x="4292930" y="3781529"/>
            <a:ext cx="358282" cy="359029"/>
            <a:chOff x="3601" y="1920"/>
            <a:chExt cx="480" cy="481"/>
          </a:xfrm>
          <a:solidFill>
            <a:schemeClr val="accent1"/>
          </a:solidFill>
        </p:grpSpPr>
        <p:sp>
          <p:nvSpPr>
            <p:cNvPr id="61" name="Freeform 5">
              <a:extLst>
                <a:ext uri="{FF2B5EF4-FFF2-40B4-BE49-F238E27FC236}">
                  <a16:creationId xmlns:a16="http://schemas.microsoft.com/office/drawing/2014/main" id="{4453B07D-E689-77C6-F622-82F42DE3BA4A}"/>
                </a:ext>
              </a:extLst>
            </p:cNvPr>
            <p:cNvSpPr>
              <a:spLocks noEditPoints="1"/>
            </p:cNvSpPr>
            <p:nvPr/>
          </p:nvSpPr>
          <p:spPr bwMode="auto">
            <a:xfrm>
              <a:off x="3601" y="1920"/>
              <a:ext cx="480" cy="481"/>
            </a:xfrm>
            <a:custGeom>
              <a:avLst/>
              <a:gdLst>
                <a:gd name="T0" fmla="*/ 479 w 480"/>
                <a:gd name="T1" fmla="*/ 230 h 481"/>
                <a:gd name="T2" fmla="*/ 466 w 480"/>
                <a:gd name="T3" fmla="*/ 163 h 481"/>
                <a:gd name="T4" fmla="*/ 437 w 480"/>
                <a:gd name="T5" fmla="*/ 105 h 481"/>
                <a:gd name="T6" fmla="*/ 393 w 480"/>
                <a:gd name="T7" fmla="*/ 56 h 481"/>
                <a:gd name="T8" fmla="*/ 337 w 480"/>
                <a:gd name="T9" fmla="*/ 21 h 481"/>
                <a:gd name="T10" fmla="*/ 273 w 480"/>
                <a:gd name="T11" fmla="*/ 3 h 481"/>
                <a:gd name="T12" fmla="*/ 229 w 480"/>
                <a:gd name="T13" fmla="*/ 0 h 481"/>
                <a:gd name="T14" fmla="*/ 206 w 480"/>
                <a:gd name="T15" fmla="*/ 3 h 481"/>
                <a:gd name="T16" fmla="*/ 142 w 480"/>
                <a:gd name="T17" fmla="*/ 21 h 481"/>
                <a:gd name="T18" fmla="*/ 87 w 480"/>
                <a:gd name="T19" fmla="*/ 56 h 481"/>
                <a:gd name="T20" fmla="*/ 42 w 480"/>
                <a:gd name="T21" fmla="*/ 105 h 481"/>
                <a:gd name="T22" fmla="*/ 13 w 480"/>
                <a:gd name="T23" fmla="*/ 163 h 481"/>
                <a:gd name="T24" fmla="*/ 0 w 480"/>
                <a:gd name="T25" fmla="*/ 230 h 481"/>
                <a:gd name="T26" fmla="*/ 0 w 480"/>
                <a:gd name="T27" fmla="*/ 251 h 481"/>
                <a:gd name="T28" fmla="*/ 6 w 480"/>
                <a:gd name="T29" fmla="*/ 297 h 481"/>
                <a:gd name="T30" fmla="*/ 31 w 480"/>
                <a:gd name="T31" fmla="*/ 358 h 481"/>
                <a:gd name="T32" fmla="*/ 70 w 480"/>
                <a:gd name="T33" fmla="*/ 411 h 481"/>
                <a:gd name="T34" fmla="*/ 123 w 480"/>
                <a:gd name="T35" fmla="*/ 450 h 481"/>
                <a:gd name="T36" fmla="*/ 184 w 480"/>
                <a:gd name="T37" fmla="*/ 475 h 481"/>
                <a:gd name="T38" fmla="*/ 229 w 480"/>
                <a:gd name="T39" fmla="*/ 481 h 481"/>
                <a:gd name="T40" fmla="*/ 251 w 480"/>
                <a:gd name="T41" fmla="*/ 481 h 481"/>
                <a:gd name="T42" fmla="*/ 317 w 480"/>
                <a:gd name="T43" fmla="*/ 468 h 481"/>
                <a:gd name="T44" fmla="*/ 375 w 480"/>
                <a:gd name="T45" fmla="*/ 439 h 481"/>
                <a:gd name="T46" fmla="*/ 424 w 480"/>
                <a:gd name="T47" fmla="*/ 394 h 481"/>
                <a:gd name="T48" fmla="*/ 459 w 480"/>
                <a:gd name="T49" fmla="*/ 339 h 481"/>
                <a:gd name="T50" fmla="*/ 477 w 480"/>
                <a:gd name="T51" fmla="*/ 274 h 481"/>
                <a:gd name="T52" fmla="*/ 480 w 480"/>
                <a:gd name="T53" fmla="*/ 230 h 481"/>
                <a:gd name="T54" fmla="*/ 229 w 480"/>
                <a:gd name="T55" fmla="*/ 425 h 481"/>
                <a:gd name="T56" fmla="*/ 208 w 480"/>
                <a:gd name="T57" fmla="*/ 458 h 481"/>
                <a:gd name="T58" fmla="*/ 150 w 480"/>
                <a:gd name="T59" fmla="*/ 441 h 481"/>
                <a:gd name="T60" fmla="*/ 99 w 480"/>
                <a:gd name="T61" fmla="*/ 409 h 481"/>
                <a:gd name="T62" fmla="*/ 60 w 480"/>
                <a:gd name="T63" fmla="*/ 366 h 481"/>
                <a:gd name="T64" fmla="*/ 33 w 480"/>
                <a:gd name="T65" fmla="*/ 311 h 481"/>
                <a:gd name="T66" fmla="*/ 21 w 480"/>
                <a:gd name="T67" fmla="*/ 251 h 481"/>
                <a:gd name="T68" fmla="*/ 21 w 480"/>
                <a:gd name="T69" fmla="*/ 230 h 481"/>
                <a:gd name="T70" fmla="*/ 27 w 480"/>
                <a:gd name="T71" fmla="*/ 190 h 481"/>
                <a:gd name="T72" fmla="*/ 50 w 480"/>
                <a:gd name="T73" fmla="*/ 133 h 481"/>
                <a:gd name="T74" fmla="*/ 86 w 480"/>
                <a:gd name="T75" fmla="*/ 86 h 481"/>
                <a:gd name="T76" fmla="*/ 132 w 480"/>
                <a:gd name="T77" fmla="*/ 50 h 481"/>
                <a:gd name="T78" fmla="*/ 188 w 480"/>
                <a:gd name="T79" fmla="*/ 28 h 481"/>
                <a:gd name="T80" fmla="*/ 229 w 480"/>
                <a:gd name="T81" fmla="*/ 56 h 481"/>
                <a:gd name="T82" fmla="*/ 251 w 480"/>
                <a:gd name="T83" fmla="*/ 22 h 481"/>
                <a:gd name="T84" fmla="*/ 311 w 480"/>
                <a:gd name="T85" fmla="*/ 34 h 481"/>
                <a:gd name="T86" fmla="*/ 364 w 480"/>
                <a:gd name="T87" fmla="*/ 60 h 481"/>
                <a:gd name="T88" fmla="*/ 408 w 480"/>
                <a:gd name="T89" fmla="*/ 101 h 481"/>
                <a:gd name="T90" fmla="*/ 439 w 480"/>
                <a:gd name="T91" fmla="*/ 152 h 481"/>
                <a:gd name="T92" fmla="*/ 456 w 480"/>
                <a:gd name="T93" fmla="*/ 210 h 481"/>
                <a:gd name="T94" fmla="*/ 424 w 480"/>
                <a:gd name="T95" fmla="*/ 251 h 481"/>
                <a:gd name="T96" fmla="*/ 456 w 480"/>
                <a:gd name="T97" fmla="*/ 272 h 481"/>
                <a:gd name="T98" fmla="*/ 439 w 480"/>
                <a:gd name="T99" fmla="*/ 331 h 481"/>
                <a:gd name="T100" fmla="*/ 408 w 480"/>
                <a:gd name="T101" fmla="*/ 381 h 481"/>
                <a:gd name="T102" fmla="*/ 364 w 480"/>
                <a:gd name="T103" fmla="*/ 421 h 481"/>
                <a:gd name="T104" fmla="*/ 311 w 480"/>
                <a:gd name="T105" fmla="*/ 448 h 481"/>
                <a:gd name="T106" fmla="*/ 251 w 480"/>
                <a:gd name="T107" fmla="*/ 46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0" h="481">
                  <a:moveTo>
                    <a:pt x="480" y="230"/>
                  </a:moveTo>
                  <a:lnTo>
                    <a:pt x="479" y="230"/>
                  </a:lnTo>
                  <a:lnTo>
                    <a:pt x="479" y="230"/>
                  </a:lnTo>
                  <a:lnTo>
                    <a:pt x="477" y="208"/>
                  </a:lnTo>
                  <a:lnTo>
                    <a:pt x="473" y="185"/>
                  </a:lnTo>
                  <a:lnTo>
                    <a:pt x="466" y="163"/>
                  </a:lnTo>
                  <a:lnTo>
                    <a:pt x="459" y="143"/>
                  </a:lnTo>
                  <a:lnTo>
                    <a:pt x="448" y="123"/>
                  </a:lnTo>
                  <a:lnTo>
                    <a:pt x="437" y="105"/>
                  </a:lnTo>
                  <a:lnTo>
                    <a:pt x="424" y="87"/>
                  </a:lnTo>
                  <a:lnTo>
                    <a:pt x="409" y="71"/>
                  </a:lnTo>
                  <a:lnTo>
                    <a:pt x="393" y="56"/>
                  </a:lnTo>
                  <a:lnTo>
                    <a:pt x="375" y="43"/>
                  </a:lnTo>
                  <a:lnTo>
                    <a:pt x="357" y="32"/>
                  </a:lnTo>
                  <a:lnTo>
                    <a:pt x="337" y="21"/>
                  </a:lnTo>
                  <a:lnTo>
                    <a:pt x="317" y="14"/>
                  </a:lnTo>
                  <a:lnTo>
                    <a:pt x="296" y="7"/>
                  </a:lnTo>
                  <a:lnTo>
                    <a:pt x="273" y="3"/>
                  </a:lnTo>
                  <a:lnTo>
                    <a:pt x="251" y="1"/>
                  </a:lnTo>
                  <a:lnTo>
                    <a:pt x="251" y="0"/>
                  </a:lnTo>
                  <a:lnTo>
                    <a:pt x="229" y="0"/>
                  </a:lnTo>
                  <a:lnTo>
                    <a:pt x="229" y="1"/>
                  </a:lnTo>
                  <a:lnTo>
                    <a:pt x="229" y="1"/>
                  </a:lnTo>
                  <a:lnTo>
                    <a:pt x="206" y="3"/>
                  </a:lnTo>
                  <a:lnTo>
                    <a:pt x="184" y="7"/>
                  </a:lnTo>
                  <a:lnTo>
                    <a:pt x="163" y="14"/>
                  </a:lnTo>
                  <a:lnTo>
                    <a:pt x="142" y="21"/>
                  </a:lnTo>
                  <a:lnTo>
                    <a:pt x="123" y="32"/>
                  </a:lnTo>
                  <a:lnTo>
                    <a:pt x="104" y="43"/>
                  </a:lnTo>
                  <a:lnTo>
                    <a:pt x="87" y="56"/>
                  </a:lnTo>
                  <a:lnTo>
                    <a:pt x="70" y="71"/>
                  </a:lnTo>
                  <a:lnTo>
                    <a:pt x="56" y="87"/>
                  </a:lnTo>
                  <a:lnTo>
                    <a:pt x="42" y="105"/>
                  </a:lnTo>
                  <a:lnTo>
                    <a:pt x="31" y="123"/>
                  </a:lnTo>
                  <a:lnTo>
                    <a:pt x="21" y="143"/>
                  </a:lnTo>
                  <a:lnTo>
                    <a:pt x="13" y="163"/>
                  </a:lnTo>
                  <a:lnTo>
                    <a:pt x="6" y="185"/>
                  </a:lnTo>
                  <a:lnTo>
                    <a:pt x="2" y="208"/>
                  </a:lnTo>
                  <a:lnTo>
                    <a:pt x="0" y="230"/>
                  </a:lnTo>
                  <a:lnTo>
                    <a:pt x="0" y="230"/>
                  </a:lnTo>
                  <a:lnTo>
                    <a:pt x="0" y="251"/>
                  </a:lnTo>
                  <a:lnTo>
                    <a:pt x="0" y="251"/>
                  </a:lnTo>
                  <a:lnTo>
                    <a:pt x="0" y="251"/>
                  </a:lnTo>
                  <a:lnTo>
                    <a:pt x="2" y="274"/>
                  </a:lnTo>
                  <a:lnTo>
                    <a:pt x="6" y="297"/>
                  </a:lnTo>
                  <a:lnTo>
                    <a:pt x="13" y="318"/>
                  </a:lnTo>
                  <a:lnTo>
                    <a:pt x="21" y="339"/>
                  </a:lnTo>
                  <a:lnTo>
                    <a:pt x="31" y="358"/>
                  </a:lnTo>
                  <a:lnTo>
                    <a:pt x="42" y="377"/>
                  </a:lnTo>
                  <a:lnTo>
                    <a:pt x="56" y="394"/>
                  </a:lnTo>
                  <a:lnTo>
                    <a:pt x="70" y="411"/>
                  </a:lnTo>
                  <a:lnTo>
                    <a:pt x="87" y="425"/>
                  </a:lnTo>
                  <a:lnTo>
                    <a:pt x="104" y="439"/>
                  </a:lnTo>
                  <a:lnTo>
                    <a:pt x="123" y="450"/>
                  </a:lnTo>
                  <a:lnTo>
                    <a:pt x="142" y="460"/>
                  </a:lnTo>
                  <a:lnTo>
                    <a:pt x="163" y="468"/>
                  </a:lnTo>
                  <a:lnTo>
                    <a:pt x="184" y="475"/>
                  </a:lnTo>
                  <a:lnTo>
                    <a:pt x="206" y="479"/>
                  </a:lnTo>
                  <a:lnTo>
                    <a:pt x="229" y="481"/>
                  </a:lnTo>
                  <a:lnTo>
                    <a:pt x="229" y="481"/>
                  </a:lnTo>
                  <a:lnTo>
                    <a:pt x="251" y="481"/>
                  </a:lnTo>
                  <a:lnTo>
                    <a:pt x="251" y="481"/>
                  </a:lnTo>
                  <a:lnTo>
                    <a:pt x="251" y="481"/>
                  </a:lnTo>
                  <a:lnTo>
                    <a:pt x="273" y="479"/>
                  </a:lnTo>
                  <a:lnTo>
                    <a:pt x="296" y="475"/>
                  </a:lnTo>
                  <a:lnTo>
                    <a:pt x="317" y="468"/>
                  </a:lnTo>
                  <a:lnTo>
                    <a:pt x="337" y="460"/>
                  </a:lnTo>
                  <a:lnTo>
                    <a:pt x="357" y="450"/>
                  </a:lnTo>
                  <a:lnTo>
                    <a:pt x="375" y="439"/>
                  </a:lnTo>
                  <a:lnTo>
                    <a:pt x="393" y="425"/>
                  </a:lnTo>
                  <a:lnTo>
                    <a:pt x="409" y="411"/>
                  </a:lnTo>
                  <a:lnTo>
                    <a:pt x="424" y="394"/>
                  </a:lnTo>
                  <a:lnTo>
                    <a:pt x="437" y="377"/>
                  </a:lnTo>
                  <a:lnTo>
                    <a:pt x="448" y="358"/>
                  </a:lnTo>
                  <a:lnTo>
                    <a:pt x="459" y="339"/>
                  </a:lnTo>
                  <a:lnTo>
                    <a:pt x="466" y="318"/>
                  </a:lnTo>
                  <a:lnTo>
                    <a:pt x="473" y="297"/>
                  </a:lnTo>
                  <a:lnTo>
                    <a:pt x="477" y="274"/>
                  </a:lnTo>
                  <a:lnTo>
                    <a:pt x="479" y="251"/>
                  </a:lnTo>
                  <a:lnTo>
                    <a:pt x="480" y="251"/>
                  </a:lnTo>
                  <a:lnTo>
                    <a:pt x="480" y="230"/>
                  </a:lnTo>
                  <a:close/>
                  <a:moveTo>
                    <a:pt x="251" y="460"/>
                  </a:moveTo>
                  <a:lnTo>
                    <a:pt x="251" y="425"/>
                  </a:lnTo>
                  <a:lnTo>
                    <a:pt x="229" y="425"/>
                  </a:lnTo>
                  <a:lnTo>
                    <a:pt x="229" y="460"/>
                  </a:lnTo>
                  <a:lnTo>
                    <a:pt x="229" y="460"/>
                  </a:lnTo>
                  <a:lnTo>
                    <a:pt x="208" y="458"/>
                  </a:lnTo>
                  <a:lnTo>
                    <a:pt x="188" y="453"/>
                  </a:lnTo>
                  <a:lnTo>
                    <a:pt x="169" y="448"/>
                  </a:lnTo>
                  <a:lnTo>
                    <a:pt x="150" y="441"/>
                  </a:lnTo>
                  <a:lnTo>
                    <a:pt x="132" y="431"/>
                  </a:lnTo>
                  <a:lnTo>
                    <a:pt x="115" y="421"/>
                  </a:lnTo>
                  <a:lnTo>
                    <a:pt x="99" y="409"/>
                  </a:lnTo>
                  <a:lnTo>
                    <a:pt x="86" y="395"/>
                  </a:lnTo>
                  <a:lnTo>
                    <a:pt x="72" y="381"/>
                  </a:lnTo>
                  <a:lnTo>
                    <a:pt x="60" y="366"/>
                  </a:lnTo>
                  <a:lnTo>
                    <a:pt x="50" y="349"/>
                  </a:lnTo>
                  <a:lnTo>
                    <a:pt x="40" y="331"/>
                  </a:lnTo>
                  <a:lnTo>
                    <a:pt x="33" y="311"/>
                  </a:lnTo>
                  <a:lnTo>
                    <a:pt x="27" y="292"/>
                  </a:lnTo>
                  <a:lnTo>
                    <a:pt x="23" y="272"/>
                  </a:lnTo>
                  <a:lnTo>
                    <a:pt x="21" y="251"/>
                  </a:lnTo>
                  <a:lnTo>
                    <a:pt x="56" y="251"/>
                  </a:lnTo>
                  <a:lnTo>
                    <a:pt x="56" y="230"/>
                  </a:lnTo>
                  <a:lnTo>
                    <a:pt x="21" y="230"/>
                  </a:lnTo>
                  <a:lnTo>
                    <a:pt x="21" y="230"/>
                  </a:lnTo>
                  <a:lnTo>
                    <a:pt x="23" y="210"/>
                  </a:lnTo>
                  <a:lnTo>
                    <a:pt x="27" y="190"/>
                  </a:lnTo>
                  <a:lnTo>
                    <a:pt x="33" y="170"/>
                  </a:lnTo>
                  <a:lnTo>
                    <a:pt x="40" y="152"/>
                  </a:lnTo>
                  <a:lnTo>
                    <a:pt x="50" y="133"/>
                  </a:lnTo>
                  <a:lnTo>
                    <a:pt x="60" y="117"/>
                  </a:lnTo>
                  <a:lnTo>
                    <a:pt x="72" y="101"/>
                  </a:lnTo>
                  <a:lnTo>
                    <a:pt x="86" y="86"/>
                  </a:lnTo>
                  <a:lnTo>
                    <a:pt x="99" y="73"/>
                  </a:lnTo>
                  <a:lnTo>
                    <a:pt x="115" y="60"/>
                  </a:lnTo>
                  <a:lnTo>
                    <a:pt x="132" y="50"/>
                  </a:lnTo>
                  <a:lnTo>
                    <a:pt x="150" y="41"/>
                  </a:lnTo>
                  <a:lnTo>
                    <a:pt x="169" y="34"/>
                  </a:lnTo>
                  <a:lnTo>
                    <a:pt x="188" y="28"/>
                  </a:lnTo>
                  <a:lnTo>
                    <a:pt x="208" y="24"/>
                  </a:lnTo>
                  <a:lnTo>
                    <a:pt x="229" y="22"/>
                  </a:lnTo>
                  <a:lnTo>
                    <a:pt x="229" y="56"/>
                  </a:lnTo>
                  <a:lnTo>
                    <a:pt x="251" y="56"/>
                  </a:lnTo>
                  <a:lnTo>
                    <a:pt x="251" y="22"/>
                  </a:lnTo>
                  <a:lnTo>
                    <a:pt x="251" y="22"/>
                  </a:lnTo>
                  <a:lnTo>
                    <a:pt x="271" y="24"/>
                  </a:lnTo>
                  <a:lnTo>
                    <a:pt x="291" y="28"/>
                  </a:lnTo>
                  <a:lnTo>
                    <a:pt x="311" y="34"/>
                  </a:lnTo>
                  <a:lnTo>
                    <a:pt x="330" y="41"/>
                  </a:lnTo>
                  <a:lnTo>
                    <a:pt x="347" y="50"/>
                  </a:lnTo>
                  <a:lnTo>
                    <a:pt x="364" y="60"/>
                  </a:lnTo>
                  <a:lnTo>
                    <a:pt x="380" y="73"/>
                  </a:lnTo>
                  <a:lnTo>
                    <a:pt x="394" y="86"/>
                  </a:lnTo>
                  <a:lnTo>
                    <a:pt x="408" y="101"/>
                  </a:lnTo>
                  <a:lnTo>
                    <a:pt x="420" y="117"/>
                  </a:lnTo>
                  <a:lnTo>
                    <a:pt x="430" y="133"/>
                  </a:lnTo>
                  <a:lnTo>
                    <a:pt x="439" y="152"/>
                  </a:lnTo>
                  <a:lnTo>
                    <a:pt x="446" y="170"/>
                  </a:lnTo>
                  <a:lnTo>
                    <a:pt x="453" y="190"/>
                  </a:lnTo>
                  <a:lnTo>
                    <a:pt x="456" y="210"/>
                  </a:lnTo>
                  <a:lnTo>
                    <a:pt x="458" y="230"/>
                  </a:lnTo>
                  <a:lnTo>
                    <a:pt x="424" y="230"/>
                  </a:lnTo>
                  <a:lnTo>
                    <a:pt x="424" y="251"/>
                  </a:lnTo>
                  <a:lnTo>
                    <a:pt x="458" y="251"/>
                  </a:lnTo>
                  <a:lnTo>
                    <a:pt x="458" y="251"/>
                  </a:lnTo>
                  <a:lnTo>
                    <a:pt x="456" y="272"/>
                  </a:lnTo>
                  <a:lnTo>
                    <a:pt x="453" y="292"/>
                  </a:lnTo>
                  <a:lnTo>
                    <a:pt x="446" y="311"/>
                  </a:lnTo>
                  <a:lnTo>
                    <a:pt x="439" y="331"/>
                  </a:lnTo>
                  <a:lnTo>
                    <a:pt x="430" y="349"/>
                  </a:lnTo>
                  <a:lnTo>
                    <a:pt x="420" y="366"/>
                  </a:lnTo>
                  <a:lnTo>
                    <a:pt x="408" y="381"/>
                  </a:lnTo>
                  <a:lnTo>
                    <a:pt x="394" y="395"/>
                  </a:lnTo>
                  <a:lnTo>
                    <a:pt x="380" y="409"/>
                  </a:lnTo>
                  <a:lnTo>
                    <a:pt x="364" y="421"/>
                  </a:lnTo>
                  <a:lnTo>
                    <a:pt x="347" y="431"/>
                  </a:lnTo>
                  <a:lnTo>
                    <a:pt x="330" y="441"/>
                  </a:lnTo>
                  <a:lnTo>
                    <a:pt x="311" y="448"/>
                  </a:lnTo>
                  <a:lnTo>
                    <a:pt x="291" y="453"/>
                  </a:lnTo>
                  <a:lnTo>
                    <a:pt x="271" y="458"/>
                  </a:lnTo>
                  <a:lnTo>
                    <a:pt x="251" y="460"/>
                  </a:lnTo>
                  <a:lnTo>
                    <a:pt x="251"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6">
              <a:extLst>
                <a:ext uri="{FF2B5EF4-FFF2-40B4-BE49-F238E27FC236}">
                  <a16:creationId xmlns:a16="http://schemas.microsoft.com/office/drawing/2014/main" id="{E9187522-B9A3-696A-941F-271D763F5E26}"/>
                </a:ext>
              </a:extLst>
            </p:cNvPr>
            <p:cNvSpPr>
              <a:spLocks/>
            </p:cNvSpPr>
            <p:nvPr/>
          </p:nvSpPr>
          <p:spPr bwMode="auto">
            <a:xfrm>
              <a:off x="3755" y="2019"/>
              <a:ext cx="185" cy="158"/>
            </a:xfrm>
            <a:custGeom>
              <a:avLst/>
              <a:gdLst>
                <a:gd name="T0" fmla="*/ 179 w 185"/>
                <a:gd name="T1" fmla="*/ 80 h 158"/>
                <a:gd name="T2" fmla="*/ 97 w 185"/>
                <a:gd name="T3" fmla="*/ 129 h 158"/>
                <a:gd name="T4" fmla="*/ 97 w 185"/>
                <a:gd name="T5" fmla="*/ 129 h 158"/>
                <a:gd name="T6" fmla="*/ 91 w 185"/>
                <a:gd name="T7" fmla="*/ 126 h 158"/>
                <a:gd name="T8" fmla="*/ 86 w 185"/>
                <a:gd name="T9" fmla="*/ 125 h 158"/>
                <a:gd name="T10" fmla="*/ 86 w 185"/>
                <a:gd name="T11" fmla="*/ 125 h 158"/>
                <a:gd name="T12" fmla="*/ 84 w 185"/>
                <a:gd name="T13" fmla="*/ 125 h 158"/>
                <a:gd name="T14" fmla="*/ 11 w 185"/>
                <a:gd name="T15" fmla="*/ 0 h 158"/>
                <a:gd name="T16" fmla="*/ 0 w 185"/>
                <a:gd name="T17" fmla="*/ 6 h 158"/>
                <a:gd name="T18" fmla="*/ 72 w 185"/>
                <a:gd name="T19" fmla="*/ 131 h 158"/>
                <a:gd name="T20" fmla="*/ 72 w 185"/>
                <a:gd name="T21" fmla="*/ 131 h 158"/>
                <a:gd name="T22" fmla="*/ 70 w 185"/>
                <a:gd name="T23" fmla="*/ 136 h 158"/>
                <a:gd name="T24" fmla="*/ 69 w 185"/>
                <a:gd name="T25" fmla="*/ 142 h 158"/>
                <a:gd name="T26" fmla="*/ 69 w 185"/>
                <a:gd name="T27" fmla="*/ 142 h 158"/>
                <a:gd name="T28" fmla="*/ 69 w 185"/>
                <a:gd name="T29" fmla="*/ 145 h 158"/>
                <a:gd name="T30" fmla="*/ 70 w 185"/>
                <a:gd name="T31" fmla="*/ 148 h 158"/>
                <a:gd name="T32" fmla="*/ 73 w 185"/>
                <a:gd name="T33" fmla="*/ 154 h 158"/>
                <a:gd name="T34" fmla="*/ 80 w 185"/>
                <a:gd name="T35" fmla="*/ 157 h 158"/>
                <a:gd name="T36" fmla="*/ 83 w 185"/>
                <a:gd name="T37" fmla="*/ 158 h 158"/>
                <a:gd name="T38" fmla="*/ 86 w 185"/>
                <a:gd name="T39" fmla="*/ 158 h 158"/>
                <a:gd name="T40" fmla="*/ 86 w 185"/>
                <a:gd name="T41" fmla="*/ 158 h 158"/>
                <a:gd name="T42" fmla="*/ 89 w 185"/>
                <a:gd name="T43" fmla="*/ 158 h 158"/>
                <a:gd name="T44" fmla="*/ 92 w 185"/>
                <a:gd name="T45" fmla="*/ 157 h 158"/>
                <a:gd name="T46" fmla="*/ 98 w 185"/>
                <a:gd name="T47" fmla="*/ 154 h 158"/>
                <a:gd name="T48" fmla="*/ 102 w 185"/>
                <a:gd name="T49" fmla="*/ 148 h 158"/>
                <a:gd name="T50" fmla="*/ 102 w 185"/>
                <a:gd name="T51" fmla="*/ 145 h 158"/>
                <a:gd name="T52" fmla="*/ 103 w 185"/>
                <a:gd name="T53" fmla="*/ 142 h 158"/>
                <a:gd name="T54" fmla="*/ 103 w 185"/>
                <a:gd name="T55" fmla="*/ 142 h 158"/>
                <a:gd name="T56" fmla="*/ 103 w 185"/>
                <a:gd name="T57" fmla="*/ 139 h 158"/>
                <a:gd name="T58" fmla="*/ 185 w 185"/>
                <a:gd name="T59" fmla="*/ 92 h 158"/>
                <a:gd name="T60" fmla="*/ 179 w 185"/>
                <a:gd name="T61" fmla="*/ 8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5" h="158">
                  <a:moveTo>
                    <a:pt x="179" y="80"/>
                  </a:moveTo>
                  <a:lnTo>
                    <a:pt x="97" y="129"/>
                  </a:lnTo>
                  <a:lnTo>
                    <a:pt x="97" y="129"/>
                  </a:lnTo>
                  <a:lnTo>
                    <a:pt x="91" y="126"/>
                  </a:lnTo>
                  <a:lnTo>
                    <a:pt x="86" y="125"/>
                  </a:lnTo>
                  <a:lnTo>
                    <a:pt x="86" y="125"/>
                  </a:lnTo>
                  <a:lnTo>
                    <a:pt x="84" y="125"/>
                  </a:lnTo>
                  <a:lnTo>
                    <a:pt x="11" y="0"/>
                  </a:lnTo>
                  <a:lnTo>
                    <a:pt x="0" y="6"/>
                  </a:lnTo>
                  <a:lnTo>
                    <a:pt x="72" y="131"/>
                  </a:lnTo>
                  <a:lnTo>
                    <a:pt x="72" y="131"/>
                  </a:lnTo>
                  <a:lnTo>
                    <a:pt x="70" y="136"/>
                  </a:lnTo>
                  <a:lnTo>
                    <a:pt x="69" y="142"/>
                  </a:lnTo>
                  <a:lnTo>
                    <a:pt x="69" y="142"/>
                  </a:lnTo>
                  <a:lnTo>
                    <a:pt x="69" y="145"/>
                  </a:lnTo>
                  <a:lnTo>
                    <a:pt x="70" y="148"/>
                  </a:lnTo>
                  <a:lnTo>
                    <a:pt x="73" y="154"/>
                  </a:lnTo>
                  <a:lnTo>
                    <a:pt x="80" y="157"/>
                  </a:lnTo>
                  <a:lnTo>
                    <a:pt x="83" y="158"/>
                  </a:lnTo>
                  <a:lnTo>
                    <a:pt x="86" y="158"/>
                  </a:lnTo>
                  <a:lnTo>
                    <a:pt x="86" y="158"/>
                  </a:lnTo>
                  <a:lnTo>
                    <a:pt x="89" y="158"/>
                  </a:lnTo>
                  <a:lnTo>
                    <a:pt x="92" y="157"/>
                  </a:lnTo>
                  <a:lnTo>
                    <a:pt x="98" y="154"/>
                  </a:lnTo>
                  <a:lnTo>
                    <a:pt x="102" y="148"/>
                  </a:lnTo>
                  <a:lnTo>
                    <a:pt x="102" y="145"/>
                  </a:lnTo>
                  <a:lnTo>
                    <a:pt x="103" y="142"/>
                  </a:lnTo>
                  <a:lnTo>
                    <a:pt x="103" y="142"/>
                  </a:lnTo>
                  <a:lnTo>
                    <a:pt x="103" y="139"/>
                  </a:lnTo>
                  <a:lnTo>
                    <a:pt x="185" y="92"/>
                  </a:lnTo>
                  <a:lnTo>
                    <a:pt x="17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3" name="Freeform: Shape 62">
            <a:extLst>
              <a:ext uri="{FF2B5EF4-FFF2-40B4-BE49-F238E27FC236}">
                <a16:creationId xmlns:a16="http://schemas.microsoft.com/office/drawing/2014/main" id="{A43B301A-FA77-5E60-50EE-0AB6B0D112C9}"/>
              </a:ext>
            </a:extLst>
          </p:cNvPr>
          <p:cNvSpPr>
            <a:spLocks noChangeArrowheads="1"/>
          </p:cNvSpPr>
          <p:nvPr/>
        </p:nvSpPr>
        <p:spPr bwMode="auto">
          <a:xfrm>
            <a:off x="4287741" y="2694957"/>
            <a:ext cx="358281" cy="340371"/>
          </a:xfrm>
          <a:custGeom>
            <a:avLst/>
            <a:gdLst>
              <a:gd name="connsiteX0" fmla="*/ 534988 w 709614"/>
              <a:gd name="connsiteY0" fmla="*/ 203200 h 709614"/>
              <a:gd name="connsiteX1" fmla="*/ 296863 w 709614"/>
              <a:gd name="connsiteY1" fmla="*/ 442913 h 709614"/>
              <a:gd name="connsiteX2" fmla="*/ 174626 w 709614"/>
              <a:gd name="connsiteY2" fmla="*/ 320675 h 709614"/>
              <a:gd name="connsiteX3" fmla="*/ 141288 w 709614"/>
              <a:gd name="connsiteY3" fmla="*/ 350838 h 709614"/>
              <a:gd name="connsiteX4" fmla="*/ 265113 w 709614"/>
              <a:gd name="connsiteY4" fmla="*/ 474663 h 709614"/>
              <a:gd name="connsiteX5" fmla="*/ 296863 w 709614"/>
              <a:gd name="connsiteY5" fmla="*/ 506413 h 709614"/>
              <a:gd name="connsiteX6" fmla="*/ 566738 w 709614"/>
              <a:gd name="connsiteY6" fmla="*/ 234950 h 709614"/>
              <a:gd name="connsiteX7" fmla="*/ 354807 w 709614"/>
              <a:gd name="connsiteY7" fmla="*/ 0 h 709614"/>
              <a:gd name="connsiteX8" fmla="*/ 709614 w 709614"/>
              <a:gd name="connsiteY8" fmla="*/ 354807 h 709614"/>
              <a:gd name="connsiteX9" fmla="*/ 354807 w 709614"/>
              <a:gd name="connsiteY9" fmla="*/ 709614 h 709614"/>
              <a:gd name="connsiteX10" fmla="*/ 0 w 709614"/>
              <a:gd name="connsiteY10" fmla="*/ 354807 h 709614"/>
              <a:gd name="connsiteX11" fmla="*/ 354807 w 709614"/>
              <a:gd name="connsiteY11" fmla="*/ 0 h 70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9614" h="709614">
                <a:moveTo>
                  <a:pt x="534988" y="203200"/>
                </a:moveTo>
                <a:lnTo>
                  <a:pt x="296863" y="442913"/>
                </a:lnTo>
                <a:lnTo>
                  <a:pt x="174626" y="320675"/>
                </a:lnTo>
                <a:lnTo>
                  <a:pt x="141288" y="350838"/>
                </a:lnTo>
                <a:lnTo>
                  <a:pt x="265113" y="474663"/>
                </a:lnTo>
                <a:lnTo>
                  <a:pt x="296863" y="506413"/>
                </a:lnTo>
                <a:lnTo>
                  <a:pt x="566738" y="234950"/>
                </a:lnTo>
                <a:close/>
                <a:moveTo>
                  <a:pt x="354807" y="0"/>
                </a:moveTo>
                <a:cubicBezTo>
                  <a:pt x="550761" y="0"/>
                  <a:pt x="709614" y="158853"/>
                  <a:pt x="709614" y="354807"/>
                </a:cubicBezTo>
                <a:cubicBezTo>
                  <a:pt x="709614" y="550761"/>
                  <a:pt x="550761" y="709614"/>
                  <a:pt x="354807" y="709614"/>
                </a:cubicBezTo>
                <a:cubicBezTo>
                  <a:pt x="158853" y="709614"/>
                  <a:pt x="0" y="550761"/>
                  <a:pt x="0" y="354807"/>
                </a:cubicBezTo>
                <a:cubicBezTo>
                  <a:pt x="0" y="158853"/>
                  <a:pt x="158853" y="0"/>
                  <a:pt x="35480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64" name="Freeform: Shape 63">
            <a:extLst>
              <a:ext uri="{FF2B5EF4-FFF2-40B4-BE49-F238E27FC236}">
                <a16:creationId xmlns:a16="http://schemas.microsoft.com/office/drawing/2014/main" id="{CE52F10F-79F9-B7B0-75F4-9465DA5DC18A}"/>
              </a:ext>
            </a:extLst>
          </p:cNvPr>
          <p:cNvSpPr>
            <a:spLocks noChangeArrowheads="1"/>
          </p:cNvSpPr>
          <p:nvPr/>
        </p:nvSpPr>
        <p:spPr bwMode="auto">
          <a:xfrm>
            <a:off x="6695160" y="3741443"/>
            <a:ext cx="358281" cy="340371"/>
          </a:xfrm>
          <a:custGeom>
            <a:avLst/>
            <a:gdLst>
              <a:gd name="connsiteX0" fmla="*/ 534988 w 709614"/>
              <a:gd name="connsiteY0" fmla="*/ 203200 h 709614"/>
              <a:gd name="connsiteX1" fmla="*/ 296863 w 709614"/>
              <a:gd name="connsiteY1" fmla="*/ 442913 h 709614"/>
              <a:gd name="connsiteX2" fmla="*/ 174626 w 709614"/>
              <a:gd name="connsiteY2" fmla="*/ 320675 h 709614"/>
              <a:gd name="connsiteX3" fmla="*/ 141288 w 709614"/>
              <a:gd name="connsiteY3" fmla="*/ 350838 h 709614"/>
              <a:gd name="connsiteX4" fmla="*/ 265113 w 709614"/>
              <a:gd name="connsiteY4" fmla="*/ 474663 h 709614"/>
              <a:gd name="connsiteX5" fmla="*/ 296863 w 709614"/>
              <a:gd name="connsiteY5" fmla="*/ 506413 h 709614"/>
              <a:gd name="connsiteX6" fmla="*/ 566738 w 709614"/>
              <a:gd name="connsiteY6" fmla="*/ 234950 h 709614"/>
              <a:gd name="connsiteX7" fmla="*/ 354807 w 709614"/>
              <a:gd name="connsiteY7" fmla="*/ 0 h 709614"/>
              <a:gd name="connsiteX8" fmla="*/ 709614 w 709614"/>
              <a:gd name="connsiteY8" fmla="*/ 354807 h 709614"/>
              <a:gd name="connsiteX9" fmla="*/ 354807 w 709614"/>
              <a:gd name="connsiteY9" fmla="*/ 709614 h 709614"/>
              <a:gd name="connsiteX10" fmla="*/ 0 w 709614"/>
              <a:gd name="connsiteY10" fmla="*/ 354807 h 709614"/>
              <a:gd name="connsiteX11" fmla="*/ 354807 w 709614"/>
              <a:gd name="connsiteY11" fmla="*/ 0 h 70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9614" h="709614">
                <a:moveTo>
                  <a:pt x="534988" y="203200"/>
                </a:moveTo>
                <a:lnTo>
                  <a:pt x="296863" y="442913"/>
                </a:lnTo>
                <a:lnTo>
                  <a:pt x="174626" y="320675"/>
                </a:lnTo>
                <a:lnTo>
                  <a:pt x="141288" y="350838"/>
                </a:lnTo>
                <a:lnTo>
                  <a:pt x="265113" y="474663"/>
                </a:lnTo>
                <a:lnTo>
                  <a:pt x="296863" y="506413"/>
                </a:lnTo>
                <a:lnTo>
                  <a:pt x="566738" y="234950"/>
                </a:lnTo>
                <a:close/>
                <a:moveTo>
                  <a:pt x="354807" y="0"/>
                </a:moveTo>
                <a:cubicBezTo>
                  <a:pt x="550761" y="0"/>
                  <a:pt x="709614" y="158853"/>
                  <a:pt x="709614" y="354807"/>
                </a:cubicBezTo>
                <a:cubicBezTo>
                  <a:pt x="709614" y="550761"/>
                  <a:pt x="550761" y="709614"/>
                  <a:pt x="354807" y="709614"/>
                </a:cubicBezTo>
                <a:cubicBezTo>
                  <a:pt x="158853" y="709614"/>
                  <a:pt x="0" y="550761"/>
                  <a:pt x="0" y="354807"/>
                </a:cubicBezTo>
                <a:cubicBezTo>
                  <a:pt x="0" y="158853"/>
                  <a:pt x="158853" y="0"/>
                  <a:pt x="35480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GB"/>
          </a:p>
        </p:txBody>
      </p:sp>
      <p:grpSp>
        <p:nvGrpSpPr>
          <p:cNvPr id="65" name="Group 4">
            <a:extLst>
              <a:ext uri="{FF2B5EF4-FFF2-40B4-BE49-F238E27FC236}">
                <a16:creationId xmlns:a16="http://schemas.microsoft.com/office/drawing/2014/main" id="{60D4BF5C-24FF-1AA3-BA9B-D5E82713130E}"/>
              </a:ext>
            </a:extLst>
          </p:cNvPr>
          <p:cNvGrpSpPr>
            <a:grpSpLocks noChangeAspect="1"/>
          </p:cNvGrpSpPr>
          <p:nvPr/>
        </p:nvGrpSpPr>
        <p:grpSpPr bwMode="auto">
          <a:xfrm>
            <a:off x="4261998" y="4895394"/>
            <a:ext cx="429850" cy="355522"/>
            <a:chOff x="3601" y="1962"/>
            <a:chExt cx="480" cy="397"/>
          </a:xfrm>
          <a:solidFill>
            <a:schemeClr val="accent1"/>
          </a:solidFill>
        </p:grpSpPr>
        <p:sp>
          <p:nvSpPr>
            <p:cNvPr id="66" name="Freeform 5">
              <a:extLst>
                <a:ext uri="{FF2B5EF4-FFF2-40B4-BE49-F238E27FC236}">
                  <a16:creationId xmlns:a16="http://schemas.microsoft.com/office/drawing/2014/main" id="{2D7E4278-80BE-1611-FCF9-0431BEDF2D83}"/>
                </a:ext>
              </a:extLst>
            </p:cNvPr>
            <p:cNvSpPr>
              <a:spLocks/>
            </p:cNvSpPr>
            <p:nvPr/>
          </p:nvSpPr>
          <p:spPr bwMode="auto">
            <a:xfrm>
              <a:off x="3830" y="2107"/>
              <a:ext cx="251" cy="252"/>
            </a:xfrm>
            <a:custGeom>
              <a:avLst/>
              <a:gdLst>
                <a:gd name="T0" fmla="*/ 230 w 251"/>
                <a:gd name="T1" fmla="*/ 42 h 252"/>
                <a:gd name="T2" fmla="*/ 230 w 251"/>
                <a:gd name="T3" fmla="*/ 42 h 252"/>
                <a:gd name="T4" fmla="*/ 225 w 251"/>
                <a:gd name="T5" fmla="*/ 31 h 252"/>
                <a:gd name="T6" fmla="*/ 218 w 251"/>
                <a:gd name="T7" fmla="*/ 20 h 252"/>
                <a:gd name="T8" fmla="*/ 212 w 251"/>
                <a:gd name="T9" fmla="*/ 9 h 252"/>
                <a:gd name="T10" fmla="*/ 204 w 251"/>
                <a:gd name="T11" fmla="*/ 0 h 252"/>
                <a:gd name="T12" fmla="*/ 0 w 251"/>
                <a:gd name="T13" fmla="*/ 92 h 252"/>
                <a:gd name="T14" fmla="*/ 0 w 251"/>
                <a:gd name="T15" fmla="*/ 92 h 252"/>
                <a:gd name="T16" fmla="*/ 4 w 251"/>
                <a:gd name="T17" fmla="*/ 105 h 252"/>
                <a:gd name="T18" fmla="*/ 7 w 251"/>
                <a:gd name="T19" fmla="*/ 117 h 252"/>
                <a:gd name="T20" fmla="*/ 11 w 251"/>
                <a:gd name="T21" fmla="*/ 129 h 252"/>
                <a:gd name="T22" fmla="*/ 16 w 251"/>
                <a:gd name="T23" fmla="*/ 141 h 252"/>
                <a:gd name="T24" fmla="*/ 16 w 251"/>
                <a:gd name="T25" fmla="*/ 141 h 252"/>
                <a:gd name="T26" fmla="*/ 24 w 251"/>
                <a:gd name="T27" fmla="*/ 156 h 252"/>
                <a:gd name="T28" fmla="*/ 32 w 251"/>
                <a:gd name="T29" fmla="*/ 170 h 252"/>
                <a:gd name="T30" fmla="*/ 42 w 251"/>
                <a:gd name="T31" fmla="*/ 184 h 252"/>
                <a:gd name="T32" fmla="*/ 52 w 251"/>
                <a:gd name="T33" fmla="*/ 196 h 252"/>
                <a:gd name="T34" fmla="*/ 63 w 251"/>
                <a:gd name="T35" fmla="*/ 208 h 252"/>
                <a:gd name="T36" fmla="*/ 73 w 251"/>
                <a:gd name="T37" fmla="*/ 218 h 252"/>
                <a:gd name="T38" fmla="*/ 85 w 251"/>
                <a:gd name="T39" fmla="*/ 227 h 252"/>
                <a:gd name="T40" fmla="*/ 97 w 251"/>
                <a:gd name="T41" fmla="*/ 234 h 252"/>
                <a:gd name="T42" fmla="*/ 109 w 251"/>
                <a:gd name="T43" fmla="*/ 241 h 252"/>
                <a:gd name="T44" fmla="*/ 121 w 251"/>
                <a:gd name="T45" fmla="*/ 246 h 252"/>
                <a:gd name="T46" fmla="*/ 134 w 251"/>
                <a:gd name="T47" fmla="*/ 250 h 252"/>
                <a:gd name="T48" fmla="*/ 145 w 251"/>
                <a:gd name="T49" fmla="*/ 252 h 252"/>
                <a:gd name="T50" fmla="*/ 158 w 251"/>
                <a:gd name="T51" fmla="*/ 252 h 252"/>
                <a:gd name="T52" fmla="*/ 170 w 251"/>
                <a:gd name="T53" fmla="*/ 252 h 252"/>
                <a:gd name="T54" fmla="*/ 181 w 251"/>
                <a:gd name="T55" fmla="*/ 249 h 252"/>
                <a:gd name="T56" fmla="*/ 193 w 251"/>
                <a:gd name="T57" fmla="*/ 245 h 252"/>
                <a:gd name="T58" fmla="*/ 193 w 251"/>
                <a:gd name="T59" fmla="*/ 245 h 252"/>
                <a:gd name="T60" fmla="*/ 203 w 251"/>
                <a:gd name="T61" fmla="*/ 239 h 252"/>
                <a:gd name="T62" fmla="*/ 213 w 251"/>
                <a:gd name="T63" fmla="*/ 232 h 252"/>
                <a:gd name="T64" fmla="*/ 221 w 251"/>
                <a:gd name="T65" fmla="*/ 224 h 252"/>
                <a:gd name="T66" fmla="*/ 229 w 251"/>
                <a:gd name="T67" fmla="*/ 213 h 252"/>
                <a:gd name="T68" fmla="*/ 235 w 251"/>
                <a:gd name="T69" fmla="*/ 203 h 252"/>
                <a:gd name="T70" fmla="*/ 240 w 251"/>
                <a:gd name="T71" fmla="*/ 191 h 252"/>
                <a:gd name="T72" fmla="*/ 245 w 251"/>
                <a:gd name="T73" fmla="*/ 178 h 252"/>
                <a:gd name="T74" fmla="*/ 248 w 251"/>
                <a:gd name="T75" fmla="*/ 165 h 252"/>
                <a:gd name="T76" fmla="*/ 250 w 251"/>
                <a:gd name="T77" fmla="*/ 151 h 252"/>
                <a:gd name="T78" fmla="*/ 251 w 251"/>
                <a:gd name="T79" fmla="*/ 136 h 252"/>
                <a:gd name="T80" fmla="*/ 250 w 251"/>
                <a:gd name="T81" fmla="*/ 122 h 252"/>
                <a:gd name="T82" fmla="*/ 249 w 251"/>
                <a:gd name="T83" fmla="*/ 106 h 252"/>
                <a:gd name="T84" fmla="*/ 246 w 251"/>
                <a:gd name="T85" fmla="*/ 90 h 252"/>
                <a:gd name="T86" fmla="*/ 241 w 251"/>
                <a:gd name="T87" fmla="*/ 75 h 252"/>
                <a:gd name="T88" fmla="*/ 236 w 251"/>
                <a:gd name="T89" fmla="*/ 59 h 252"/>
                <a:gd name="T90" fmla="*/ 230 w 251"/>
                <a:gd name="T91" fmla="*/ 42 h 252"/>
                <a:gd name="T92" fmla="*/ 230 w 251"/>
                <a:gd name="T93" fmla="*/ 4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1" h="252">
                  <a:moveTo>
                    <a:pt x="230" y="42"/>
                  </a:moveTo>
                  <a:lnTo>
                    <a:pt x="230" y="42"/>
                  </a:lnTo>
                  <a:lnTo>
                    <a:pt x="225" y="31"/>
                  </a:lnTo>
                  <a:lnTo>
                    <a:pt x="218" y="20"/>
                  </a:lnTo>
                  <a:lnTo>
                    <a:pt x="212" y="9"/>
                  </a:lnTo>
                  <a:lnTo>
                    <a:pt x="204" y="0"/>
                  </a:lnTo>
                  <a:lnTo>
                    <a:pt x="0" y="92"/>
                  </a:lnTo>
                  <a:lnTo>
                    <a:pt x="0" y="92"/>
                  </a:lnTo>
                  <a:lnTo>
                    <a:pt x="4" y="105"/>
                  </a:lnTo>
                  <a:lnTo>
                    <a:pt x="7" y="117"/>
                  </a:lnTo>
                  <a:lnTo>
                    <a:pt x="11" y="129"/>
                  </a:lnTo>
                  <a:lnTo>
                    <a:pt x="16" y="141"/>
                  </a:lnTo>
                  <a:lnTo>
                    <a:pt x="16" y="141"/>
                  </a:lnTo>
                  <a:lnTo>
                    <a:pt x="24" y="156"/>
                  </a:lnTo>
                  <a:lnTo>
                    <a:pt x="32" y="170"/>
                  </a:lnTo>
                  <a:lnTo>
                    <a:pt x="42" y="184"/>
                  </a:lnTo>
                  <a:lnTo>
                    <a:pt x="52" y="196"/>
                  </a:lnTo>
                  <a:lnTo>
                    <a:pt x="63" y="208"/>
                  </a:lnTo>
                  <a:lnTo>
                    <a:pt x="73" y="218"/>
                  </a:lnTo>
                  <a:lnTo>
                    <a:pt x="85" y="227"/>
                  </a:lnTo>
                  <a:lnTo>
                    <a:pt x="97" y="234"/>
                  </a:lnTo>
                  <a:lnTo>
                    <a:pt x="109" y="241"/>
                  </a:lnTo>
                  <a:lnTo>
                    <a:pt x="121" y="246"/>
                  </a:lnTo>
                  <a:lnTo>
                    <a:pt x="134" y="250"/>
                  </a:lnTo>
                  <a:lnTo>
                    <a:pt x="145" y="252"/>
                  </a:lnTo>
                  <a:lnTo>
                    <a:pt x="158" y="252"/>
                  </a:lnTo>
                  <a:lnTo>
                    <a:pt x="170" y="252"/>
                  </a:lnTo>
                  <a:lnTo>
                    <a:pt x="181" y="249"/>
                  </a:lnTo>
                  <a:lnTo>
                    <a:pt x="193" y="245"/>
                  </a:lnTo>
                  <a:lnTo>
                    <a:pt x="193" y="245"/>
                  </a:lnTo>
                  <a:lnTo>
                    <a:pt x="203" y="239"/>
                  </a:lnTo>
                  <a:lnTo>
                    <a:pt x="213" y="232"/>
                  </a:lnTo>
                  <a:lnTo>
                    <a:pt x="221" y="224"/>
                  </a:lnTo>
                  <a:lnTo>
                    <a:pt x="229" y="213"/>
                  </a:lnTo>
                  <a:lnTo>
                    <a:pt x="235" y="203"/>
                  </a:lnTo>
                  <a:lnTo>
                    <a:pt x="240" y="191"/>
                  </a:lnTo>
                  <a:lnTo>
                    <a:pt x="245" y="178"/>
                  </a:lnTo>
                  <a:lnTo>
                    <a:pt x="248" y="165"/>
                  </a:lnTo>
                  <a:lnTo>
                    <a:pt x="250" y="151"/>
                  </a:lnTo>
                  <a:lnTo>
                    <a:pt x="251" y="136"/>
                  </a:lnTo>
                  <a:lnTo>
                    <a:pt x="250" y="122"/>
                  </a:lnTo>
                  <a:lnTo>
                    <a:pt x="249" y="106"/>
                  </a:lnTo>
                  <a:lnTo>
                    <a:pt x="246" y="90"/>
                  </a:lnTo>
                  <a:lnTo>
                    <a:pt x="241" y="75"/>
                  </a:lnTo>
                  <a:lnTo>
                    <a:pt x="236" y="59"/>
                  </a:lnTo>
                  <a:lnTo>
                    <a:pt x="230" y="42"/>
                  </a:lnTo>
                  <a:lnTo>
                    <a:pt x="23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6">
              <a:extLst>
                <a:ext uri="{FF2B5EF4-FFF2-40B4-BE49-F238E27FC236}">
                  <a16:creationId xmlns:a16="http://schemas.microsoft.com/office/drawing/2014/main" id="{4EE97282-BAE9-56E6-DC86-F513FB25652D}"/>
                </a:ext>
              </a:extLst>
            </p:cNvPr>
            <p:cNvSpPr>
              <a:spLocks/>
            </p:cNvSpPr>
            <p:nvPr/>
          </p:nvSpPr>
          <p:spPr bwMode="auto">
            <a:xfrm>
              <a:off x="3893" y="2038"/>
              <a:ext cx="128" cy="92"/>
            </a:xfrm>
            <a:custGeom>
              <a:avLst/>
              <a:gdLst>
                <a:gd name="T0" fmla="*/ 1 w 128"/>
                <a:gd name="T1" fmla="*/ 6 h 92"/>
                <a:gd name="T2" fmla="*/ 40 w 128"/>
                <a:gd name="T3" fmla="*/ 92 h 92"/>
                <a:gd name="T4" fmla="*/ 128 w 128"/>
                <a:gd name="T5" fmla="*/ 52 h 92"/>
                <a:gd name="T6" fmla="*/ 128 w 128"/>
                <a:gd name="T7" fmla="*/ 52 h 92"/>
                <a:gd name="T8" fmla="*/ 113 w 128"/>
                <a:gd name="T9" fmla="*/ 37 h 92"/>
                <a:gd name="T10" fmla="*/ 98 w 128"/>
                <a:gd name="T11" fmla="*/ 25 h 92"/>
                <a:gd name="T12" fmla="*/ 82 w 128"/>
                <a:gd name="T13" fmla="*/ 14 h 92"/>
                <a:gd name="T14" fmla="*/ 65 w 128"/>
                <a:gd name="T15" fmla="*/ 7 h 92"/>
                <a:gd name="T16" fmla="*/ 57 w 128"/>
                <a:gd name="T17" fmla="*/ 4 h 92"/>
                <a:gd name="T18" fmla="*/ 48 w 128"/>
                <a:gd name="T19" fmla="*/ 2 h 92"/>
                <a:gd name="T20" fmla="*/ 40 w 128"/>
                <a:gd name="T21" fmla="*/ 1 h 92"/>
                <a:gd name="T22" fmla="*/ 32 w 128"/>
                <a:gd name="T23" fmla="*/ 0 h 92"/>
                <a:gd name="T24" fmla="*/ 24 w 128"/>
                <a:gd name="T25" fmla="*/ 0 h 92"/>
                <a:gd name="T26" fmla="*/ 16 w 128"/>
                <a:gd name="T27" fmla="*/ 1 h 92"/>
                <a:gd name="T28" fmla="*/ 7 w 128"/>
                <a:gd name="T29" fmla="*/ 2 h 92"/>
                <a:gd name="T30" fmla="*/ 0 w 128"/>
                <a:gd name="T31" fmla="*/ 4 h 92"/>
                <a:gd name="T32" fmla="*/ 0 w 128"/>
                <a:gd name="T33" fmla="*/ 4 h 92"/>
                <a:gd name="T34" fmla="*/ 1 w 128"/>
                <a:gd name="T35" fmla="*/ 6 h 92"/>
                <a:gd name="T36" fmla="*/ 1 w 128"/>
                <a:gd name="T37" fmla="*/ 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92">
                  <a:moveTo>
                    <a:pt x="1" y="6"/>
                  </a:moveTo>
                  <a:lnTo>
                    <a:pt x="40" y="92"/>
                  </a:lnTo>
                  <a:lnTo>
                    <a:pt x="128" y="52"/>
                  </a:lnTo>
                  <a:lnTo>
                    <a:pt x="128" y="52"/>
                  </a:lnTo>
                  <a:lnTo>
                    <a:pt x="113" y="37"/>
                  </a:lnTo>
                  <a:lnTo>
                    <a:pt x="98" y="25"/>
                  </a:lnTo>
                  <a:lnTo>
                    <a:pt x="82" y="14"/>
                  </a:lnTo>
                  <a:lnTo>
                    <a:pt x="65" y="7"/>
                  </a:lnTo>
                  <a:lnTo>
                    <a:pt x="57" y="4"/>
                  </a:lnTo>
                  <a:lnTo>
                    <a:pt x="48" y="2"/>
                  </a:lnTo>
                  <a:lnTo>
                    <a:pt x="40" y="1"/>
                  </a:lnTo>
                  <a:lnTo>
                    <a:pt x="32" y="0"/>
                  </a:lnTo>
                  <a:lnTo>
                    <a:pt x="24" y="0"/>
                  </a:lnTo>
                  <a:lnTo>
                    <a:pt x="16" y="1"/>
                  </a:lnTo>
                  <a:lnTo>
                    <a:pt x="7" y="2"/>
                  </a:lnTo>
                  <a:lnTo>
                    <a:pt x="0" y="4"/>
                  </a:lnTo>
                  <a:lnTo>
                    <a:pt x="0" y="4"/>
                  </a:lnTo>
                  <a:lnTo>
                    <a:pt x="1" y="6"/>
                  </a:ln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7">
              <a:extLst>
                <a:ext uri="{FF2B5EF4-FFF2-40B4-BE49-F238E27FC236}">
                  <a16:creationId xmlns:a16="http://schemas.microsoft.com/office/drawing/2014/main" id="{EDA4D613-A43A-41B7-4F57-D729CD5065AC}"/>
                </a:ext>
              </a:extLst>
            </p:cNvPr>
            <p:cNvSpPr>
              <a:spLocks/>
            </p:cNvSpPr>
            <p:nvPr/>
          </p:nvSpPr>
          <p:spPr bwMode="auto">
            <a:xfrm>
              <a:off x="3826" y="2051"/>
              <a:ext cx="88" cy="127"/>
            </a:xfrm>
            <a:custGeom>
              <a:avLst/>
              <a:gdLst>
                <a:gd name="T0" fmla="*/ 48 w 88"/>
                <a:gd name="T1" fmla="*/ 0 h 127"/>
                <a:gd name="T2" fmla="*/ 48 w 88"/>
                <a:gd name="T3" fmla="*/ 0 h 127"/>
                <a:gd name="T4" fmla="*/ 40 w 88"/>
                <a:gd name="T5" fmla="*/ 4 h 127"/>
                <a:gd name="T6" fmla="*/ 35 w 88"/>
                <a:gd name="T7" fmla="*/ 10 h 127"/>
                <a:gd name="T8" fmla="*/ 29 w 88"/>
                <a:gd name="T9" fmla="*/ 16 h 127"/>
                <a:gd name="T10" fmla="*/ 25 w 88"/>
                <a:gd name="T11" fmla="*/ 22 h 127"/>
                <a:gd name="T12" fmla="*/ 19 w 88"/>
                <a:gd name="T13" fmla="*/ 29 h 127"/>
                <a:gd name="T14" fmla="*/ 15 w 88"/>
                <a:gd name="T15" fmla="*/ 36 h 127"/>
                <a:gd name="T16" fmla="*/ 9 w 88"/>
                <a:gd name="T17" fmla="*/ 52 h 127"/>
                <a:gd name="T18" fmla="*/ 3 w 88"/>
                <a:gd name="T19" fmla="*/ 69 h 127"/>
                <a:gd name="T20" fmla="*/ 0 w 88"/>
                <a:gd name="T21" fmla="*/ 87 h 127"/>
                <a:gd name="T22" fmla="*/ 0 w 88"/>
                <a:gd name="T23" fmla="*/ 107 h 127"/>
                <a:gd name="T24" fmla="*/ 1 w 88"/>
                <a:gd name="T25" fmla="*/ 127 h 127"/>
                <a:gd name="T26" fmla="*/ 88 w 88"/>
                <a:gd name="T27" fmla="*/ 87 h 127"/>
                <a:gd name="T28" fmla="*/ 48 w 88"/>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27">
                  <a:moveTo>
                    <a:pt x="48" y="0"/>
                  </a:moveTo>
                  <a:lnTo>
                    <a:pt x="48" y="0"/>
                  </a:lnTo>
                  <a:lnTo>
                    <a:pt x="40" y="4"/>
                  </a:lnTo>
                  <a:lnTo>
                    <a:pt x="35" y="10"/>
                  </a:lnTo>
                  <a:lnTo>
                    <a:pt x="29" y="16"/>
                  </a:lnTo>
                  <a:lnTo>
                    <a:pt x="25" y="22"/>
                  </a:lnTo>
                  <a:lnTo>
                    <a:pt x="19" y="29"/>
                  </a:lnTo>
                  <a:lnTo>
                    <a:pt x="15" y="36"/>
                  </a:lnTo>
                  <a:lnTo>
                    <a:pt x="9" y="52"/>
                  </a:lnTo>
                  <a:lnTo>
                    <a:pt x="3" y="69"/>
                  </a:lnTo>
                  <a:lnTo>
                    <a:pt x="0" y="87"/>
                  </a:lnTo>
                  <a:lnTo>
                    <a:pt x="0" y="107"/>
                  </a:lnTo>
                  <a:lnTo>
                    <a:pt x="1" y="127"/>
                  </a:lnTo>
                  <a:lnTo>
                    <a:pt x="88" y="87"/>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8">
              <a:extLst>
                <a:ext uri="{FF2B5EF4-FFF2-40B4-BE49-F238E27FC236}">
                  <a16:creationId xmlns:a16="http://schemas.microsoft.com/office/drawing/2014/main" id="{A549D9E6-4714-2E49-710A-AA6CCD275FD3}"/>
                </a:ext>
              </a:extLst>
            </p:cNvPr>
            <p:cNvSpPr>
              <a:spLocks/>
            </p:cNvSpPr>
            <p:nvPr/>
          </p:nvSpPr>
          <p:spPr bwMode="auto">
            <a:xfrm>
              <a:off x="3601" y="1962"/>
              <a:ext cx="291" cy="299"/>
            </a:xfrm>
            <a:custGeom>
              <a:avLst/>
              <a:gdLst>
                <a:gd name="T0" fmla="*/ 84 w 291"/>
                <a:gd name="T1" fmla="*/ 299 h 299"/>
                <a:gd name="T2" fmla="*/ 61 w 291"/>
                <a:gd name="T3" fmla="*/ 296 h 299"/>
                <a:gd name="T4" fmla="*/ 41 w 291"/>
                <a:gd name="T5" fmla="*/ 287 h 299"/>
                <a:gd name="T6" fmla="*/ 35 w 291"/>
                <a:gd name="T7" fmla="*/ 281 h 299"/>
                <a:gd name="T8" fmla="*/ 24 w 291"/>
                <a:gd name="T9" fmla="*/ 270 h 299"/>
                <a:gd name="T10" fmla="*/ 13 w 291"/>
                <a:gd name="T11" fmla="*/ 251 h 299"/>
                <a:gd name="T12" fmla="*/ 4 w 291"/>
                <a:gd name="T13" fmla="*/ 227 h 299"/>
                <a:gd name="T14" fmla="*/ 0 w 291"/>
                <a:gd name="T15" fmla="*/ 207 h 299"/>
                <a:gd name="T16" fmla="*/ 20 w 291"/>
                <a:gd name="T17" fmla="*/ 205 h 299"/>
                <a:gd name="T18" fmla="*/ 23 w 291"/>
                <a:gd name="T19" fmla="*/ 221 h 299"/>
                <a:gd name="T20" fmla="*/ 30 w 291"/>
                <a:gd name="T21" fmla="*/ 241 h 299"/>
                <a:gd name="T22" fmla="*/ 43 w 291"/>
                <a:gd name="T23" fmla="*/ 262 h 299"/>
                <a:gd name="T24" fmla="*/ 53 w 291"/>
                <a:gd name="T25" fmla="*/ 270 h 299"/>
                <a:gd name="T26" fmla="*/ 58 w 291"/>
                <a:gd name="T27" fmla="*/ 273 h 299"/>
                <a:gd name="T28" fmla="*/ 69 w 291"/>
                <a:gd name="T29" fmla="*/ 278 h 299"/>
                <a:gd name="T30" fmla="*/ 81 w 291"/>
                <a:gd name="T31" fmla="*/ 279 h 299"/>
                <a:gd name="T32" fmla="*/ 103 w 291"/>
                <a:gd name="T33" fmla="*/ 277 h 299"/>
                <a:gd name="T34" fmla="*/ 112 w 291"/>
                <a:gd name="T35" fmla="*/ 275 h 299"/>
                <a:gd name="T36" fmla="*/ 127 w 291"/>
                <a:gd name="T37" fmla="*/ 267 h 299"/>
                <a:gd name="T38" fmla="*/ 137 w 291"/>
                <a:gd name="T39" fmla="*/ 255 h 299"/>
                <a:gd name="T40" fmla="*/ 144 w 291"/>
                <a:gd name="T41" fmla="*/ 242 h 299"/>
                <a:gd name="T42" fmla="*/ 148 w 291"/>
                <a:gd name="T43" fmla="*/ 224 h 299"/>
                <a:gd name="T44" fmla="*/ 148 w 291"/>
                <a:gd name="T45" fmla="*/ 193 h 299"/>
                <a:gd name="T46" fmla="*/ 143 w 291"/>
                <a:gd name="T47" fmla="*/ 143 h 299"/>
                <a:gd name="T48" fmla="*/ 140 w 291"/>
                <a:gd name="T49" fmla="*/ 120 h 299"/>
                <a:gd name="T50" fmla="*/ 136 w 291"/>
                <a:gd name="T51" fmla="*/ 75 h 299"/>
                <a:gd name="T52" fmla="*/ 139 w 291"/>
                <a:gd name="T53" fmla="*/ 54 h 299"/>
                <a:gd name="T54" fmla="*/ 144 w 291"/>
                <a:gd name="T55" fmla="*/ 36 h 299"/>
                <a:gd name="T56" fmla="*/ 154 w 291"/>
                <a:gd name="T57" fmla="*/ 20 h 299"/>
                <a:gd name="T58" fmla="*/ 170 w 291"/>
                <a:gd name="T59" fmla="*/ 8 h 299"/>
                <a:gd name="T60" fmla="*/ 192 w 291"/>
                <a:gd name="T61" fmla="*/ 1 h 299"/>
                <a:gd name="T62" fmla="*/ 203 w 291"/>
                <a:gd name="T63" fmla="*/ 0 h 299"/>
                <a:gd name="T64" fmla="*/ 224 w 291"/>
                <a:gd name="T65" fmla="*/ 1 h 299"/>
                <a:gd name="T66" fmla="*/ 242 w 291"/>
                <a:gd name="T67" fmla="*/ 7 h 299"/>
                <a:gd name="T68" fmla="*/ 257 w 291"/>
                <a:gd name="T69" fmla="*/ 18 h 299"/>
                <a:gd name="T70" fmla="*/ 269 w 291"/>
                <a:gd name="T71" fmla="*/ 30 h 299"/>
                <a:gd name="T72" fmla="*/ 282 w 291"/>
                <a:gd name="T73" fmla="*/ 51 h 299"/>
                <a:gd name="T74" fmla="*/ 291 w 291"/>
                <a:gd name="T75" fmla="*/ 80 h 299"/>
                <a:gd name="T76" fmla="*/ 273 w 291"/>
                <a:gd name="T77" fmla="*/ 88 h 299"/>
                <a:gd name="T78" fmla="*/ 269 w 291"/>
                <a:gd name="T79" fmla="*/ 76 h 299"/>
                <a:gd name="T80" fmla="*/ 257 w 291"/>
                <a:gd name="T81" fmla="*/ 49 h 299"/>
                <a:gd name="T82" fmla="*/ 246 w 291"/>
                <a:gd name="T83" fmla="*/ 37 h 299"/>
                <a:gd name="T84" fmla="*/ 233 w 291"/>
                <a:gd name="T85" fmla="*/ 26 h 299"/>
                <a:gd name="T86" fmla="*/ 216 w 291"/>
                <a:gd name="T87" fmla="*/ 20 h 299"/>
                <a:gd name="T88" fmla="*/ 196 w 291"/>
                <a:gd name="T89" fmla="*/ 21 h 299"/>
                <a:gd name="T90" fmla="*/ 187 w 291"/>
                <a:gd name="T91" fmla="*/ 23 h 299"/>
                <a:gd name="T92" fmla="*/ 174 w 291"/>
                <a:gd name="T93" fmla="*/ 29 h 299"/>
                <a:gd name="T94" fmla="*/ 166 w 291"/>
                <a:gd name="T95" fmla="*/ 38 h 299"/>
                <a:gd name="T96" fmla="*/ 160 w 291"/>
                <a:gd name="T97" fmla="*/ 50 h 299"/>
                <a:gd name="T98" fmla="*/ 158 w 291"/>
                <a:gd name="T99" fmla="*/ 66 h 299"/>
                <a:gd name="T100" fmla="*/ 156 w 291"/>
                <a:gd name="T101" fmla="*/ 93 h 299"/>
                <a:gd name="T102" fmla="*/ 163 w 291"/>
                <a:gd name="T103" fmla="*/ 141 h 299"/>
                <a:gd name="T104" fmla="*/ 166 w 291"/>
                <a:gd name="T105" fmla="*/ 165 h 299"/>
                <a:gd name="T106" fmla="*/ 169 w 291"/>
                <a:gd name="T107" fmla="*/ 202 h 299"/>
                <a:gd name="T108" fmla="*/ 168 w 291"/>
                <a:gd name="T109" fmla="*/ 226 h 299"/>
                <a:gd name="T110" fmla="*/ 164 w 291"/>
                <a:gd name="T111" fmla="*/ 247 h 299"/>
                <a:gd name="T112" fmla="*/ 155 w 291"/>
                <a:gd name="T113" fmla="*/ 266 h 299"/>
                <a:gd name="T114" fmla="*/ 141 w 291"/>
                <a:gd name="T115" fmla="*/ 281 h 299"/>
                <a:gd name="T116" fmla="*/ 119 w 291"/>
                <a:gd name="T117" fmla="*/ 293 h 299"/>
                <a:gd name="T118" fmla="*/ 107 w 291"/>
                <a:gd name="T119" fmla="*/ 297 h 299"/>
                <a:gd name="T120" fmla="*/ 84 w 291"/>
                <a:gd name="T121"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1" h="299">
                  <a:moveTo>
                    <a:pt x="84" y="299"/>
                  </a:moveTo>
                  <a:lnTo>
                    <a:pt x="84" y="299"/>
                  </a:lnTo>
                  <a:lnTo>
                    <a:pt x="72" y="298"/>
                  </a:lnTo>
                  <a:lnTo>
                    <a:pt x="61" y="296"/>
                  </a:lnTo>
                  <a:lnTo>
                    <a:pt x="51" y="292"/>
                  </a:lnTo>
                  <a:lnTo>
                    <a:pt x="41" y="287"/>
                  </a:lnTo>
                  <a:lnTo>
                    <a:pt x="41" y="287"/>
                  </a:lnTo>
                  <a:lnTo>
                    <a:pt x="35" y="281"/>
                  </a:lnTo>
                  <a:lnTo>
                    <a:pt x="29" y="276"/>
                  </a:lnTo>
                  <a:lnTo>
                    <a:pt x="24" y="270"/>
                  </a:lnTo>
                  <a:lnTo>
                    <a:pt x="20" y="264"/>
                  </a:lnTo>
                  <a:lnTo>
                    <a:pt x="13" y="251"/>
                  </a:lnTo>
                  <a:lnTo>
                    <a:pt x="7" y="238"/>
                  </a:lnTo>
                  <a:lnTo>
                    <a:pt x="4" y="227"/>
                  </a:lnTo>
                  <a:lnTo>
                    <a:pt x="1" y="216"/>
                  </a:lnTo>
                  <a:lnTo>
                    <a:pt x="0" y="207"/>
                  </a:lnTo>
                  <a:lnTo>
                    <a:pt x="20" y="205"/>
                  </a:lnTo>
                  <a:lnTo>
                    <a:pt x="20" y="205"/>
                  </a:lnTo>
                  <a:lnTo>
                    <a:pt x="21" y="212"/>
                  </a:lnTo>
                  <a:lnTo>
                    <a:pt x="23" y="221"/>
                  </a:lnTo>
                  <a:lnTo>
                    <a:pt x="25" y="230"/>
                  </a:lnTo>
                  <a:lnTo>
                    <a:pt x="30" y="241"/>
                  </a:lnTo>
                  <a:lnTo>
                    <a:pt x="36" y="252"/>
                  </a:lnTo>
                  <a:lnTo>
                    <a:pt x="43" y="262"/>
                  </a:lnTo>
                  <a:lnTo>
                    <a:pt x="48" y="266"/>
                  </a:lnTo>
                  <a:lnTo>
                    <a:pt x="53" y="270"/>
                  </a:lnTo>
                  <a:lnTo>
                    <a:pt x="53" y="270"/>
                  </a:lnTo>
                  <a:lnTo>
                    <a:pt x="58" y="273"/>
                  </a:lnTo>
                  <a:lnTo>
                    <a:pt x="63" y="276"/>
                  </a:lnTo>
                  <a:lnTo>
                    <a:pt x="69" y="278"/>
                  </a:lnTo>
                  <a:lnTo>
                    <a:pt x="75" y="279"/>
                  </a:lnTo>
                  <a:lnTo>
                    <a:pt x="81" y="279"/>
                  </a:lnTo>
                  <a:lnTo>
                    <a:pt x="88" y="279"/>
                  </a:lnTo>
                  <a:lnTo>
                    <a:pt x="103" y="277"/>
                  </a:lnTo>
                  <a:lnTo>
                    <a:pt x="103" y="277"/>
                  </a:lnTo>
                  <a:lnTo>
                    <a:pt x="112" y="275"/>
                  </a:lnTo>
                  <a:lnTo>
                    <a:pt x="119" y="271"/>
                  </a:lnTo>
                  <a:lnTo>
                    <a:pt x="127" y="267"/>
                  </a:lnTo>
                  <a:lnTo>
                    <a:pt x="132" y="262"/>
                  </a:lnTo>
                  <a:lnTo>
                    <a:pt x="137" y="255"/>
                  </a:lnTo>
                  <a:lnTo>
                    <a:pt x="142" y="249"/>
                  </a:lnTo>
                  <a:lnTo>
                    <a:pt x="144" y="242"/>
                  </a:lnTo>
                  <a:lnTo>
                    <a:pt x="146" y="233"/>
                  </a:lnTo>
                  <a:lnTo>
                    <a:pt x="148" y="224"/>
                  </a:lnTo>
                  <a:lnTo>
                    <a:pt x="148" y="214"/>
                  </a:lnTo>
                  <a:lnTo>
                    <a:pt x="148" y="193"/>
                  </a:lnTo>
                  <a:lnTo>
                    <a:pt x="146" y="169"/>
                  </a:lnTo>
                  <a:lnTo>
                    <a:pt x="143" y="143"/>
                  </a:lnTo>
                  <a:lnTo>
                    <a:pt x="143" y="143"/>
                  </a:lnTo>
                  <a:lnTo>
                    <a:pt x="140" y="120"/>
                  </a:lnTo>
                  <a:lnTo>
                    <a:pt x="137" y="97"/>
                  </a:lnTo>
                  <a:lnTo>
                    <a:pt x="136" y="75"/>
                  </a:lnTo>
                  <a:lnTo>
                    <a:pt x="137" y="64"/>
                  </a:lnTo>
                  <a:lnTo>
                    <a:pt x="139" y="54"/>
                  </a:lnTo>
                  <a:lnTo>
                    <a:pt x="141" y="44"/>
                  </a:lnTo>
                  <a:lnTo>
                    <a:pt x="144" y="36"/>
                  </a:lnTo>
                  <a:lnTo>
                    <a:pt x="149" y="27"/>
                  </a:lnTo>
                  <a:lnTo>
                    <a:pt x="154" y="20"/>
                  </a:lnTo>
                  <a:lnTo>
                    <a:pt x="162" y="14"/>
                  </a:lnTo>
                  <a:lnTo>
                    <a:pt x="170" y="8"/>
                  </a:lnTo>
                  <a:lnTo>
                    <a:pt x="180" y="4"/>
                  </a:lnTo>
                  <a:lnTo>
                    <a:pt x="192" y="1"/>
                  </a:lnTo>
                  <a:lnTo>
                    <a:pt x="192" y="1"/>
                  </a:lnTo>
                  <a:lnTo>
                    <a:pt x="203" y="0"/>
                  </a:lnTo>
                  <a:lnTo>
                    <a:pt x="215" y="0"/>
                  </a:lnTo>
                  <a:lnTo>
                    <a:pt x="224" y="1"/>
                  </a:lnTo>
                  <a:lnTo>
                    <a:pt x="234" y="4"/>
                  </a:lnTo>
                  <a:lnTo>
                    <a:pt x="242" y="7"/>
                  </a:lnTo>
                  <a:lnTo>
                    <a:pt x="250" y="13"/>
                  </a:lnTo>
                  <a:lnTo>
                    <a:pt x="257" y="18"/>
                  </a:lnTo>
                  <a:lnTo>
                    <a:pt x="263" y="24"/>
                  </a:lnTo>
                  <a:lnTo>
                    <a:pt x="269" y="30"/>
                  </a:lnTo>
                  <a:lnTo>
                    <a:pt x="274" y="38"/>
                  </a:lnTo>
                  <a:lnTo>
                    <a:pt x="282" y="51"/>
                  </a:lnTo>
                  <a:lnTo>
                    <a:pt x="288" y="66"/>
                  </a:lnTo>
                  <a:lnTo>
                    <a:pt x="291" y="80"/>
                  </a:lnTo>
                  <a:lnTo>
                    <a:pt x="273" y="88"/>
                  </a:lnTo>
                  <a:lnTo>
                    <a:pt x="273" y="88"/>
                  </a:lnTo>
                  <a:lnTo>
                    <a:pt x="272" y="84"/>
                  </a:lnTo>
                  <a:lnTo>
                    <a:pt x="269" y="76"/>
                  </a:lnTo>
                  <a:lnTo>
                    <a:pt x="264" y="63"/>
                  </a:lnTo>
                  <a:lnTo>
                    <a:pt x="257" y="49"/>
                  </a:lnTo>
                  <a:lnTo>
                    <a:pt x="252" y="43"/>
                  </a:lnTo>
                  <a:lnTo>
                    <a:pt x="246" y="37"/>
                  </a:lnTo>
                  <a:lnTo>
                    <a:pt x="240" y="32"/>
                  </a:lnTo>
                  <a:lnTo>
                    <a:pt x="233" y="26"/>
                  </a:lnTo>
                  <a:lnTo>
                    <a:pt x="225" y="23"/>
                  </a:lnTo>
                  <a:lnTo>
                    <a:pt x="216" y="20"/>
                  </a:lnTo>
                  <a:lnTo>
                    <a:pt x="206" y="20"/>
                  </a:lnTo>
                  <a:lnTo>
                    <a:pt x="196" y="21"/>
                  </a:lnTo>
                  <a:lnTo>
                    <a:pt x="196" y="21"/>
                  </a:lnTo>
                  <a:lnTo>
                    <a:pt x="187" y="23"/>
                  </a:lnTo>
                  <a:lnTo>
                    <a:pt x="181" y="25"/>
                  </a:lnTo>
                  <a:lnTo>
                    <a:pt x="174" y="29"/>
                  </a:lnTo>
                  <a:lnTo>
                    <a:pt x="170" y="34"/>
                  </a:lnTo>
                  <a:lnTo>
                    <a:pt x="166" y="38"/>
                  </a:lnTo>
                  <a:lnTo>
                    <a:pt x="163" y="44"/>
                  </a:lnTo>
                  <a:lnTo>
                    <a:pt x="160" y="50"/>
                  </a:lnTo>
                  <a:lnTo>
                    <a:pt x="159" y="58"/>
                  </a:lnTo>
                  <a:lnTo>
                    <a:pt x="158" y="66"/>
                  </a:lnTo>
                  <a:lnTo>
                    <a:pt x="156" y="75"/>
                  </a:lnTo>
                  <a:lnTo>
                    <a:pt x="156" y="93"/>
                  </a:lnTo>
                  <a:lnTo>
                    <a:pt x="159" y="116"/>
                  </a:lnTo>
                  <a:lnTo>
                    <a:pt x="163" y="141"/>
                  </a:lnTo>
                  <a:lnTo>
                    <a:pt x="163" y="141"/>
                  </a:lnTo>
                  <a:lnTo>
                    <a:pt x="166" y="165"/>
                  </a:lnTo>
                  <a:lnTo>
                    <a:pt x="168" y="190"/>
                  </a:lnTo>
                  <a:lnTo>
                    <a:pt x="169" y="202"/>
                  </a:lnTo>
                  <a:lnTo>
                    <a:pt x="169" y="214"/>
                  </a:lnTo>
                  <a:lnTo>
                    <a:pt x="168" y="226"/>
                  </a:lnTo>
                  <a:lnTo>
                    <a:pt x="166" y="236"/>
                  </a:lnTo>
                  <a:lnTo>
                    <a:pt x="164" y="247"/>
                  </a:lnTo>
                  <a:lnTo>
                    <a:pt x="160" y="257"/>
                  </a:lnTo>
                  <a:lnTo>
                    <a:pt x="155" y="266"/>
                  </a:lnTo>
                  <a:lnTo>
                    <a:pt x="149" y="274"/>
                  </a:lnTo>
                  <a:lnTo>
                    <a:pt x="141" y="281"/>
                  </a:lnTo>
                  <a:lnTo>
                    <a:pt x="131" y="288"/>
                  </a:lnTo>
                  <a:lnTo>
                    <a:pt x="119" y="293"/>
                  </a:lnTo>
                  <a:lnTo>
                    <a:pt x="107" y="297"/>
                  </a:lnTo>
                  <a:lnTo>
                    <a:pt x="107" y="297"/>
                  </a:lnTo>
                  <a:lnTo>
                    <a:pt x="95" y="299"/>
                  </a:lnTo>
                  <a:lnTo>
                    <a:pt x="84" y="299"/>
                  </a:lnTo>
                  <a:lnTo>
                    <a:pt x="84"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0" name="Group 4">
            <a:extLst>
              <a:ext uri="{FF2B5EF4-FFF2-40B4-BE49-F238E27FC236}">
                <a16:creationId xmlns:a16="http://schemas.microsoft.com/office/drawing/2014/main" id="{D359C879-7423-992D-8998-14E1353FF5C4}"/>
              </a:ext>
            </a:extLst>
          </p:cNvPr>
          <p:cNvGrpSpPr>
            <a:grpSpLocks noChangeAspect="1"/>
          </p:cNvGrpSpPr>
          <p:nvPr/>
        </p:nvGrpSpPr>
        <p:grpSpPr bwMode="auto">
          <a:xfrm>
            <a:off x="9021766" y="4860517"/>
            <a:ext cx="429850" cy="355522"/>
            <a:chOff x="3601" y="1962"/>
            <a:chExt cx="480" cy="397"/>
          </a:xfrm>
          <a:solidFill>
            <a:schemeClr val="accent1"/>
          </a:solidFill>
        </p:grpSpPr>
        <p:sp>
          <p:nvSpPr>
            <p:cNvPr id="71" name="Freeform 5">
              <a:extLst>
                <a:ext uri="{FF2B5EF4-FFF2-40B4-BE49-F238E27FC236}">
                  <a16:creationId xmlns:a16="http://schemas.microsoft.com/office/drawing/2014/main" id="{85D66892-C341-834A-6350-D45612B81188}"/>
                </a:ext>
              </a:extLst>
            </p:cNvPr>
            <p:cNvSpPr>
              <a:spLocks/>
            </p:cNvSpPr>
            <p:nvPr/>
          </p:nvSpPr>
          <p:spPr bwMode="auto">
            <a:xfrm>
              <a:off x="3830" y="2107"/>
              <a:ext cx="251" cy="252"/>
            </a:xfrm>
            <a:custGeom>
              <a:avLst/>
              <a:gdLst>
                <a:gd name="T0" fmla="*/ 230 w 251"/>
                <a:gd name="T1" fmla="*/ 42 h 252"/>
                <a:gd name="T2" fmla="*/ 230 w 251"/>
                <a:gd name="T3" fmla="*/ 42 h 252"/>
                <a:gd name="T4" fmla="*/ 225 w 251"/>
                <a:gd name="T5" fmla="*/ 31 h 252"/>
                <a:gd name="T6" fmla="*/ 218 w 251"/>
                <a:gd name="T7" fmla="*/ 20 h 252"/>
                <a:gd name="T8" fmla="*/ 212 w 251"/>
                <a:gd name="T9" fmla="*/ 9 h 252"/>
                <a:gd name="T10" fmla="*/ 204 w 251"/>
                <a:gd name="T11" fmla="*/ 0 h 252"/>
                <a:gd name="T12" fmla="*/ 0 w 251"/>
                <a:gd name="T13" fmla="*/ 92 h 252"/>
                <a:gd name="T14" fmla="*/ 0 w 251"/>
                <a:gd name="T15" fmla="*/ 92 h 252"/>
                <a:gd name="T16" fmla="*/ 4 w 251"/>
                <a:gd name="T17" fmla="*/ 105 h 252"/>
                <a:gd name="T18" fmla="*/ 7 w 251"/>
                <a:gd name="T19" fmla="*/ 117 h 252"/>
                <a:gd name="T20" fmla="*/ 11 w 251"/>
                <a:gd name="T21" fmla="*/ 129 h 252"/>
                <a:gd name="T22" fmla="*/ 16 w 251"/>
                <a:gd name="T23" fmla="*/ 141 h 252"/>
                <a:gd name="T24" fmla="*/ 16 w 251"/>
                <a:gd name="T25" fmla="*/ 141 h 252"/>
                <a:gd name="T26" fmla="*/ 24 w 251"/>
                <a:gd name="T27" fmla="*/ 156 h 252"/>
                <a:gd name="T28" fmla="*/ 32 w 251"/>
                <a:gd name="T29" fmla="*/ 170 h 252"/>
                <a:gd name="T30" fmla="*/ 42 w 251"/>
                <a:gd name="T31" fmla="*/ 184 h 252"/>
                <a:gd name="T32" fmla="*/ 52 w 251"/>
                <a:gd name="T33" fmla="*/ 196 h 252"/>
                <a:gd name="T34" fmla="*/ 63 w 251"/>
                <a:gd name="T35" fmla="*/ 208 h 252"/>
                <a:gd name="T36" fmla="*/ 73 w 251"/>
                <a:gd name="T37" fmla="*/ 218 h 252"/>
                <a:gd name="T38" fmla="*/ 85 w 251"/>
                <a:gd name="T39" fmla="*/ 227 h 252"/>
                <a:gd name="T40" fmla="*/ 97 w 251"/>
                <a:gd name="T41" fmla="*/ 234 h 252"/>
                <a:gd name="T42" fmla="*/ 109 w 251"/>
                <a:gd name="T43" fmla="*/ 241 h 252"/>
                <a:gd name="T44" fmla="*/ 121 w 251"/>
                <a:gd name="T45" fmla="*/ 246 h 252"/>
                <a:gd name="T46" fmla="*/ 134 w 251"/>
                <a:gd name="T47" fmla="*/ 250 h 252"/>
                <a:gd name="T48" fmla="*/ 145 w 251"/>
                <a:gd name="T49" fmla="*/ 252 h 252"/>
                <a:gd name="T50" fmla="*/ 158 w 251"/>
                <a:gd name="T51" fmla="*/ 252 h 252"/>
                <a:gd name="T52" fmla="*/ 170 w 251"/>
                <a:gd name="T53" fmla="*/ 252 h 252"/>
                <a:gd name="T54" fmla="*/ 181 w 251"/>
                <a:gd name="T55" fmla="*/ 249 h 252"/>
                <a:gd name="T56" fmla="*/ 193 w 251"/>
                <a:gd name="T57" fmla="*/ 245 h 252"/>
                <a:gd name="T58" fmla="*/ 193 w 251"/>
                <a:gd name="T59" fmla="*/ 245 h 252"/>
                <a:gd name="T60" fmla="*/ 203 w 251"/>
                <a:gd name="T61" fmla="*/ 239 h 252"/>
                <a:gd name="T62" fmla="*/ 213 w 251"/>
                <a:gd name="T63" fmla="*/ 232 h 252"/>
                <a:gd name="T64" fmla="*/ 221 w 251"/>
                <a:gd name="T65" fmla="*/ 224 h 252"/>
                <a:gd name="T66" fmla="*/ 229 w 251"/>
                <a:gd name="T67" fmla="*/ 213 h 252"/>
                <a:gd name="T68" fmla="*/ 235 w 251"/>
                <a:gd name="T69" fmla="*/ 203 h 252"/>
                <a:gd name="T70" fmla="*/ 240 w 251"/>
                <a:gd name="T71" fmla="*/ 191 h 252"/>
                <a:gd name="T72" fmla="*/ 245 w 251"/>
                <a:gd name="T73" fmla="*/ 178 h 252"/>
                <a:gd name="T74" fmla="*/ 248 w 251"/>
                <a:gd name="T75" fmla="*/ 165 h 252"/>
                <a:gd name="T76" fmla="*/ 250 w 251"/>
                <a:gd name="T77" fmla="*/ 151 h 252"/>
                <a:gd name="T78" fmla="*/ 251 w 251"/>
                <a:gd name="T79" fmla="*/ 136 h 252"/>
                <a:gd name="T80" fmla="*/ 250 w 251"/>
                <a:gd name="T81" fmla="*/ 122 h 252"/>
                <a:gd name="T82" fmla="*/ 249 w 251"/>
                <a:gd name="T83" fmla="*/ 106 h 252"/>
                <a:gd name="T84" fmla="*/ 246 w 251"/>
                <a:gd name="T85" fmla="*/ 90 h 252"/>
                <a:gd name="T86" fmla="*/ 241 w 251"/>
                <a:gd name="T87" fmla="*/ 75 h 252"/>
                <a:gd name="T88" fmla="*/ 236 w 251"/>
                <a:gd name="T89" fmla="*/ 59 h 252"/>
                <a:gd name="T90" fmla="*/ 230 w 251"/>
                <a:gd name="T91" fmla="*/ 42 h 252"/>
                <a:gd name="T92" fmla="*/ 230 w 251"/>
                <a:gd name="T93" fmla="*/ 4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1" h="252">
                  <a:moveTo>
                    <a:pt x="230" y="42"/>
                  </a:moveTo>
                  <a:lnTo>
                    <a:pt x="230" y="42"/>
                  </a:lnTo>
                  <a:lnTo>
                    <a:pt x="225" y="31"/>
                  </a:lnTo>
                  <a:lnTo>
                    <a:pt x="218" y="20"/>
                  </a:lnTo>
                  <a:lnTo>
                    <a:pt x="212" y="9"/>
                  </a:lnTo>
                  <a:lnTo>
                    <a:pt x="204" y="0"/>
                  </a:lnTo>
                  <a:lnTo>
                    <a:pt x="0" y="92"/>
                  </a:lnTo>
                  <a:lnTo>
                    <a:pt x="0" y="92"/>
                  </a:lnTo>
                  <a:lnTo>
                    <a:pt x="4" y="105"/>
                  </a:lnTo>
                  <a:lnTo>
                    <a:pt x="7" y="117"/>
                  </a:lnTo>
                  <a:lnTo>
                    <a:pt x="11" y="129"/>
                  </a:lnTo>
                  <a:lnTo>
                    <a:pt x="16" y="141"/>
                  </a:lnTo>
                  <a:lnTo>
                    <a:pt x="16" y="141"/>
                  </a:lnTo>
                  <a:lnTo>
                    <a:pt x="24" y="156"/>
                  </a:lnTo>
                  <a:lnTo>
                    <a:pt x="32" y="170"/>
                  </a:lnTo>
                  <a:lnTo>
                    <a:pt x="42" y="184"/>
                  </a:lnTo>
                  <a:lnTo>
                    <a:pt x="52" y="196"/>
                  </a:lnTo>
                  <a:lnTo>
                    <a:pt x="63" y="208"/>
                  </a:lnTo>
                  <a:lnTo>
                    <a:pt x="73" y="218"/>
                  </a:lnTo>
                  <a:lnTo>
                    <a:pt x="85" y="227"/>
                  </a:lnTo>
                  <a:lnTo>
                    <a:pt x="97" y="234"/>
                  </a:lnTo>
                  <a:lnTo>
                    <a:pt x="109" y="241"/>
                  </a:lnTo>
                  <a:lnTo>
                    <a:pt x="121" y="246"/>
                  </a:lnTo>
                  <a:lnTo>
                    <a:pt x="134" y="250"/>
                  </a:lnTo>
                  <a:lnTo>
                    <a:pt x="145" y="252"/>
                  </a:lnTo>
                  <a:lnTo>
                    <a:pt x="158" y="252"/>
                  </a:lnTo>
                  <a:lnTo>
                    <a:pt x="170" y="252"/>
                  </a:lnTo>
                  <a:lnTo>
                    <a:pt x="181" y="249"/>
                  </a:lnTo>
                  <a:lnTo>
                    <a:pt x="193" y="245"/>
                  </a:lnTo>
                  <a:lnTo>
                    <a:pt x="193" y="245"/>
                  </a:lnTo>
                  <a:lnTo>
                    <a:pt x="203" y="239"/>
                  </a:lnTo>
                  <a:lnTo>
                    <a:pt x="213" y="232"/>
                  </a:lnTo>
                  <a:lnTo>
                    <a:pt x="221" y="224"/>
                  </a:lnTo>
                  <a:lnTo>
                    <a:pt x="229" y="213"/>
                  </a:lnTo>
                  <a:lnTo>
                    <a:pt x="235" y="203"/>
                  </a:lnTo>
                  <a:lnTo>
                    <a:pt x="240" y="191"/>
                  </a:lnTo>
                  <a:lnTo>
                    <a:pt x="245" y="178"/>
                  </a:lnTo>
                  <a:lnTo>
                    <a:pt x="248" y="165"/>
                  </a:lnTo>
                  <a:lnTo>
                    <a:pt x="250" y="151"/>
                  </a:lnTo>
                  <a:lnTo>
                    <a:pt x="251" y="136"/>
                  </a:lnTo>
                  <a:lnTo>
                    <a:pt x="250" y="122"/>
                  </a:lnTo>
                  <a:lnTo>
                    <a:pt x="249" y="106"/>
                  </a:lnTo>
                  <a:lnTo>
                    <a:pt x="246" y="90"/>
                  </a:lnTo>
                  <a:lnTo>
                    <a:pt x="241" y="75"/>
                  </a:lnTo>
                  <a:lnTo>
                    <a:pt x="236" y="59"/>
                  </a:lnTo>
                  <a:lnTo>
                    <a:pt x="230" y="42"/>
                  </a:lnTo>
                  <a:lnTo>
                    <a:pt x="23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6">
              <a:extLst>
                <a:ext uri="{FF2B5EF4-FFF2-40B4-BE49-F238E27FC236}">
                  <a16:creationId xmlns:a16="http://schemas.microsoft.com/office/drawing/2014/main" id="{DD0A606D-E96E-3635-DBFA-B0179EEEA03D}"/>
                </a:ext>
              </a:extLst>
            </p:cNvPr>
            <p:cNvSpPr>
              <a:spLocks/>
            </p:cNvSpPr>
            <p:nvPr/>
          </p:nvSpPr>
          <p:spPr bwMode="auto">
            <a:xfrm>
              <a:off x="3893" y="2038"/>
              <a:ext cx="128" cy="92"/>
            </a:xfrm>
            <a:custGeom>
              <a:avLst/>
              <a:gdLst>
                <a:gd name="T0" fmla="*/ 1 w 128"/>
                <a:gd name="T1" fmla="*/ 6 h 92"/>
                <a:gd name="T2" fmla="*/ 40 w 128"/>
                <a:gd name="T3" fmla="*/ 92 h 92"/>
                <a:gd name="T4" fmla="*/ 128 w 128"/>
                <a:gd name="T5" fmla="*/ 52 h 92"/>
                <a:gd name="T6" fmla="*/ 128 w 128"/>
                <a:gd name="T7" fmla="*/ 52 h 92"/>
                <a:gd name="T8" fmla="*/ 113 w 128"/>
                <a:gd name="T9" fmla="*/ 37 h 92"/>
                <a:gd name="T10" fmla="*/ 98 w 128"/>
                <a:gd name="T11" fmla="*/ 25 h 92"/>
                <a:gd name="T12" fmla="*/ 82 w 128"/>
                <a:gd name="T13" fmla="*/ 14 h 92"/>
                <a:gd name="T14" fmla="*/ 65 w 128"/>
                <a:gd name="T15" fmla="*/ 7 h 92"/>
                <a:gd name="T16" fmla="*/ 57 w 128"/>
                <a:gd name="T17" fmla="*/ 4 h 92"/>
                <a:gd name="T18" fmla="*/ 48 w 128"/>
                <a:gd name="T19" fmla="*/ 2 h 92"/>
                <a:gd name="T20" fmla="*/ 40 w 128"/>
                <a:gd name="T21" fmla="*/ 1 h 92"/>
                <a:gd name="T22" fmla="*/ 32 w 128"/>
                <a:gd name="T23" fmla="*/ 0 h 92"/>
                <a:gd name="T24" fmla="*/ 24 w 128"/>
                <a:gd name="T25" fmla="*/ 0 h 92"/>
                <a:gd name="T26" fmla="*/ 16 w 128"/>
                <a:gd name="T27" fmla="*/ 1 h 92"/>
                <a:gd name="T28" fmla="*/ 7 w 128"/>
                <a:gd name="T29" fmla="*/ 2 h 92"/>
                <a:gd name="T30" fmla="*/ 0 w 128"/>
                <a:gd name="T31" fmla="*/ 4 h 92"/>
                <a:gd name="T32" fmla="*/ 0 w 128"/>
                <a:gd name="T33" fmla="*/ 4 h 92"/>
                <a:gd name="T34" fmla="*/ 1 w 128"/>
                <a:gd name="T35" fmla="*/ 6 h 92"/>
                <a:gd name="T36" fmla="*/ 1 w 128"/>
                <a:gd name="T37" fmla="*/ 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92">
                  <a:moveTo>
                    <a:pt x="1" y="6"/>
                  </a:moveTo>
                  <a:lnTo>
                    <a:pt x="40" y="92"/>
                  </a:lnTo>
                  <a:lnTo>
                    <a:pt x="128" y="52"/>
                  </a:lnTo>
                  <a:lnTo>
                    <a:pt x="128" y="52"/>
                  </a:lnTo>
                  <a:lnTo>
                    <a:pt x="113" y="37"/>
                  </a:lnTo>
                  <a:lnTo>
                    <a:pt x="98" y="25"/>
                  </a:lnTo>
                  <a:lnTo>
                    <a:pt x="82" y="14"/>
                  </a:lnTo>
                  <a:lnTo>
                    <a:pt x="65" y="7"/>
                  </a:lnTo>
                  <a:lnTo>
                    <a:pt x="57" y="4"/>
                  </a:lnTo>
                  <a:lnTo>
                    <a:pt x="48" y="2"/>
                  </a:lnTo>
                  <a:lnTo>
                    <a:pt x="40" y="1"/>
                  </a:lnTo>
                  <a:lnTo>
                    <a:pt x="32" y="0"/>
                  </a:lnTo>
                  <a:lnTo>
                    <a:pt x="24" y="0"/>
                  </a:lnTo>
                  <a:lnTo>
                    <a:pt x="16" y="1"/>
                  </a:lnTo>
                  <a:lnTo>
                    <a:pt x="7" y="2"/>
                  </a:lnTo>
                  <a:lnTo>
                    <a:pt x="0" y="4"/>
                  </a:lnTo>
                  <a:lnTo>
                    <a:pt x="0" y="4"/>
                  </a:lnTo>
                  <a:lnTo>
                    <a:pt x="1" y="6"/>
                  </a:ln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7">
              <a:extLst>
                <a:ext uri="{FF2B5EF4-FFF2-40B4-BE49-F238E27FC236}">
                  <a16:creationId xmlns:a16="http://schemas.microsoft.com/office/drawing/2014/main" id="{4B7E2764-6131-1E3D-ED64-F9F7CFAF1B6D}"/>
                </a:ext>
              </a:extLst>
            </p:cNvPr>
            <p:cNvSpPr>
              <a:spLocks/>
            </p:cNvSpPr>
            <p:nvPr/>
          </p:nvSpPr>
          <p:spPr bwMode="auto">
            <a:xfrm>
              <a:off x="3826" y="2051"/>
              <a:ext cx="88" cy="127"/>
            </a:xfrm>
            <a:custGeom>
              <a:avLst/>
              <a:gdLst>
                <a:gd name="T0" fmla="*/ 48 w 88"/>
                <a:gd name="T1" fmla="*/ 0 h 127"/>
                <a:gd name="T2" fmla="*/ 48 w 88"/>
                <a:gd name="T3" fmla="*/ 0 h 127"/>
                <a:gd name="T4" fmla="*/ 40 w 88"/>
                <a:gd name="T5" fmla="*/ 4 h 127"/>
                <a:gd name="T6" fmla="*/ 35 w 88"/>
                <a:gd name="T7" fmla="*/ 10 h 127"/>
                <a:gd name="T8" fmla="*/ 29 w 88"/>
                <a:gd name="T9" fmla="*/ 16 h 127"/>
                <a:gd name="T10" fmla="*/ 25 w 88"/>
                <a:gd name="T11" fmla="*/ 22 h 127"/>
                <a:gd name="T12" fmla="*/ 19 w 88"/>
                <a:gd name="T13" fmla="*/ 29 h 127"/>
                <a:gd name="T14" fmla="*/ 15 w 88"/>
                <a:gd name="T15" fmla="*/ 36 h 127"/>
                <a:gd name="T16" fmla="*/ 9 w 88"/>
                <a:gd name="T17" fmla="*/ 52 h 127"/>
                <a:gd name="T18" fmla="*/ 3 w 88"/>
                <a:gd name="T19" fmla="*/ 69 h 127"/>
                <a:gd name="T20" fmla="*/ 0 w 88"/>
                <a:gd name="T21" fmla="*/ 87 h 127"/>
                <a:gd name="T22" fmla="*/ 0 w 88"/>
                <a:gd name="T23" fmla="*/ 107 h 127"/>
                <a:gd name="T24" fmla="*/ 1 w 88"/>
                <a:gd name="T25" fmla="*/ 127 h 127"/>
                <a:gd name="T26" fmla="*/ 88 w 88"/>
                <a:gd name="T27" fmla="*/ 87 h 127"/>
                <a:gd name="T28" fmla="*/ 48 w 88"/>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27">
                  <a:moveTo>
                    <a:pt x="48" y="0"/>
                  </a:moveTo>
                  <a:lnTo>
                    <a:pt x="48" y="0"/>
                  </a:lnTo>
                  <a:lnTo>
                    <a:pt x="40" y="4"/>
                  </a:lnTo>
                  <a:lnTo>
                    <a:pt x="35" y="10"/>
                  </a:lnTo>
                  <a:lnTo>
                    <a:pt x="29" y="16"/>
                  </a:lnTo>
                  <a:lnTo>
                    <a:pt x="25" y="22"/>
                  </a:lnTo>
                  <a:lnTo>
                    <a:pt x="19" y="29"/>
                  </a:lnTo>
                  <a:lnTo>
                    <a:pt x="15" y="36"/>
                  </a:lnTo>
                  <a:lnTo>
                    <a:pt x="9" y="52"/>
                  </a:lnTo>
                  <a:lnTo>
                    <a:pt x="3" y="69"/>
                  </a:lnTo>
                  <a:lnTo>
                    <a:pt x="0" y="87"/>
                  </a:lnTo>
                  <a:lnTo>
                    <a:pt x="0" y="107"/>
                  </a:lnTo>
                  <a:lnTo>
                    <a:pt x="1" y="127"/>
                  </a:lnTo>
                  <a:lnTo>
                    <a:pt x="88" y="87"/>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8">
              <a:extLst>
                <a:ext uri="{FF2B5EF4-FFF2-40B4-BE49-F238E27FC236}">
                  <a16:creationId xmlns:a16="http://schemas.microsoft.com/office/drawing/2014/main" id="{1691EF5F-A76A-499A-65B0-F1C169C993CF}"/>
                </a:ext>
              </a:extLst>
            </p:cNvPr>
            <p:cNvSpPr>
              <a:spLocks/>
            </p:cNvSpPr>
            <p:nvPr/>
          </p:nvSpPr>
          <p:spPr bwMode="auto">
            <a:xfrm>
              <a:off x="3601" y="1962"/>
              <a:ext cx="291" cy="299"/>
            </a:xfrm>
            <a:custGeom>
              <a:avLst/>
              <a:gdLst>
                <a:gd name="T0" fmla="*/ 84 w 291"/>
                <a:gd name="T1" fmla="*/ 299 h 299"/>
                <a:gd name="T2" fmla="*/ 61 w 291"/>
                <a:gd name="T3" fmla="*/ 296 h 299"/>
                <a:gd name="T4" fmla="*/ 41 w 291"/>
                <a:gd name="T5" fmla="*/ 287 h 299"/>
                <a:gd name="T6" fmla="*/ 35 w 291"/>
                <a:gd name="T7" fmla="*/ 281 h 299"/>
                <a:gd name="T8" fmla="*/ 24 w 291"/>
                <a:gd name="T9" fmla="*/ 270 h 299"/>
                <a:gd name="T10" fmla="*/ 13 w 291"/>
                <a:gd name="T11" fmla="*/ 251 h 299"/>
                <a:gd name="T12" fmla="*/ 4 w 291"/>
                <a:gd name="T13" fmla="*/ 227 h 299"/>
                <a:gd name="T14" fmla="*/ 0 w 291"/>
                <a:gd name="T15" fmla="*/ 207 h 299"/>
                <a:gd name="T16" fmla="*/ 20 w 291"/>
                <a:gd name="T17" fmla="*/ 205 h 299"/>
                <a:gd name="T18" fmla="*/ 23 w 291"/>
                <a:gd name="T19" fmla="*/ 221 h 299"/>
                <a:gd name="T20" fmla="*/ 30 w 291"/>
                <a:gd name="T21" fmla="*/ 241 h 299"/>
                <a:gd name="T22" fmla="*/ 43 w 291"/>
                <a:gd name="T23" fmla="*/ 262 h 299"/>
                <a:gd name="T24" fmla="*/ 53 w 291"/>
                <a:gd name="T25" fmla="*/ 270 h 299"/>
                <a:gd name="T26" fmla="*/ 58 w 291"/>
                <a:gd name="T27" fmla="*/ 273 h 299"/>
                <a:gd name="T28" fmla="*/ 69 w 291"/>
                <a:gd name="T29" fmla="*/ 278 h 299"/>
                <a:gd name="T30" fmla="*/ 81 w 291"/>
                <a:gd name="T31" fmla="*/ 279 h 299"/>
                <a:gd name="T32" fmla="*/ 103 w 291"/>
                <a:gd name="T33" fmla="*/ 277 h 299"/>
                <a:gd name="T34" fmla="*/ 112 w 291"/>
                <a:gd name="T35" fmla="*/ 275 h 299"/>
                <a:gd name="T36" fmla="*/ 127 w 291"/>
                <a:gd name="T37" fmla="*/ 267 h 299"/>
                <a:gd name="T38" fmla="*/ 137 w 291"/>
                <a:gd name="T39" fmla="*/ 255 h 299"/>
                <a:gd name="T40" fmla="*/ 144 w 291"/>
                <a:gd name="T41" fmla="*/ 242 h 299"/>
                <a:gd name="T42" fmla="*/ 148 w 291"/>
                <a:gd name="T43" fmla="*/ 224 h 299"/>
                <a:gd name="T44" fmla="*/ 148 w 291"/>
                <a:gd name="T45" fmla="*/ 193 h 299"/>
                <a:gd name="T46" fmla="*/ 143 w 291"/>
                <a:gd name="T47" fmla="*/ 143 h 299"/>
                <a:gd name="T48" fmla="*/ 140 w 291"/>
                <a:gd name="T49" fmla="*/ 120 h 299"/>
                <a:gd name="T50" fmla="*/ 136 w 291"/>
                <a:gd name="T51" fmla="*/ 75 h 299"/>
                <a:gd name="T52" fmla="*/ 139 w 291"/>
                <a:gd name="T53" fmla="*/ 54 h 299"/>
                <a:gd name="T54" fmla="*/ 144 w 291"/>
                <a:gd name="T55" fmla="*/ 36 h 299"/>
                <a:gd name="T56" fmla="*/ 154 w 291"/>
                <a:gd name="T57" fmla="*/ 20 h 299"/>
                <a:gd name="T58" fmla="*/ 170 w 291"/>
                <a:gd name="T59" fmla="*/ 8 h 299"/>
                <a:gd name="T60" fmla="*/ 192 w 291"/>
                <a:gd name="T61" fmla="*/ 1 h 299"/>
                <a:gd name="T62" fmla="*/ 203 w 291"/>
                <a:gd name="T63" fmla="*/ 0 h 299"/>
                <a:gd name="T64" fmla="*/ 224 w 291"/>
                <a:gd name="T65" fmla="*/ 1 h 299"/>
                <a:gd name="T66" fmla="*/ 242 w 291"/>
                <a:gd name="T67" fmla="*/ 7 h 299"/>
                <a:gd name="T68" fmla="*/ 257 w 291"/>
                <a:gd name="T69" fmla="*/ 18 h 299"/>
                <a:gd name="T70" fmla="*/ 269 w 291"/>
                <a:gd name="T71" fmla="*/ 30 h 299"/>
                <a:gd name="T72" fmla="*/ 282 w 291"/>
                <a:gd name="T73" fmla="*/ 51 h 299"/>
                <a:gd name="T74" fmla="*/ 291 w 291"/>
                <a:gd name="T75" fmla="*/ 80 h 299"/>
                <a:gd name="T76" fmla="*/ 273 w 291"/>
                <a:gd name="T77" fmla="*/ 88 h 299"/>
                <a:gd name="T78" fmla="*/ 269 w 291"/>
                <a:gd name="T79" fmla="*/ 76 h 299"/>
                <a:gd name="T80" fmla="*/ 257 w 291"/>
                <a:gd name="T81" fmla="*/ 49 h 299"/>
                <a:gd name="T82" fmla="*/ 246 w 291"/>
                <a:gd name="T83" fmla="*/ 37 h 299"/>
                <a:gd name="T84" fmla="*/ 233 w 291"/>
                <a:gd name="T85" fmla="*/ 26 h 299"/>
                <a:gd name="T86" fmla="*/ 216 w 291"/>
                <a:gd name="T87" fmla="*/ 20 h 299"/>
                <a:gd name="T88" fmla="*/ 196 w 291"/>
                <a:gd name="T89" fmla="*/ 21 h 299"/>
                <a:gd name="T90" fmla="*/ 187 w 291"/>
                <a:gd name="T91" fmla="*/ 23 h 299"/>
                <a:gd name="T92" fmla="*/ 174 w 291"/>
                <a:gd name="T93" fmla="*/ 29 h 299"/>
                <a:gd name="T94" fmla="*/ 166 w 291"/>
                <a:gd name="T95" fmla="*/ 38 h 299"/>
                <a:gd name="T96" fmla="*/ 160 w 291"/>
                <a:gd name="T97" fmla="*/ 50 h 299"/>
                <a:gd name="T98" fmla="*/ 158 w 291"/>
                <a:gd name="T99" fmla="*/ 66 h 299"/>
                <a:gd name="T100" fmla="*/ 156 w 291"/>
                <a:gd name="T101" fmla="*/ 93 h 299"/>
                <a:gd name="T102" fmla="*/ 163 w 291"/>
                <a:gd name="T103" fmla="*/ 141 h 299"/>
                <a:gd name="T104" fmla="*/ 166 w 291"/>
                <a:gd name="T105" fmla="*/ 165 h 299"/>
                <a:gd name="T106" fmla="*/ 169 w 291"/>
                <a:gd name="T107" fmla="*/ 202 h 299"/>
                <a:gd name="T108" fmla="*/ 168 w 291"/>
                <a:gd name="T109" fmla="*/ 226 h 299"/>
                <a:gd name="T110" fmla="*/ 164 w 291"/>
                <a:gd name="T111" fmla="*/ 247 h 299"/>
                <a:gd name="T112" fmla="*/ 155 w 291"/>
                <a:gd name="T113" fmla="*/ 266 h 299"/>
                <a:gd name="T114" fmla="*/ 141 w 291"/>
                <a:gd name="T115" fmla="*/ 281 h 299"/>
                <a:gd name="T116" fmla="*/ 119 w 291"/>
                <a:gd name="T117" fmla="*/ 293 h 299"/>
                <a:gd name="T118" fmla="*/ 107 w 291"/>
                <a:gd name="T119" fmla="*/ 297 h 299"/>
                <a:gd name="T120" fmla="*/ 84 w 291"/>
                <a:gd name="T121"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1" h="299">
                  <a:moveTo>
                    <a:pt x="84" y="299"/>
                  </a:moveTo>
                  <a:lnTo>
                    <a:pt x="84" y="299"/>
                  </a:lnTo>
                  <a:lnTo>
                    <a:pt x="72" y="298"/>
                  </a:lnTo>
                  <a:lnTo>
                    <a:pt x="61" y="296"/>
                  </a:lnTo>
                  <a:lnTo>
                    <a:pt x="51" y="292"/>
                  </a:lnTo>
                  <a:lnTo>
                    <a:pt x="41" y="287"/>
                  </a:lnTo>
                  <a:lnTo>
                    <a:pt x="41" y="287"/>
                  </a:lnTo>
                  <a:lnTo>
                    <a:pt x="35" y="281"/>
                  </a:lnTo>
                  <a:lnTo>
                    <a:pt x="29" y="276"/>
                  </a:lnTo>
                  <a:lnTo>
                    <a:pt x="24" y="270"/>
                  </a:lnTo>
                  <a:lnTo>
                    <a:pt x="20" y="264"/>
                  </a:lnTo>
                  <a:lnTo>
                    <a:pt x="13" y="251"/>
                  </a:lnTo>
                  <a:lnTo>
                    <a:pt x="7" y="238"/>
                  </a:lnTo>
                  <a:lnTo>
                    <a:pt x="4" y="227"/>
                  </a:lnTo>
                  <a:lnTo>
                    <a:pt x="1" y="216"/>
                  </a:lnTo>
                  <a:lnTo>
                    <a:pt x="0" y="207"/>
                  </a:lnTo>
                  <a:lnTo>
                    <a:pt x="20" y="205"/>
                  </a:lnTo>
                  <a:lnTo>
                    <a:pt x="20" y="205"/>
                  </a:lnTo>
                  <a:lnTo>
                    <a:pt x="21" y="212"/>
                  </a:lnTo>
                  <a:lnTo>
                    <a:pt x="23" y="221"/>
                  </a:lnTo>
                  <a:lnTo>
                    <a:pt x="25" y="230"/>
                  </a:lnTo>
                  <a:lnTo>
                    <a:pt x="30" y="241"/>
                  </a:lnTo>
                  <a:lnTo>
                    <a:pt x="36" y="252"/>
                  </a:lnTo>
                  <a:lnTo>
                    <a:pt x="43" y="262"/>
                  </a:lnTo>
                  <a:lnTo>
                    <a:pt x="48" y="266"/>
                  </a:lnTo>
                  <a:lnTo>
                    <a:pt x="53" y="270"/>
                  </a:lnTo>
                  <a:lnTo>
                    <a:pt x="53" y="270"/>
                  </a:lnTo>
                  <a:lnTo>
                    <a:pt x="58" y="273"/>
                  </a:lnTo>
                  <a:lnTo>
                    <a:pt x="63" y="276"/>
                  </a:lnTo>
                  <a:lnTo>
                    <a:pt x="69" y="278"/>
                  </a:lnTo>
                  <a:lnTo>
                    <a:pt x="75" y="279"/>
                  </a:lnTo>
                  <a:lnTo>
                    <a:pt x="81" y="279"/>
                  </a:lnTo>
                  <a:lnTo>
                    <a:pt x="88" y="279"/>
                  </a:lnTo>
                  <a:lnTo>
                    <a:pt x="103" y="277"/>
                  </a:lnTo>
                  <a:lnTo>
                    <a:pt x="103" y="277"/>
                  </a:lnTo>
                  <a:lnTo>
                    <a:pt x="112" y="275"/>
                  </a:lnTo>
                  <a:lnTo>
                    <a:pt x="119" y="271"/>
                  </a:lnTo>
                  <a:lnTo>
                    <a:pt x="127" y="267"/>
                  </a:lnTo>
                  <a:lnTo>
                    <a:pt x="132" y="262"/>
                  </a:lnTo>
                  <a:lnTo>
                    <a:pt x="137" y="255"/>
                  </a:lnTo>
                  <a:lnTo>
                    <a:pt x="142" y="249"/>
                  </a:lnTo>
                  <a:lnTo>
                    <a:pt x="144" y="242"/>
                  </a:lnTo>
                  <a:lnTo>
                    <a:pt x="146" y="233"/>
                  </a:lnTo>
                  <a:lnTo>
                    <a:pt x="148" y="224"/>
                  </a:lnTo>
                  <a:lnTo>
                    <a:pt x="148" y="214"/>
                  </a:lnTo>
                  <a:lnTo>
                    <a:pt x="148" y="193"/>
                  </a:lnTo>
                  <a:lnTo>
                    <a:pt x="146" y="169"/>
                  </a:lnTo>
                  <a:lnTo>
                    <a:pt x="143" y="143"/>
                  </a:lnTo>
                  <a:lnTo>
                    <a:pt x="143" y="143"/>
                  </a:lnTo>
                  <a:lnTo>
                    <a:pt x="140" y="120"/>
                  </a:lnTo>
                  <a:lnTo>
                    <a:pt x="137" y="97"/>
                  </a:lnTo>
                  <a:lnTo>
                    <a:pt x="136" y="75"/>
                  </a:lnTo>
                  <a:lnTo>
                    <a:pt x="137" y="64"/>
                  </a:lnTo>
                  <a:lnTo>
                    <a:pt x="139" y="54"/>
                  </a:lnTo>
                  <a:lnTo>
                    <a:pt x="141" y="44"/>
                  </a:lnTo>
                  <a:lnTo>
                    <a:pt x="144" y="36"/>
                  </a:lnTo>
                  <a:lnTo>
                    <a:pt x="149" y="27"/>
                  </a:lnTo>
                  <a:lnTo>
                    <a:pt x="154" y="20"/>
                  </a:lnTo>
                  <a:lnTo>
                    <a:pt x="162" y="14"/>
                  </a:lnTo>
                  <a:lnTo>
                    <a:pt x="170" y="8"/>
                  </a:lnTo>
                  <a:lnTo>
                    <a:pt x="180" y="4"/>
                  </a:lnTo>
                  <a:lnTo>
                    <a:pt x="192" y="1"/>
                  </a:lnTo>
                  <a:lnTo>
                    <a:pt x="192" y="1"/>
                  </a:lnTo>
                  <a:lnTo>
                    <a:pt x="203" y="0"/>
                  </a:lnTo>
                  <a:lnTo>
                    <a:pt x="215" y="0"/>
                  </a:lnTo>
                  <a:lnTo>
                    <a:pt x="224" y="1"/>
                  </a:lnTo>
                  <a:lnTo>
                    <a:pt x="234" y="4"/>
                  </a:lnTo>
                  <a:lnTo>
                    <a:pt x="242" y="7"/>
                  </a:lnTo>
                  <a:lnTo>
                    <a:pt x="250" y="13"/>
                  </a:lnTo>
                  <a:lnTo>
                    <a:pt x="257" y="18"/>
                  </a:lnTo>
                  <a:lnTo>
                    <a:pt x="263" y="24"/>
                  </a:lnTo>
                  <a:lnTo>
                    <a:pt x="269" y="30"/>
                  </a:lnTo>
                  <a:lnTo>
                    <a:pt x="274" y="38"/>
                  </a:lnTo>
                  <a:lnTo>
                    <a:pt x="282" y="51"/>
                  </a:lnTo>
                  <a:lnTo>
                    <a:pt x="288" y="66"/>
                  </a:lnTo>
                  <a:lnTo>
                    <a:pt x="291" y="80"/>
                  </a:lnTo>
                  <a:lnTo>
                    <a:pt x="273" y="88"/>
                  </a:lnTo>
                  <a:lnTo>
                    <a:pt x="273" y="88"/>
                  </a:lnTo>
                  <a:lnTo>
                    <a:pt x="272" y="84"/>
                  </a:lnTo>
                  <a:lnTo>
                    <a:pt x="269" y="76"/>
                  </a:lnTo>
                  <a:lnTo>
                    <a:pt x="264" y="63"/>
                  </a:lnTo>
                  <a:lnTo>
                    <a:pt x="257" y="49"/>
                  </a:lnTo>
                  <a:lnTo>
                    <a:pt x="252" y="43"/>
                  </a:lnTo>
                  <a:lnTo>
                    <a:pt x="246" y="37"/>
                  </a:lnTo>
                  <a:lnTo>
                    <a:pt x="240" y="32"/>
                  </a:lnTo>
                  <a:lnTo>
                    <a:pt x="233" y="26"/>
                  </a:lnTo>
                  <a:lnTo>
                    <a:pt x="225" y="23"/>
                  </a:lnTo>
                  <a:lnTo>
                    <a:pt x="216" y="20"/>
                  </a:lnTo>
                  <a:lnTo>
                    <a:pt x="206" y="20"/>
                  </a:lnTo>
                  <a:lnTo>
                    <a:pt x="196" y="21"/>
                  </a:lnTo>
                  <a:lnTo>
                    <a:pt x="196" y="21"/>
                  </a:lnTo>
                  <a:lnTo>
                    <a:pt x="187" y="23"/>
                  </a:lnTo>
                  <a:lnTo>
                    <a:pt x="181" y="25"/>
                  </a:lnTo>
                  <a:lnTo>
                    <a:pt x="174" y="29"/>
                  </a:lnTo>
                  <a:lnTo>
                    <a:pt x="170" y="34"/>
                  </a:lnTo>
                  <a:lnTo>
                    <a:pt x="166" y="38"/>
                  </a:lnTo>
                  <a:lnTo>
                    <a:pt x="163" y="44"/>
                  </a:lnTo>
                  <a:lnTo>
                    <a:pt x="160" y="50"/>
                  </a:lnTo>
                  <a:lnTo>
                    <a:pt x="159" y="58"/>
                  </a:lnTo>
                  <a:lnTo>
                    <a:pt x="158" y="66"/>
                  </a:lnTo>
                  <a:lnTo>
                    <a:pt x="156" y="75"/>
                  </a:lnTo>
                  <a:lnTo>
                    <a:pt x="156" y="93"/>
                  </a:lnTo>
                  <a:lnTo>
                    <a:pt x="159" y="116"/>
                  </a:lnTo>
                  <a:lnTo>
                    <a:pt x="163" y="141"/>
                  </a:lnTo>
                  <a:lnTo>
                    <a:pt x="163" y="141"/>
                  </a:lnTo>
                  <a:lnTo>
                    <a:pt x="166" y="165"/>
                  </a:lnTo>
                  <a:lnTo>
                    <a:pt x="168" y="190"/>
                  </a:lnTo>
                  <a:lnTo>
                    <a:pt x="169" y="202"/>
                  </a:lnTo>
                  <a:lnTo>
                    <a:pt x="169" y="214"/>
                  </a:lnTo>
                  <a:lnTo>
                    <a:pt x="168" y="226"/>
                  </a:lnTo>
                  <a:lnTo>
                    <a:pt x="166" y="236"/>
                  </a:lnTo>
                  <a:lnTo>
                    <a:pt x="164" y="247"/>
                  </a:lnTo>
                  <a:lnTo>
                    <a:pt x="160" y="257"/>
                  </a:lnTo>
                  <a:lnTo>
                    <a:pt x="155" y="266"/>
                  </a:lnTo>
                  <a:lnTo>
                    <a:pt x="149" y="274"/>
                  </a:lnTo>
                  <a:lnTo>
                    <a:pt x="141" y="281"/>
                  </a:lnTo>
                  <a:lnTo>
                    <a:pt x="131" y="288"/>
                  </a:lnTo>
                  <a:lnTo>
                    <a:pt x="119" y="293"/>
                  </a:lnTo>
                  <a:lnTo>
                    <a:pt x="107" y="297"/>
                  </a:lnTo>
                  <a:lnTo>
                    <a:pt x="107" y="297"/>
                  </a:lnTo>
                  <a:lnTo>
                    <a:pt x="95" y="299"/>
                  </a:lnTo>
                  <a:lnTo>
                    <a:pt x="84" y="299"/>
                  </a:lnTo>
                  <a:lnTo>
                    <a:pt x="84"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94" name="Google Shape;231;p21">
            <a:extLst>
              <a:ext uri="{FF2B5EF4-FFF2-40B4-BE49-F238E27FC236}">
                <a16:creationId xmlns:a16="http://schemas.microsoft.com/office/drawing/2014/main" id="{6BCD994F-9B20-0488-71C5-66552CCC26A4}"/>
              </a:ext>
            </a:extLst>
          </p:cNvPr>
          <p:cNvCxnSpPr>
            <a:cxnSpLocks/>
          </p:cNvCxnSpPr>
          <p:nvPr/>
        </p:nvCxnSpPr>
        <p:spPr>
          <a:xfrm>
            <a:off x="10712855" y="3485848"/>
            <a:ext cx="0" cy="545326"/>
          </a:xfrm>
          <a:prstGeom prst="straightConnector1">
            <a:avLst/>
          </a:prstGeom>
          <a:noFill/>
          <a:ln w="9525" cap="flat" cmpd="sng">
            <a:solidFill>
              <a:schemeClr val="accent1"/>
            </a:solidFill>
            <a:prstDash val="solid"/>
            <a:round/>
            <a:headEnd type="none" w="med" len="med"/>
            <a:tailEnd type="triangle" w="med" len="med"/>
          </a:ln>
        </p:spPr>
      </p:cxnSp>
      <p:grpSp>
        <p:nvGrpSpPr>
          <p:cNvPr id="95" name="Group 4">
            <a:extLst>
              <a:ext uri="{FF2B5EF4-FFF2-40B4-BE49-F238E27FC236}">
                <a16:creationId xmlns:a16="http://schemas.microsoft.com/office/drawing/2014/main" id="{0CBF0D27-5467-5C3E-4E95-7959594FF785}"/>
              </a:ext>
            </a:extLst>
          </p:cNvPr>
          <p:cNvGrpSpPr>
            <a:grpSpLocks noChangeAspect="1"/>
          </p:cNvGrpSpPr>
          <p:nvPr/>
        </p:nvGrpSpPr>
        <p:grpSpPr bwMode="auto">
          <a:xfrm>
            <a:off x="10565904" y="2573353"/>
            <a:ext cx="291015" cy="861527"/>
            <a:chOff x="3601" y="1450"/>
            <a:chExt cx="480" cy="1421"/>
          </a:xfrm>
          <a:solidFill>
            <a:schemeClr val="accent1"/>
          </a:solidFill>
        </p:grpSpPr>
        <p:sp>
          <p:nvSpPr>
            <p:cNvPr id="96" name="Freeform 5">
              <a:extLst>
                <a:ext uri="{FF2B5EF4-FFF2-40B4-BE49-F238E27FC236}">
                  <a16:creationId xmlns:a16="http://schemas.microsoft.com/office/drawing/2014/main" id="{4B22716D-8734-C4EE-9161-6F3D6B697BC4}"/>
                </a:ext>
              </a:extLst>
            </p:cNvPr>
            <p:cNvSpPr>
              <a:spLocks/>
            </p:cNvSpPr>
            <p:nvPr/>
          </p:nvSpPr>
          <p:spPr bwMode="auto">
            <a:xfrm>
              <a:off x="3710" y="1450"/>
              <a:ext cx="262" cy="263"/>
            </a:xfrm>
            <a:custGeom>
              <a:avLst/>
              <a:gdLst>
                <a:gd name="T0" fmla="*/ 131 w 262"/>
                <a:gd name="T1" fmla="*/ 263 h 263"/>
                <a:gd name="T2" fmla="*/ 131 w 262"/>
                <a:gd name="T3" fmla="*/ 263 h 263"/>
                <a:gd name="T4" fmla="*/ 156 w 262"/>
                <a:gd name="T5" fmla="*/ 260 h 263"/>
                <a:gd name="T6" fmla="*/ 181 w 262"/>
                <a:gd name="T7" fmla="*/ 254 h 263"/>
                <a:gd name="T8" fmla="*/ 203 w 262"/>
                <a:gd name="T9" fmla="*/ 241 h 263"/>
                <a:gd name="T10" fmla="*/ 221 w 262"/>
                <a:gd name="T11" fmla="*/ 225 h 263"/>
                <a:gd name="T12" fmla="*/ 240 w 262"/>
                <a:gd name="T13" fmla="*/ 203 h 263"/>
                <a:gd name="T14" fmla="*/ 249 w 262"/>
                <a:gd name="T15" fmla="*/ 182 h 263"/>
                <a:gd name="T16" fmla="*/ 259 w 262"/>
                <a:gd name="T17" fmla="*/ 156 h 263"/>
                <a:gd name="T18" fmla="*/ 262 w 262"/>
                <a:gd name="T19" fmla="*/ 131 h 263"/>
                <a:gd name="T20" fmla="*/ 262 w 262"/>
                <a:gd name="T21" fmla="*/ 131 h 263"/>
                <a:gd name="T22" fmla="*/ 259 w 262"/>
                <a:gd name="T23" fmla="*/ 106 h 263"/>
                <a:gd name="T24" fmla="*/ 249 w 262"/>
                <a:gd name="T25" fmla="*/ 81 h 263"/>
                <a:gd name="T26" fmla="*/ 240 w 262"/>
                <a:gd name="T27" fmla="*/ 59 h 263"/>
                <a:gd name="T28" fmla="*/ 221 w 262"/>
                <a:gd name="T29" fmla="*/ 38 h 263"/>
                <a:gd name="T30" fmla="*/ 203 w 262"/>
                <a:gd name="T31" fmla="*/ 22 h 263"/>
                <a:gd name="T32" fmla="*/ 181 w 262"/>
                <a:gd name="T33" fmla="*/ 9 h 263"/>
                <a:gd name="T34" fmla="*/ 156 w 262"/>
                <a:gd name="T35" fmla="*/ 3 h 263"/>
                <a:gd name="T36" fmla="*/ 131 w 262"/>
                <a:gd name="T37" fmla="*/ 0 h 263"/>
                <a:gd name="T38" fmla="*/ 131 w 262"/>
                <a:gd name="T39" fmla="*/ 0 h 263"/>
                <a:gd name="T40" fmla="*/ 103 w 262"/>
                <a:gd name="T41" fmla="*/ 3 h 263"/>
                <a:gd name="T42" fmla="*/ 78 w 262"/>
                <a:gd name="T43" fmla="*/ 9 h 263"/>
                <a:gd name="T44" fmla="*/ 56 w 262"/>
                <a:gd name="T45" fmla="*/ 22 h 263"/>
                <a:gd name="T46" fmla="*/ 37 w 262"/>
                <a:gd name="T47" fmla="*/ 38 h 263"/>
                <a:gd name="T48" fmla="*/ 22 w 262"/>
                <a:gd name="T49" fmla="*/ 59 h 263"/>
                <a:gd name="T50" fmla="*/ 9 w 262"/>
                <a:gd name="T51" fmla="*/ 81 h 263"/>
                <a:gd name="T52" fmla="*/ 3 w 262"/>
                <a:gd name="T53" fmla="*/ 106 h 263"/>
                <a:gd name="T54" fmla="*/ 0 w 262"/>
                <a:gd name="T55" fmla="*/ 131 h 263"/>
                <a:gd name="T56" fmla="*/ 0 w 262"/>
                <a:gd name="T57" fmla="*/ 131 h 263"/>
                <a:gd name="T58" fmla="*/ 3 w 262"/>
                <a:gd name="T59" fmla="*/ 156 h 263"/>
                <a:gd name="T60" fmla="*/ 9 w 262"/>
                <a:gd name="T61" fmla="*/ 182 h 263"/>
                <a:gd name="T62" fmla="*/ 22 w 262"/>
                <a:gd name="T63" fmla="*/ 203 h 263"/>
                <a:gd name="T64" fmla="*/ 37 w 262"/>
                <a:gd name="T65" fmla="*/ 225 h 263"/>
                <a:gd name="T66" fmla="*/ 56 w 262"/>
                <a:gd name="T67" fmla="*/ 241 h 263"/>
                <a:gd name="T68" fmla="*/ 78 w 262"/>
                <a:gd name="T69" fmla="*/ 254 h 263"/>
                <a:gd name="T70" fmla="*/ 103 w 262"/>
                <a:gd name="T71" fmla="*/ 260 h 263"/>
                <a:gd name="T72" fmla="*/ 131 w 262"/>
                <a:gd name="T73" fmla="*/ 263 h 263"/>
                <a:gd name="T74" fmla="*/ 131 w 262"/>
                <a:gd name="T75"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2" h="263">
                  <a:moveTo>
                    <a:pt x="131" y="263"/>
                  </a:moveTo>
                  <a:lnTo>
                    <a:pt x="131" y="263"/>
                  </a:lnTo>
                  <a:lnTo>
                    <a:pt x="156" y="260"/>
                  </a:lnTo>
                  <a:lnTo>
                    <a:pt x="181" y="254"/>
                  </a:lnTo>
                  <a:lnTo>
                    <a:pt x="203" y="241"/>
                  </a:lnTo>
                  <a:lnTo>
                    <a:pt x="221" y="225"/>
                  </a:lnTo>
                  <a:lnTo>
                    <a:pt x="240" y="203"/>
                  </a:lnTo>
                  <a:lnTo>
                    <a:pt x="249" y="182"/>
                  </a:lnTo>
                  <a:lnTo>
                    <a:pt x="259" y="156"/>
                  </a:lnTo>
                  <a:lnTo>
                    <a:pt x="262" y="131"/>
                  </a:lnTo>
                  <a:lnTo>
                    <a:pt x="262" y="131"/>
                  </a:lnTo>
                  <a:lnTo>
                    <a:pt x="259" y="106"/>
                  </a:lnTo>
                  <a:lnTo>
                    <a:pt x="249" y="81"/>
                  </a:lnTo>
                  <a:lnTo>
                    <a:pt x="240" y="59"/>
                  </a:lnTo>
                  <a:lnTo>
                    <a:pt x="221" y="38"/>
                  </a:lnTo>
                  <a:lnTo>
                    <a:pt x="203" y="22"/>
                  </a:lnTo>
                  <a:lnTo>
                    <a:pt x="181" y="9"/>
                  </a:lnTo>
                  <a:lnTo>
                    <a:pt x="156" y="3"/>
                  </a:lnTo>
                  <a:lnTo>
                    <a:pt x="131" y="0"/>
                  </a:lnTo>
                  <a:lnTo>
                    <a:pt x="131" y="0"/>
                  </a:lnTo>
                  <a:lnTo>
                    <a:pt x="103" y="3"/>
                  </a:lnTo>
                  <a:lnTo>
                    <a:pt x="78" y="9"/>
                  </a:lnTo>
                  <a:lnTo>
                    <a:pt x="56" y="22"/>
                  </a:lnTo>
                  <a:lnTo>
                    <a:pt x="37" y="38"/>
                  </a:lnTo>
                  <a:lnTo>
                    <a:pt x="22" y="59"/>
                  </a:lnTo>
                  <a:lnTo>
                    <a:pt x="9" y="81"/>
                  </a:lnTo>
                  <a:lnTo>
                    <a:pt x="3" y="106"/>
                  </a:lnTo>
                  <a:lnTo>
                    <a:pt x="0" y="131"/>
                  </a:lnTo>
                  <a:lnTo>
                    <a:pt x="0" y="131"/>
                  </a:lnTo>
                  <a:lnTo>
                    <a:pt x="3" y="156"/>
                  </a:lnTo>
                  <a:lnTo>
                    <a:pt x="9" y="182"/>
                  </a:lnTo>
                  <a:lnTo>
                    <a:pt x="22" y="203"/>
                  </a:lnTo>
                  <a:lnTo>
                    <a:pt x="37" y="225"/>
                  </a:lnTo>
                  <a:lnTo>
                    <a:pt x="56" y="241"/>
                  </a:lnTo>
                  <a:lnTo>
                    <a:pt x="78" y="254"/>
                  </a:lnTo>
                  <a:lnTo>
                    <a:pt x="103" y="260"/>
                  </a:lnTo>
                  <a:lnTo>
                    <a:pt x="131" y="263"/>
                  </a:lnTo>
                  <a:lnTo>
                    <a:pt x="131"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6">
              <a:extLst>
                <a:ext uri="{FF2B5EF4-FFF2-40B4-BE49-F238E27FC236}">
                  <a16:creationId xmlns:a16="http://schemas.microsoft.com/office/drawing/2014/main" id="{49BB1ED5-76C8-31B5-5183-EB534F04D3A2}"/>
                </a:ext>
              </a:extLst>
            </p:cNvPr>
            <p:cNvSpPr>
              <a:spLocks/>
            </p:cNvSpPr>
            <p:nvPr/>
          </p:nvSpPr>
          <p:spPr bwMode="auto">
            <a:xfrm>
              <a:off x="3691" y="1732"/>
              <a:ext cx="300" cy="1139"/>
            </a:xfrm>
            <a:custGeom>
              <a:avLst/>
              <a:gdLst>
                <a:gd name="T0" fmla="*/ 150 w 300"/>
                <a:gd name="T1" fmla="*/ 112 h 1139"/>
                <a:gd name="T2" fmla="*/ 75 w 300"/>
                <a:gd name="T3" fmla="*/ 0 h 1139"/>
                <a:gd name="T4" fmla="*/ 0 w 300"/>
                <a:gd name="T5" fmla="*/ 0 h 1139"/>
                <a:gd name="T6" fmla="*/ 32 w 300"/>
                <a:gd name="T7" fmla="*/ 532 h 1139"/>
                <a:gd name="T8" fmla="*/ 32 w 300"/>
                <a:gd name="T9" fmla="*/ 532 h 1139"/>
                <a:gd name="T10" fmla="*/ 32 w 300"/>
                <a:gd name="T11" fmla="*/ 1089 h 1139"/>
                <a:gd name="T12" fmla="*/ 32 w 300"/>
                <a:gd name="T13" fmla="*/ 1089 h 1139"/>
                <a:gd name="T14" fmla="*/ 32 w 300"/>
                <a:gd name="T15" fmla="*/ 1098 h 1139"/>
                <a:gd name="T16" fmla="*/ 35 w 300"/>
                <a:gd name="T17" fmla="*/ 1108 h 1139"/>
                <a:gd name="T18" fmla="*/ 44 w 300"/>
                <a:gd name="T19" fmla="*/ 1123 h 1139"/>
                <a:gd name="T20" fmla="*/ 63 w 300"/>
                <a:gd name="T21" fmla="*/ 1133 h 1139"/>
                <a:gd name="T22" fmla="*/ 72 w 300"/>
                <a:gd name="T23" fmla="*/ 1136 h 1139"/>
                <a:gd name="T24" fmla="*/ 81 w 300"/>
                <a:gd name="T25" fmla="*/ 1139 h 1139"/>
                <a:gd name="T26" fmla="*/ 81 w 300"/>
                <a:gd name="T27" fmla="*/ 1139 h 1139"/>
                <a:gd name="T28" fmla="*/ 91 w 300"/>
                <a:gd name="T29" fmla="*/ 1136 h 1139"/>
                <a:gd name="T30" fmla="*/ 100 w 300"/>
                <a:gd name="T31" fmla="*/ 1133 h 1139"/>
                <a:gd name="T32" fmla="*/ 116 w 300"/>
                <a:gd name="T33" fmla="*/ 1123 h 1139"/>
                <a:gd name="T34" fmla="*/ 128 w 300"/>
                <a:gd name="T35" fmla="*/ 1108 h 1139"/>
                <a:gd name="T36" fmla="*/ 128 w 300"/>
                <a:gd name="T37" fmla="*/ 1098 h 1139"/>
                <a:gd name="T38" fmla="*/ 131 w 300"/>
                <a:gd name="T39" fmla="*/ 1089 h 1139"/>
                <a:gd name="T40" fmla="*/ 131 w 300"/>
                <a:gd name="T41" fmla="*/ 532 h 1139"/>
                <a:gd name="T42" fmla="*/ 169 w 300"/>
                <a:gd name="T43" fmla="*/ 532 h 1139"/>
                <a:gd name="T44" fmla="*/ 169 w 300"/>
                <a:gd name="T45" fmla="*/ 1089 h 1139"/>
                <a:gd name="T46" fmla="*/ 169 w 300"/>
                <a:gd name="T47" fmla="*/ 1089 h 1139"/>
                <a:gd name="T48" fmla="*/ 169 w 300"/>
                <a:gd name="T49" fmla="*/ 1098 h 1139"/>
                <a:gd name="T50" fmla="*/ 172 w 300"/>
                <a:gd name="T51" fmla="*/ 1108 h 1139"/>
                <a:gd name="T52" fmla="*/ 181 w 300"/>
                <a:gd name="T53" fmla="*/ 1123 h 1139"/>
                <a:gd name="T54" fmla="*/ 200 w 300"/>
                <a:gd name="T55" fmla="*/ 1133 h 1139"/>
                <a:gd name="T56" fmla="*/ 209 w 300"/>
                <a:gd name="T57" fmla="*/ 1136 h 1139"/>
                <a:gd name="T58" fmla="*/ 219 w 300"/>
                <a:gd name="T59" fmla="*/ 1139 h 1139"/>
                <a:gd name="T60" fmla="*/ 219 w 300"/>
                <a:gd name="T61" fmla="*/ 1139 h 1139"/>
                <a:gd name="T62" fmla="*/ 228 w 300"/>
                <a:gd name="T63" fmla="*/ 1136 h 1139"/>
                <a:gd name="T64" fmla="*/ 237 w 300"/>
                <a:gd name="T65" fmla="*/ 1133 h 1139"/>
                <a:gd name="T66" fmla="*/ 253 w 300"/>
                <a:gd name="T67" fmla="*/ 1123 h 1139"/>
                <a:gd name="T68" fmla="*/ 265 w 300"/>
                <a:gd name="T69" fmla="*/ 1108 h 1139"/>
                <a:gd name="T70" fmla="*/ 265 w 300"/>
                <a:gd name="T71" fmla="*/ 1098 h 1139"/>
                <a:gd name="T72" fmla="*/ 268 w 300"/>
                <a:gd name="T73" fmla="*/ 1089 h 1139"/>
                <a:gd name="T74" fmla="*/ 268 w 300"/>
                <a:gd name="T75" fmla="*/ 532 h 1139"/>
                <a:gd name="T76" fmla="*/ 268 w 300"/>
                <a:gd name="T77" fmla="*/ 532 h 1139"/>
                <a:gd name="T78" fmla="*/ 300 w 300"/>
                <a:gd name="T79" fmla="*/ 0 h 1139"/>
                <a:gd name="T80" fmla="*/ 225 w 300"/>
                <a:gd name="T81" fmla="*/ 0 h 1139"/>
                <a:gd name="T82" fmla="*/ 150 w 300"/>
                <a:gd name="T83" fmla="*/ 112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0" h="1139">
                  <a:moveTo>
                    <a:pt x="150" y="112"/>
                  </a:moveTo>
                  <a:lnTo>
                    <a:pt x="75" y="0"/>
                  </a:lnTo>
                  <a:lnTo>
                    <a:pt x="0" y="0"/>
                  </a:lnTo>
                  <a:lnTo>
                    <a:pt x="32" y="532"/>
                  </a:lnTo>
                  <a:lnTo>
                    <a:pt x="32" y="532"/>
                  </a:lnTo>
                  <a:lnTo>
                    <a:pt x="32" y="1089"/>
                  </a:lnTo>
                  <a:lnTo>
                    <a:pt x="32" y="1089"/>
                  </a:lnTo>
                  <a:lnTo>
                    <a:pt x="32" y="1098"/>
                  </a:lnTo>
                  <a:lnTo>
                    <a:pt x="35" y="1108"/>
                  </a:lnTo>
                  <a:lnTo>
                    <a:pt x="44" y="1123"/>
                  </a:lnTo>
                  <a:lnTo>
                    <a:pt x="63" y="1133"/>
                  </a:lnTo>
                  <a:lnTo>
                    <a:pt x="72" y="1136"/>
                  </a:lnTo>
                  <a:lnTo>
                    <a:pt x="81" y="1139"/>
                  </a:lnTo>
                  <a:lnTo>
                    <a:pt x="81" y="1139"/>
                  </a:lnTo>
                  <a:lnTo>
                    <a:pt x="91" y="1136"/>
                  </a:lnTo>
                  <a:lnTo>
                    <a:pt x="100" y="1133"/>
                  </a:lnTo>
                  <a:lnTo>
                    <a:pt x="116" y="1123"/>
                  </a:lnTo>
                  <a:lnTo>
                    <a:pt x="128" y="1108"/>
                  </a:lnTo>
                  <a:lnTo>
                    <a:pt x="128" y="1098"/>
                  </a:lnTo>
                  <a:lnTo>
                    <a:pt x="131" y="1089"/>
                  </a:lnTo>
                  <a:lnTo>
                    <a:pt x="131" y="532"/>
                  </a:lnTo>
                  <a:lnTo>
                    <a:pt x="169" y="532"/>
                  </a:lnTo>
                  <a:lnTo>
                    <a:pt x="169" y="1089"/>
                  </a:lnTo>
                  <a:lnTo>
                    <a:pt x="169" y="1089"/>
                  </a:lnTo>
                  <a:lnTo>
                    <a:pt x="169" y="1098"/>
                  </a:lnTo>
                  <a:lnTo>
                    <a:pt x="172" y="1108"/>
                  </a:lnTo>
                  <a:lnTo>
                    <a:pt x="181" y="1123"/>
                  </a:lnTo>
                  <a:lnTo>
                    <a:pt x="200" y="1133"/>
                  </a:lnTo>
                  <a:lnTo>
                    <a:pt x="209" y="1136"/>
                  </a:lnTo>
                  <a:lnTo>
                    <a:pt x="219" y="1139"/>
                  </a:lnTo>
                  <a:lnTo>
                    <a:pt x="219" y="1139"/>
                  </a:lnTo>
                  <a:lnTo>
                    <a:pt x="228" y="1136"/>
                  </a:lnTo>
                  <a:lnTo>
                    <a:pt x="237" y="1133"/>
                  </a:lnTo>
                  <a:lnTo>
                    <a:pt x="253" y="1123"/>
                  </a:lnTo>
                  <a:lnTo>
                    <a:pt x="265" y="1108"/>
                  </a:lnTo>
                  <a:lnTo>
                    <a:pt x="265" y="1098"/>
                  </a:lnTo>
                  <a:lnTo>
                    <a:pt x="268" y="1089"/>
                  </a:lnTo>
                  <a:lnTo>
                    <a:pt x="268" y="532"/>
                  </a:lnTo>
                  <a:lnTo>
                    <a:pt x="268" y="532"/>
                  </a:lnTo>
                  <a:lnTo>
                    <a:pt x="300" y="0"/>
                  </a:lnTo>
                  <a:lnTo>
                    <a:pt x="225" y="0"/>
                  </a:lnTo>
                  <a:lnTo>
                    <a:pt x="15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
              <a:extLst>
                <a:ext uri="{FF2B5EF4-FFF2-40B4-BE49-F238E27FC236}">
                  <a16:creationId xmlns:a16="http://schemas.microsoft.com/office/drawing/2014/main" id="{51DFB636-70B3-8921-6A37-A4D5C9BE8EFA}"/>
                </a:ext>
              </a:extLst>
            </p:cNvPr>
            <p:cNvSpPr>
              <a:spLocks/>
            </p:cNvSpPr>
            <p:nvPr/>
          </p:nvSpPr>
          <p:spPr bwMode="auto">
            <a:xfrm>
              <a:off x="3601" y="1732"/>
              <a:ext cx="84" cy="563"/>
            </a:xfrm>
            <a:custGeom>
              <a:avLst/>
              <a:gdLst>
                <a:gd name="T0" fmla="*/ 0 w 84"/>
                <a:gd name="T1" fmla="*/ 0 h 563"/>
                <a:gd name="T2" fmla="*/ 22 w 84"/>
                <a:gd name="T3" fmla="*/ 532 h 563"/>
                <a:gd name="T4" fmla="*/ 22 w 84"/>
                <a:gd name="T5" fmla="*/ 532 h 563"/>
                <a:gd name="T6" fmla="*/ 25 w 84"/>
                <a:gd name="T7" fmla="*/ 544 h 563"/>
                <a:gd name="T8" fmla="*/ 31 w 84"/>
                <a:gd name="T9" fmla="*/ 554 h 563"/>
                <a:gd name="T10" fmla="*/ 41 w 84"/>
                <a:gd name="T11" fmla="*/ 563 h 563"/>
                <a:gd name="T12" fmla="*/ 53 w 84"/>
                <a:gd name="T13" fmla="*/ 563 h 563"/>
                <a:gd name="T14" fmla="*/ 53 w 84"/>
                <a:gd name="T15" fmla="*/ 563 h 563"/>
                <a:gd name="T16" fmla="*/ 65 w 84"/>
                <a:gd name="T17" fmla="*/ 563 h 563"/>
                <a:gd name="T18" fmla="*/ 75 w 84"/>
                <a:gd name="T19" fmla="*/ 554 h 563"/>
                <a:gd name="T20" fmla="*/ 81 w 84"/>
                <a:gd name="T21" fmla="*/ 544 h 563"/>
                <a:gd name="T22" fmla="*/ 84 w 84"/>
                <a:gd name="T23" fmla="*/ 532 h 563"/>
                <a:gd name="T24" fmla="*/ 53 w 84"/>
                <a:gd name="T25" fmla="*/ 0 h 563"/>
                <a:gd name="T26" fmla="*/ 0 w 84"/>
                <a:gd name="T27"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563">
                  <a:moveTo>
                    <a:pt x="0" y="0"/>
                  </a:moveTo>
                  <a:lnTo>
                    <a:pt x="22" y="532"/>
                  </a:lnTo>
                  <a:lnTo>
                    <a:pt x="22" y="532"/>
                  </a:lnTo>
                  <a:lnTo>
                    <a:pt x="25" y="544"/>
                  </a:lnTo>
                  <a:lnTo>
                    <a:pt x="31" y="554"/>
                  </a:lnTo>
                  <a:lnTo>
                    <a:pt x="41" y="563"/>
                  </a:lnTo>
                  <a:lnTo>
                    <a:pt x="53" y="563"/>
                  </a:lnTo>
                  <a:lnTo>
                    <a:pt x="53" y="563"/>
                  </a:lnTo>
                  <a:lnTo>
                    <a:pt x="65" y="563"/>
                  </a:lnTo>
                  <a:lnTo>
                    <a:pt x="75" y="554"/>
                  </a:lnTo>
                  <a:lnTo>
                    <a:pt x="81" y="544"/>
                  </a:lnTo>
                  <a:lnTo>
                    <a:pt x="84" y="532"/>
                  </a:lnTo>
                  <a:lnTo>
                    <a:pt x="5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8">
              <a:extLst>
                <a:ext uri="{FF2B5EF4-FFF2-40B4-BE49-F238E27FC236}">
                  <a16:creationId xmlns:a16="http://schemas.microsoft.com/office/drawing/2014/main" id="{1772DB72-9CC3-0FA1-CCAF-EBD7A0DB3470}"/>
                </a:ext>
              </a:extLst>
            </p:cNvPr>
            <p:cNvSpPr>
              <a:spLocks/>
            </p:cNvSpPr>
            <p:nvPr/>
          </p:nvSpPr>
          <p:spPr bwMode="auto">
            <a:xfrm>
              <a:off x="3997" y="1732"/>
              <a:ext cx="84" cy="563"/>
            </a:xfrm>
            <a:custGeom>
              <a:avLst/>
              <a:gdLst>
                <a:gd name="T0" fmla="*/ 31 w 84"/>
                <a:gd name="T1" fmla="*/ 0 h 563"/>
                <a:gd name="T2" fmla="*/ 0 w 84"/>
                <a:gd name="T3" fmla="*/ 532 h 563"/>
                <a:gd name="T4" fmla="*/ 0 w 84"/>
                <a:gd name="T5" fmla="*/ 532 h 563"/>
                <a:gd name="T6" fmla="*/ 3 w 84"/>
                <a:gd name="T7" fmla="*/ 544 h 563"/>
                <a:gd name="T8" fmla="*/ 9 w 84"/>
                <a:gd name="T9" fmla="*/ 554 h 563"/>
                <a:gd name="T10" fmla="*/ 19 w 84"/>
                <a:gd name="T11" fmla="*/ 563 h 563"/>
                <a:gd name="T12" fmla="*/ 31 w 84"/>
                <a:gd name="T13" fmla="*/ 563 h 563"/>
                <a:gd name="T14" fmla="*/ 31 w 84"/>
                <a:gd name="T15" fmla="*/ 563 h 563"/>
                <a:gd name="T16" fmla="*/ 43 w 84"/>
                <a:gd name="T17" fmla="*/ 563 h 563"/>
                <a:gd name="T18" fmla="*/ 53 w 84"/>
                <a:gd name="T19" fmla="*/ 554 h 563"/>
                <a:gd name="T20" fmla="*/ 59 w 84"/>
                <a:gd name="T21" fmla="*/ 544 h 563"/>
                <a:gd name="T22" fmla="*/ 62 w 84"/>
                <a:gd name="T23" fmla="*/ 532 h 563"/>
                <a:gd name="T24" fmla="*/ 84 w 84"/>
                <a:gd name="T25" fmla="*/ 0 h 563"/>
                <a:gd name="T26" fmla="*/ 31 w 84"/>
                <a:gd name="T27"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563">
                  <a:moveTo>
                    <a:pt x="31" y="0"/>
                  </a:moveTo>
                  <a:lnTo>
                    <a:pt x="0" y="532"/>
                  </a:lnTo>
                  <a:lnTo>
                    <a:pt x="0" y="532"/>
                  </a:lnTo>
                  <a:lnTo>
                    <a:pt x="3" y="544"/>
                  </a:lnTo>
                  <a:lnTo>
                    <a:pt x="9" y="554"/>
                  </a:lnTo>
                  <a:lnTo>
                    <a:pt x="19" y="563"/>
                  </a:lnTo>
                  <a:lnTo>
                    <a:pt x="31" y="563"/>
                  </a:lnTo>
                  <a:lnTo>
                    <a:pt x="31" y="563"/>
                  </a:lnTo>
                  <a:lnTo>
                    <a:pt x="43" y="563"/>
                  </a:lnTo>
                  <a:lnTo>
                    <a:pt x="53" y="554"/>
                  </a:lnTo>
                  <a:lnTo>
                    <a:pt x="59" y="544"/>
                  </a:lnTo>
                  <a:lnTo>
                    <a:pt x="62" y="532"/>
                  </a:lnTo>
                  <a:lnTo>
                    <a:pt x="84" y="0"/>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18404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25B198-CBA9-D6C5-6A82-46527D0E5BFC}"/>
            </a:ext>
          </a:extLst>
        </p:cNvPr>
        <p:cNvGrpSpPr/>
        <p:nvPr/>
      </p:nvGrpSpPr>
      <p:grpSpPr>
        <a:xfrm>
          <a:off x="0" y="0"/>
          <a:ext cx="0" cy="0"/>
          <a:chOff x="0" y="0"/>
          <a:chExt cx="0" cy="0"/>
        </a:xfrm>
      </p:grpSpPr>
      <p:sp>
        <p:nvSpPr>
          <p:cNvPr id="37" name="TextBox 36">
            <a:extLst>
              <a:ext uri="{FF2B5EF4-FFF2-40B4-BE49-F238E27FC236}">
                <a16:creationId xmlns:a16="http://schemas.microsoft.com/office/drawing/2014/main" id="{FD7ABE42-1935-20CD-27C3-1AEEFFABCB9B}"/>
              </a:ext>
            </a:extLst>
          </p:cNvPr>
          <p:cNvSpPr txBox="1"/>
          <p:nvPr>
            <p:custDataLst>
              <p:tags r:id="rId2"/>
            </p:custDataLst>
          </p:nvPr>
        </p:nvSpPr>
        <p:spPr>
          <a:xfrm>
            <a:off x="214382" y="212400"/>
            <a:ext cx="2472859" cy="1925597"/>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p>
            <a:pPr algn="l">
              <a:lnSpc>
                <a:spcPct val="89000"/>
              </a:lnSpc>
            </a:pPr>
            <a:r>
              <a:rPr lang="en-GB" sz="14500" b="0" spc="-500">
                <a:solidFill>
                  <a:schemeClr val="accent1"/>
                </a:solidFill>
              </a:rPr>
              <a:t>2</a:t>
            </a:r>
            <a:endParaRPr lang="en-GB" sz="14500" b="0" spc="-500" dirty="0">
              <a:solidFill>
                <a:schemeClr val="accent1"/>
              </a:solidFill>
            </a:endParaRPr>
          </a:p>
        </p:txBody>
      </p:sp>
      <p:sp>
        <p:nvSpPr>
          <p:cNvPr id="36" name="TextBox 35">
            <a:extLst>
              <a:ext uri="{FF2B5EF4-FFF2-40B4-BE49-F238E27FC236}">
                <a16:creationId xmlns:a16="http://schemas.microsoft.com/office/drawing/2014/main" id="{CD5B5D4A-8881-AF3E-A57D-833ECC2E62FE}"/>
              </a:ext>
            </a:extLst>
          </p:cNvPr>
          <p:cNvSpPr txBox="1">
            <a:spLocks noGrp="1" noRot="1" noMove="1" noResize="1" noEditPoints="1" noAdjustHandles="1" noChangeArrowheads="1" noChangeShapeType="1"/>
          </p:cNvSpPr>
          <p:nvPr>
            <p:custDataLst>
              <p:tags r:id="rId3"/>
            </p:custDataLst>
          </p:nvPr>
        </p:nvSpPr>
        <p:spPr>
          <a:xfrm>
            <a:off x="3265200" y="1227600"/>
            <a:ext cx="5634000" cy="846000"/>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0" tIns="0" rIns="0" bIns="0" rtlCol="0" anchor="b">
            <a:noAutofit/>
          </a:bodyPr>
          <a:lstStyle/>
          <a:p>
            <a:pPr algn="l">
              <a:spcBef>
                <a:spcPct val="0"/>
              </a:spcBef>
              <a:spcAft>
                <a:spcPts val="0"/>
              </a:spcAft>
            </a:pPr>
            <a:r>
              <a:rPr lang="en-GB" sz="2600" dirty="0" err="1">
                <a:solidFill>
                  <a:schemeClr val="bg1"/>
                </a:solidFill>
              </a:rPr>
              <a:t>Longevidad</a:t>
            </a:r>
            <a:endParaRPr lang="en-GB" sz="2600" dirty="0">
              <a:solidFill>
                <a:schemeClr val="bg1"/>
              </a:solidFill>
            </a:endParaRPr>
          </a:p>
        </p:txBody>
      </p:sp>
      <p:sp>
        <p:nvSpPr>
          <p:cNvPr id="4" name="Slide Number Placeholder 3">
            <a:extLst>
              <a:ext uri="{FF2B5EF4-FFF2-40B4-BE49-F238E27FC236}">
                <a16:creationId xmlns:a16="http://schemas.microsoft.com/office/drawing/2014/main" id="{1323B995-C84F-31CF-67AE-01BAE1B6D51C}"/>
              </a:ext>
            </a:extLst>
          </p:cNvPr>
          <p:cNvSpPr>
            <a:spLocks noGrp="1"/>
          </p:cNvSpPr>
          <p:nvPr>
            <p:ph type="sldNum" sz="quarter" idx="18"/>
          </p:nvPr>
        </p:nvSpPr>
        <p:spPr/>
        <p:txBody>
          <a:bodyPr/>
          <a:lstStyle/>
          <a:p>
            <a:fld id="{9A0F3412-00EB-454F-952B-1EB5D3D69307}" type="slidenum">
              <a:rPr lang="en-US" noProof="0" smtClean="0"/>
              <a:pPr/>
              <a:t>8</a:t>
            </a:fld>
            <a:endParaRPr lang="en-US" noProof="0" dirty="0"/>
          </a:p>
        </p:txBody>
      </p:sp>
      <p:sp>
        <p:nvSpPr>
          <p:cNvPr id="34" name="Online Image Placeholder 33">
            <a:extLst>
              <a:ext uri="{FF2B5EF4-FFF2-40B4-BE49-F238E27FC236}">
                <a16:creationId xmlns:a16="http://schemas.microsoft.com/office/drawing/2014/main" id="{274F2EEC-C21C-A4AC-2179-6B67FADED78B}"/>
              </a:ext>
            </a:extLst>
          </p:cNvPr>
          <p:cNvSpPr>
            <a:spLocks noGrp="1"/>
          </p:cNvSpPr>
          <p:nvPr>
            <p:ph type="clipArt" sz="quarter" idx="21"/>
          </p:nvPr>
        </p:nvSpPr>
        <p:spPr/>
        <p:txBody>
          <a:bodyPr/>
          <a:lstStyle/>
          <a:p>
            <a:endParaRPr lang="en-GB"/>
          </a:p>
        </p:txBody>
      </p:sp>
      <p:sp>
        <p:nvSpPr>
          <p:cNvPr id="39" name="Online Image Placeholder 38">
            <a:extLst>
              <a:ext uri="{FF2B5EF4-FFF2-40B4-BE49-F238E27FC236}">
                <a16:creationId xmlns:a16="http://schemas.microsoft.com/office/drawing/2014/main" id="{0CA52328-A8B2-3B0A-DD97-4D3D0BCEE92A}"/>
              </a:ext>
            </a:extLst>
          </p:cNvPr>
          <p:cNvSpPr>
            <a:spLocks noGrp="1"/>
          </p:cNvSpPr>
          <p:nvPr>
            <p:ph type="clipArt" sz="quarter" idx="20"/>
          </p:nvPr>
        </p:nvSpPr>
        <p:spPr/>
        <p:txBody>
          <a:bodyPr/>
          <a:lstStyle/>
          <a:p>
            <a:endParaRPr lang="en-GB"/>
          </a:p>
        </p:txBody>
      </p:sp>
      <p:pic>
        <p:nvPicPr>
          <p:cNvPr id="41" name="Picture 40">
            <a:extLst>
              <a:ext uri="{FF2B5EF4-FFF2-40B4-BE49-F238E27FC236}">
                <a16:creationId xmlns:a16="http://schemas.microsoft.com/office/drawing/2014/main" id="{9B6421AF-141F-58F1-28EC-028C925B4BD5}"/>
              </a:ext>
            </a:extLst>
          </p:cNvPr>
          <p:cNvPicPr>
            <a:picLocks noChangeAspect="1"/>
          </p:cNvPicPr>
          <p:nvPr/>
        </p:nvPicPr>
        <p:blipFill>
          <a:blip r:embed="rId5"/>
          <a:stretch>
            <a:fillRect/>
          </a:stretch>
        </p:blipFill>
        <p:spPr>
          <a:xfrm>
            <a:off x="8108031" y="0"/>
            <a:ext cx="4078224" cy="6858000"/>
          </a:xfrm>
          <a:prstGeom prst="rect">
            <a:avLst/>
          </a:prstGeom>
        </p:spPr>
      </p:pic>
    </p:spTree>
    <p:custDataLst>
      <p:tags r:id="rId1"/>
    </p:custDataLst>
    <p:extLst>
      <p:ext uri="{BB962C8B-B14F-4D97-AF65-F5344CB8AC3E}">
        <p14:creationId xmlns:p14="http://schemas.microsoft.com/office/powerpoint/2010/main" val="38654949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5946" name="Text Box 90"/>
          <p:cNvSpPr txBox="1">
            <a:spLocks noChangeArrowheads="1"/>
          </p:cNvSpPr>
          <p:nvPr/>
        </p:nvSpPr>
        <p:spPr bwMode="auto">
          <a:xfrm>
            <a:off x="2912184" y="5214885"/>
            <a:ext cx="8937357" cy="44076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p>
            <a:pPr algn="r">
              <a:spcBef>
                <a:spcPct val="50000"/>
              </a:spcBef>
            </a:pPr>
            <a:endParaRPr lang="es-ES" sz="900" dirty="0">
              <a:solidFill>
                <a:schemeClr val="bg2"/>
              </a:solidFill>
            </a:endParaRPr>
          </a:p>
          <a:p>
            <a:pPr algn="r">
              <a:spcBef>
                <a:spcPct val="50000"/>
              </a:spcBef>
            </a:pPr>
            <a:r>
              <a:rPr lang="es-ES" sz="900" dirty="0">
                <a:solidFill>
                  <a:schemeClr val="bg2"/>
                </a:solidFill>
                <a:latin typeface="+mj-lt"/>
              </a:rPr>
              <a:t>Fuente: Naciones Unidas, Departamento de Asuntos Económicos y Sociales, División de Población (2019). </a:t>
            </a:r>
            <a:r>
              <a:rPr lang="es-ES" sz="900" dirty="0" err="1">
                <a:solidFill>
                  <a:schemeClr val="bg2"/>
                </a:solidFill>
                <a:latin typeface="+mj-lt"/>
              </a:rPr>
              <a:t>World</a:t>
            </a:r>
            <a:r>
              <a:rPr lang="es-ES" sz="900" dirty="0">
                <a:solidFill>
                  <a:schemeClr val="bg2"/>
                </a:solidFill>
                <a:latin typeface="+mj-lt"/>
              </a:rPr>
              <a:t> </a:t>
            </a:r>
            <a:r>
              <a:rPr lang="es-ES" sz="900" dirty="0" err="1">
                <a:solidFill>
                  <a:schemeClr val="bg2"/>
                </a:solidFill>
                <a:latin typeface="+mj-lt"/>
              </a:rPr>
              <a:t>Population</a:t>
            </a:r>
            <a:r>
              <a:rPr lang="es-ES" sz="900" dirty="0">
                <a:solidFill>
                  <a:schemeClr val="bg2"/>
                </a:solidFill>
                <a:latin typeface="+mj-lt"/>
              </a:rPr>
              <a:t> </a:t>
            </a:r>
            <a:r>
              <a:rPr lang="es-ES" sz="900" dirty="0" err="1">
                <a:solidFill>
                  <a:schemeClr val="bg2"/>
                </a:solidFill>
                <a:latin typeface="+mj-lt"/>
              </a:rPr>
              <a:t>Prospects</a:t>
            </a:r>
            <a:r>
              <a:rPr lang="es-ES" sz="900" dirty="0">
                <a:solidFill>
                  <a:schemeClr val="bg2"/>
                </a:solidFill>
                <a:latin typeface="+mj-lt"/>
              </a:rPr>
              <a:t> 2019, Online </a:t>
            </a:r>
            <a:r>
              <a:rPr lang="es-ES" sz="900" dirty="0" err="1">
                <a:solidFill>
                  <a:schemeClr val="bg2"/>
                </a:solidFill>
                <a:latin typeface="+mj-lt"/>
              </a:rPr>
              <a:t>Edition</a:t>
            </a:r>
            <a:r>
              <a:rPr lang="es-ES" sz="900" dirty="0">
                <a:solidFill>
                  <a:schemeClr val="bg2"/>
                </a:solidFill>
                <a:latin typeface="+mj-lt"/>
              </a:rPr>
              <a:t>. Rev. 1.</a:t>
            </a:r>
          </a:p>
        </p:txBody>
      </p:sp>
      <p:sp>
        <p:nvSpPr>
          <p:cNvPr id="505958" name="HR2010_CATEGORY"/>
          <p:cNvSpPr txBox="1">
            <a:spLocks noChangeArrowheads="1"/>
          </p:cNvSpPr>
          <p:nvPr>
            <p:custDataLst>
              <p:tags r:id="rId2"/>
            </p:custDataLst>
          </p:nvPr>
        </p:nvSpPr>
        <p:spPr bwMode="auto">
          <a:xfrm>
            <a:off x="1990725" y="63501"/>
            <a:ext cx="32060" cy="13849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defRPr>
                <a:solidFill>
                  <a:schemeClr val="tx1"/>
                </a:solidFill>
                <a:latin typeface="Arial" pitchFamily="34" charset="0"/>
              </a:defRPr>
            </a:lvl1pPr>
            <a:lvl2pPr algn="l">
              <a:defRPr>
                <a:solidFill>
                  <a:schemeClr val="tx1"/>
                </a:solidFill>
                <a:latin typeface="Arial" pitchFamily="34" charset="0"/>
              </a:defRPr>
            </a:lvl2pPr>
            <a:lvl3pPr algn="l">
              <a:defRPr>
                <a:solidFill>
                  <a:schemeClr val="tx1"/>
                </a:solidFill>
                <a:latin typeface="Arial" pitchFamily="34" charset="0"/>
              </a:defRPr>
            </a:lvl3pPr>
            <a:lvl4pPr algn="l">
              <a:defRPr>
                <a:solidFill>
                  <a:schemeClr val="tx1"/>
                </a:solidFill>
                <a:latin typeface="Arial" pitchFamily="34" charset="0"/>
              </a:defRPr>
            </a:lvl4pPr>
            <a:lvl5pPr algn="l">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latinLnBrk="1"/>
            <a:r>
              <a:rPr lang="es-ES" sz="900" b="1" dirty="0">
                <a:solidFill>
                  <a:srgbClr val="827878"/>
                </a:solidFill>
              </a:rPr>
              <a:t> </a:t>
            </a:r>
          </a:p>
        </p:txBody>
      </p:sp>
      <p:sp>
        <p:nvSpPr>
          <p:cNvPr id="5" name="Rectangle 4"/>
          <p:cNvSpPr/>
          <p:nvPr>
            <p:custDataLst>
              <p:tags r:id="rId3"/>
            </p:custDataLst>
          </p:nvPr>
        </p:nvSpPr>
        <p:spPr bwMode="auto">
          <a:xfrm>
            <a:off x="1852039" y="5923385"/>
            <a:ext cx="8551176" cy="281103"/>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bodyPr>
          <a:lstStyle/>
          <a:p>
            <a:pPr eaLnBrk="0" fontAlgn="base" hangingPunct="0">
              <a:buClr>
                <a:schemeClr val="accent2"/>
              </a:buClr>
            </a:pPr>
            <a:r>
              <a:rPr lang="es-ES" b="1" dirty="0">
                <a:solidFill>
                  <a:schemeClr val="accent1"/>
                </a:solidFill>
                <a:latin typeface="Arial" panose="020B0604020202020204" pitchFamily="34" charset="0"/>
              </a:rPr>
              <a:t>La esperanza de vida aumenta en los países desarrollados, pero también a nivel mundial</a:t>
            </a:r>
          </a:p>
        </p:txBody>
      </p:sp>
      <p:pic>
        <p:nvPicPr>
          <p:cNvPr id="6" name="Picture 5"/>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342459" y="5679476"/>
            <a:ext cx="11507083" cy="280803"/>
          </a:xfrm>
          <a:prstGeom prst="rect">
            <a:avLst/>
          </a:prstGeom>
        </p:spPr>
      </p:pic>
      <p:graphicFrame>
        <p:nvGraphicFramePr>
          <p:cNvPr id="4" name="Chart 3"/>
          <p:cNvGraphicFramePr/>
          <p:nvPr/>
        </p:nvGraphicFramePr>
        <p:xfrm>
          <a:off x="707322" y="1469694"/>
          <a:ext cx="10777356" cy="3882211"/>
        </p:xfrm>
        <a:graphic>
          <a:graphicData uri="http://schemas.openxmlformats.org/drawingml/2006/chart">
            <c:chart xmlns:c="http://schemas.openxmlformats.org/drawingml/2006/chart" xmlns:r="http://schemas.openxmlformats.org/officeDocument/2006/relationships" r:id="rId8"/>
          </a:graphicData>
        </a:graphic>
      </p:graphicFrame>
      <p:sp>
        <p:nvSpPr>
          <p:cNvPr id="8" name="Title 7"/>
          <p:cNvSpPr>
            <a:spLocks noGrp="1"/>
          </p:cNvSpPr>
          <p:nvPr>
            <p:ph type="title"/>
          </p:nvPr>
        </p:nvSpPr>
        <p:spPr/>
        <p:txBody>
          <a:bodyPr/>
          <a:lstStyle/>
          <a:p>
            <a:r>
              <a:rPr lang="es-ES" dirty="0"/>
              <a:t>Desafío demográfico</a:t>
            </a:r>
            <a:br>
              <a:rPr lang="es-ES" dirty="0"/>
            </a:br>
            <a:r>
              <a:rPr lang="es-ES" b="0" dirty="0"/>
              <a:t>Aumento de la esperanza de vida</a:t>
            </a:r>
            <a:endParaRPr lang="es-ES" dirty="0"/>
          </a:p>
        </p:txBody>
      </p:sp>
      <p:sp>
        <p:nvSpPr>
          <p:cNvPr id="2" name="TextBox 1">
            <a:extLst>
              <a:ext uri="{FF2B5EF4-FFF2-40B4-BE49-F238E27FC236}">
                <a16:creationId xmlns:a16="http://schemas.microsoft.com/office/drawing/2014/main" id="{0719E9CB-6680-75FA-79AD-27691C584741}"/>
              </a:ext>
            </a:extLst>
          </p:cNvPr>
          <p:cNvSpPr txBox="1"/>
          <p:nvPr/>
        </p:nvSpPr>
        <p:spPr>
          <a:xfrm>
            <a:off x="8763000" y="332733"/>
            <a:ext cx="2409825" cy="864841"/>
          </a:xfrm>
          <a:prstGeom prst="rect">
            <a:avLst/>
          </a:prstGeom>
          <a:noFill/>
        </p:spPr>
        <p:txBody>
          <a:bodyPr wrap="square" lIns="0" tIns="0" rIns="0" bIns="0" rtlCol="0">
            <a:noAutofit/>
          </a:bodyPr>
          <a:lstStyle/>
          <a:p>
            <a:pPr algn="l"/>
            <a:r>
              <a:rPr lang="en-GB" sz="5400" dirty="0"/>
              <a:t>150</a:t>
            </a:r>
          </a:p>
        </p:txBody>
      </p:sp>
    </p:spTree>
    <p:custDataLst>
      <p:tags r:id="rId1"/>
    </p:custDataLst>
    <p:extLst>
      <p:ext uri="{BB962C8B-B14F-4D97-AF65-F5344CB8AC3E}">
        <p14:creationId xmlns:p14="http://schemas.microsoft.com/office/powerpoint/2010/main" val="1235793453"/>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EE4P_STYLE_ID" val="1c9ac4c4-e96a-4f51-bb39-c913fdb73df4"/>
  <p:tag name="EE4P_LANGUAGE_ID" val="2057"/>
  <p:tag name="EE4P_AGENDAWIZARD" val="&lt;ee4p&gt;&lt;layouts&gt;&lt;layout name=&quot;Agenda small + Section Header light&quot; id=&quot;447_6&quot;&gt;&lt;standard&gt;&lt;textframe horizontalAnchor=&quot;1&quot; marginBottom=&quot;6&quot; marginLeft=&quot;0&quot; marginRight=&quot;0&quot; marginTop=&quot;6&quot; orientation=&quot;1&quot; verticalAnchor=&quot;1&quot; /&gt;&lt;font name=&quot;+mn-lt&quot; bold=&quot;0&quot; italic=&quot;0&quot; color=&quot;15&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ttention: Attention: Please use color-coded agenda layouts only in the appropriate template. Layouts without a color designation are based on the first slide of the presentation, which determines the color assignment. Layouts without a color designation are based on the first slide of the presentation, which determines the color assignment.&quot; subtitle=&quot;&quot; sizingModeId=&quot;1&quot; fontSize=&quot;20&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10&quot; dock=&quot;1&quot; fixedWidth=&quot;70.27969&quot; /&gt;&lt;column field=&quot;topic&quot; label=&quot;Topic&quot; leftSpacing=&quot;5&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0&quot; checked=&quot;0&quot; leftSpacing=&quot;10&quot; rightSpacing=&quot;6&quot; dock=&quot;2&quot; /&gt;&lt;column field=&quot;pageno&quot; label=&quot;Page No.&quot; visible=&quot;1&quot; checked=&quot;0&quot; leftSpacing=&quot;10&quot; rightSpacing=&quot;6&quot; dock=&quot;2&quot; /&gt;&lt;/columns&gt;&lt;position left=&quot;22.62504&quot; top=&quot;16.72441&quot; width=&quot;421.75&quot; height=&quot;478.25&quot; /&gt;&lt;!-- type 2 Progress (vorherige und nachfolgende Menüpunkte) --&gt;&lt;indicators label=&quot;Insert navigation item&quot; label_de=&quot;Navigationshinweis einfügen&quot;&gt;&lt;indicator type=&quot;2&quot; layoutPattern=&quot;^Highlight light|Highlight light, Line light|Highlight dark, Line dark|Two Contents with Background Grey 95|Two Contents with Background Blue 25|Two Contents with Background light|Two Contents with Background dark|Title and Content|Two Contents|Three Contents|Four Contents|Text, Picture \(3:1\)|Picture, Text \(1:3\)|Text, Picture \(2:2\)|Picture, Text \(2:2\)|Text, Picture \(1:3\)|Picture, Text \(3:1\)|Picture \(full width\)|Four Contents with Highlights|Eight Contents with Deposit|Eight different Contents with Deposit|Contact small light, Logo neg.|Contact small light, Logo pos.|Contact large light|Contact small light QR, Logo neg.|Contact small light QR, Logo pos.|Contact large light QR|Title Only|Blank white|Text, Picture$&quot; separator=&quot;  |  &quot; leadingSeparator=&quot;|  &quot; trailingSeparator=&quot;  |&quot; itemNoFormat=&quot;{0}&quot; activeItemFormat=&quot; {0}&quot; activeItemNoFormat=&quot;{0} &quot;&gt;&lt;element id=&quot;48cd5628-261f-4e5f-bb60-d589a391489a&quot;&gt;&lt;position left=&quot;22.62496&quot; top=&quot;0&quot; width=&quot;680.1251&quot; height=&quot;16.65551&quot; autoshape=&quot;1&quot; rotation=&quot;0&quot; /&gt;&lt;font size=&quot;9&quot; color=&quot;15&quot; bold=&quot;0&quot; /&gt;&lt;font indicator=&quot;separator&quot; color=&quot;15&quot; bold=&quot;0&quot; /&gt;&lt;font indicator=&quot;activeItem&quot; color=&quot;15&quot; bold=&quot;1&quot; /&gt;&lt;font indicator=&quot;activeItemNo&quot; color=&quot;15&quot; bold=&quot;1&quot; /&gt;&lt;textframe horizontalAnchor=&quot;1&quot; verticalAnchor=&quot;3&quot; orientation=&quot;1&quot; wordWrap=&quot;1&quot; autoSize=&quot;0&quot; marginLeft=&quot;0&quot; marginRight=&quot;0&quot; marginTop=&quot;0&quot; marginBottom=&quot;0&quot; /&gt;&lt;paragraphformat alignment=&quot;1&quot; lineRuleBefore=&quot;0&quot; lineRuleWithin=&quot;1&quot; lineRuleAfter=&quot;0&quot; spaceBefore=&quot;0&quot; spaceWithin=&quot;1.1&quot; spaceAfter=&quot;0&quot; /&gt;&lt;line visible=&quot;0&quot; /&gt;&lt;fill foreColor=&quot;#ffffff&quot; visible=&quot;0&quot; /&gt;&lt;/element&gt;&lt;/indicator&gt;&lt;/indicators&gt;&lt;settings allowedSizingModeIds=&quot;1|2&quot; allowedFontSizes=&quot;8|9|10|10.5|11|12|14|16|18&quot; allowedTimeFormatIds=&quot;1|2|3&quot; slideLayout=&quot;11&quot; customLayoutNameSingle=&quot;Agenda small light&quot; customLayoutName=&quot;Section Header light&quot; customLayoutIndex=&quot;&quot; showBreak=&quot;1&quot; singleAgendaSlideSelected=&quot;0&quot; backupSlideTitle=&quot;Backup: %agendaName%&quot; topMargin=&quot;0&quot; leftMargin=&quot;0&quot; allowedLevels=&quot;2&quot; itemNoFormats=&quot;{1}¦{1}.{2}&quot; keepPlaceholders=&quot;18|9&quot; customLayoutBasedOnFirstSlideDesign=&quot;1&quot; deleteTitle=&quot;1&quot; /&gt;&lt;!-- Agenda item formats --&gt;&lt;cases&gt;&lt;case level=&quot;1&quot; single=&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2.25&quot; /&gt;&lt;/element&gt;&lt;element field=&quot;itemno&quot; type=&quot;autoshape&quot; autoShapeType=&quot;1&quot;&gt;&lt;position height=&quot;75*scale*fontScale&quot; /&gt;&lt;textframe marginLeft=&quot;0&quot; verticalAnchor=&quot;3&quot; /&gt;&lt;paragraphformat alignment=&quot;1&quot; /&gt;&lt;font color=&quot;5&quot; bold=&quot;0&quot; relativeSize=&quot;2.4&quot; /&gt;&lt;/element&gt;&lt;element field=&quot;topic&quot; type=&quot;autoshape&quot; autoShapeType=&quot;1&quot;&gt;&lt;position height=&quot;75*scale*fontScale&quot; /&gt;&lt;textframe verticalAnchor=&quot;3&quot; marginLeft=&quot;0&quot; marginRight=&quot;0&quot; marginTop=&quot;3.685039&quot; marginBottom=&quot;3.685039&quot; /&gt;&lt;paragraphformat alignment=&quot;1&quot; /&gt;&lt;/element&gt;&lt;element field=&quot;pageno&quot; type=&quot;autoshape&quot; autoShapeType=&quot;1&quot;&gt;&lt;textframe marginLeft=&quot;0&quot; verticalAnchor=&quot;3&quot; /&gt;&lt;paragraphformat alignment=&quot;3&quot; /&gt;&lt;/element&gt;&lt;/case&gt;&lt;case level=&quot;2&quot; single=&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2.25&quot; /&gt;&lt;/element&gt;&lt;element field=&quot;itemno&quot; type=&quot;autoshape&quot; autoShapeType=&quot;1&quot;&gt;&lt;position height=&quot;75*scale*fontScale&quot; /&gt;&lt;textframe marginLeft=&quot;0&quot; verticalAnchor=&quot;3&quot; /&gt;&lt;paragraphformat alignment=&quot;1&quot; /&gt;&lt;font color=&quot;5&quot; bold=&quot;0&quot; relativeSize=&quot;2&quot; /&gt;&lt;/element&gt;&lt;element field=&quot;topic&quot; type=&quot;autoshape&quot; autoShapeType=&quot;1&quot;&gt;&lt;position height=&quot;75*scale*fontScale&quot; /&gt;&lt;textframe verticalAnchor=&quot;3&quot; marginLeft=&quot;0&quot; marginRight=&quot;0&quot; marginTop=&quot;3.685039&quot; marginBottom=&quot;3.685039&quot; /&gt;&lt;paragraphformat alignment=&quot;1&quot; /&gt;&lt;/element&gt;&lt;element field=&quot;pageno&quot; type=&quot;autoshape&quot; autoShapeType=&quot;1&quot;&gt;&lt;textframe marginLeft=&quot;0&quot; verticalAnchor=&quot;3&quot; /&gt;&lt;paragraphformat alignment=&quot;3&quot; /&gt;&lt;/element&gt;&lt;/case&gt;&lt;case level=&quot;1&quot; single=&quot;1&quot; break=&quot;1&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2.25&quot; /&gt;&lt;/element&gt;&lt;element field=&quot;topic&quot; type=&quot;autoshape&quot; autoShapeType=&quot;1&quot; indent=&quot;(level-1)*(itemSingleHeight*25/31.50472+topicLeftSpacing) &quot; indentType=&quot;2&quot;&gt;&lt;position height=&quot;75*scale*fontScale&quot; /&gt;&lt;textframe verticalAnchor=&quot;3&quot; marginLeft=&quot;0&quot; marginRight=&quot;0&quot; marginTop=&quot;3.685039&quot; marginBottom=&quot;3.685039&quot; /&gt;&lt;paragraphformat alignment=&quot;1&quot; /&gt;&lt;font italic=&quot;1&quot; /&gt;&lt;/element&gt;&lt;element field=&quot;pageno&quot; type=&quot;autoshape&quot; autoShapeType=&quot;1&quot;&gt;&lt;textframe marginLeft=&quot;0&quot; verticalAnchor=&quot;3&quot; /&gt;&lt;paragraphformat alignment=&quot;3&quot; /&gt;&lt;font italic=&quot;1&quot; /&gt;&lt;/element&gt;&lt;/case&gt;&lt;/cases&gt;&lt;!-- Elements on slide independent of items --&gt;&lt;elements&gt;&lt;element type=&quot;textbox&quot; zOrder=&quot;1&quot; value=&quot;%topic%&quot; slideType=&quot;2&quot;&gt;&lt;position left=&quot;234.4773&quot; top=&quot;79.937&quot; width=&quot;443.622&quot; height=&quot;66.61417&quot; autoshape=&quot;1&quot; rotation=&quot;0&quot; /&gt;&lt;line visible=&quot;0&quot; /&gt;&lt;fill visible=&quot;0&quot; /&gt;&lt;textframe horizontalAnchor=&quot;1&quot; verticalAnchor=&quot;4&quot; orientation=&quot;1&quot; wordWrap=&quot;1&quot; autoSize=&quot;0&quot; marginLeft=&quot;0&quot; marginRight=&quot;0&quot; marginTop=&quot;0&quot; marginBottom=&quot;0&quot; /&gt;&lt;paragraphformat alignment=&quot;1&quot; lineRuleBefore=&quot;1&quot; lineRuleWithin=&quot;1&quot; lineRuleAfter=&quot;0&quot; spaceBefore=&quot;0&quot; spaceWithin=&quot;1&quot; spaceAfter=&quot;0&quot; /&gt;&lt;bulletformat visible=&quot;0&quot; /&gt;&lt;font name=&quot;Archivo&quot; size=&quot;20&quot; bold=&quot;0&quot; italic=&quot;0&quot; underlineStyle=&quot;0&quot; color=&quot;14&quot; spacing=&quot;0&quot; kerning=&quot;12&quot; /&gt;&lt;/element&gt;&lt;element type=&quot;textbox&quot; zOrder=&quot;1&quot; value=&quot;%itemNoString%&quot; slideType=&quot;2&quot;&gt;&lt;position left=&quot;-5.744567&quot; top=&quot;0&quot; width=&quot;194.7133&quot; height=&quot;151.6218&quot; autoshape=&quot;1&quot; rotation=&quot;0&quot; /&gt;&lt;line visible=&quot;0&quot; /&gt;&lt;fill visible=&quot;0&quot; /&gt;&lt;textframe horizontalAnchor=&quot;1&quot; verticalAnchor=&quot;1&quot; orientation=&quot;1&quot; wordWrap=&quot;1&quot; autoSize=&quot;0&quot; marginLeft=&quot;0&quot; marginRight=&quot;0&quot; marginTop=&quot;0&quot; marginBottom=&quot;0&quot; /&gt;&lt;paragraphformat alignment=&quot;1&quot; lineRuleBefore=&quot;0&quot; lineRuleWithin=&quot;1&quot; lineRuleAfter=&quot;0&quot; spaceBefore=&quot;0&quot; spaceWithin=&quot;0.89&quot; spaceAfter=&quot;6&quot; /&gt;&lt;bulletformat visible=&quot;0&quot; /&gt;&lt;font name=&quot;Archivo&quot; size=&quot;145&quot; bold=&quot;0&quot; italic=&quot;0&quot; underlineStyle=&quot;0&quot; color=&quot;5&quot; spacing=&quot;-5&quot; kerning=&quot;12&quot; /&gt;&lt;/element&gt;&lt;/elements&gt;&lt;/layout&gt;&lt;/layouts&gt;&lt;contents&gt;&lt;agenda name=&quot;Agenda&quot; title=&quot;Agenda&quot; subtitle=&quot;&quot; sizingModeId=&quot;2&quot; fontSize=&quot;20&quot; fontSizeAuto=&quot;1&quot; startTime=&quot;540&quot; timeFormatId=&quot;1&quot; startItemNo=&quot;1&quot; createSingleAgendaSlide=&quot;0&quot; createSeparatingSlides=&quot;1&quot; createBackupSlide=&quot;0&quot; createIndicators=&quot;0&quot; layoutId=&quot;447_6&quot; hideSeparatingSlides=&quot;0&quot; createSections=&quot;0&quot; singleSlideId=&quot;&quot; backupSlideId=&quot;&quot;&gt;&lt;columns leftSpacing=&quot;0&quot; rightSpacing=&quot;0&quot;&gt;&lt;column field=&quot;itemno&quot; label=&quot;No.&quot; checked=&quot;1&quot; leftSpacing=&quot;0&quot; rightSpacing=&quot;10&quot; dock=&quot;1&quot; fixedWidth=&quot;70.27969&quot; /&gt;&lt;column field=&quot;topic&quot; label=&quot;Topic&quot; leftSpacing=&quot;5&quot; rightDistribute=&quot;1&quot; dock=&quot;1&quot; rightSpacing=&quot;15.23859&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0&quot; checked=&quot;0&quot; leftSpacing=&quot;10&quot; rightSpacing=&quot;6&quot; dock=&quot;2&quot; /&gt;&lt;column field=&quot;pageno&quot; label=&quot;Page No.&quot; visible=&quot;1&quot; checked=&quot;0&quot; leftSpacing=&quot;10&quot; rightSpacing=&quot;6&quot; dock=&quot;2&quot; /&gt;&lt;/columns&gt;&lt;items&gt;&lt;item duration=&quot;30&quot; id=&quot;87d515eb-53f9-431b-8105-b57ef4b33609&quot; parentId=&quot;&quot; level=&quot;1&quot; generateAgendaSlide=&quot;1&quot; showAgendaItem=&quot;1&quot; isBreak=&quot;0&quot; topic=&quot;Comportamiento del consumidor&quot; agendaSlideId=&quot;d55d690e-f910-4007-8f12-275c24ab49c0&quot; /&gt;&lt;item duration=&quot;30&quot; id=&quot;8182be4f-860a-43a8-946e-f8bfc0344cb4&quot; parentId=&quot;&quot; level=&quot;1&quot; generateAgendaSlide=&quot;1&quot; showAgendaItem=&quot;1&quot; isBreak=&quot;0&quot; topic=&quot;La suscripción acelerada&quot; agendaSlideId=&quot;9cfb5eb6-64ec-48c4-916c-6ec248e88f1a&quot; /&gt;&lt;item duration=&quot;30&quot; id=&quot;71f263f7-99ea-418a-ba2f-ba1bfbd12853&quot; parentId=&quot;&quot; level=&quot;1&quot; generateAgendaSlide=&quot;1&quot; showAgendaItem=&quot;1&quot; isBreak=&quot;0&quot; topic=&quot;Avances en medicina personalizada&quot; agendaSlideId=&quot;75ee9e3f-5091-4f30-8734-3f099fb26814&quot; /&gt;&lt;item duration=&quot;30&quot; id=&quot;abe59a62-fe86-4e38-9168-f558aeece5a1&quot; parentId=&quot;&quot; level=&quot;1&quot; generateAgendaSlide=&quot;1&quot; showAgendaItem=&quot;1&quot; isBreak=&quot;0&quot; topic=&quot;En resumen&quot; agendaSlideId=&quot;c3091ea4-c55a-4acf-8c35-3dc4215031f0&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HR2012CONCLUSION_BOX" val="Y"/>
</p:tagLst>
</file>

<file path=ppt/tags/tag11.xml><?xml version="1.0" encoding="utf-8"?>
<p:tagLst xmlns:a="http://schemas.openxmlformats.org/drawingml/2006/main" xmlns:r="http://schemas.openxmlformats.org/officeDocument/2006/relationships" xmlns:p="http://schemas.openxmlformats.org/presentationml/2006/main">
  <p:tag name="HR2012CONCLUSION_BAR" val="Y"/>
</p:tagLst>
</file>

<file path=ppt/tags/tag12.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13.xml><?xml version="1.0" encoding="utf-8"?>
<p:tagLst xmlns:a="http://schemas.openxmlformats.org/drawingml/2006/main" xmlns:r="http://schemas.openxmlformats.org/officeDocument/2006/relationships" xmlns:p="http://schemas.openxmlformats.org/presentationml/2006/main">
  <p:tag name="AM_CN_NUMBER" val="10"/>
  <p:tag name="AM_CN_MODE" val="Arabian"/>
</p:tagLst>
</file>

<file path=ppt/tags/tag14.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15.xml><?xml version="1.0" encoding="utf-8"?>
<p:tagLst xmlns:a="http://schemas.openxmlformats.org/drawingml/2006/main" xmlns:r="http://schemas.openxmlformats.org/officeDocument/2006/relationships" xmlns:p="http://schemas.openxmlformats.org/presentationml/2006/main">
  <p:tag name="HR2012SOURCE_BOX" val="Y"/>
</p:tagLst>
</file>

<file path=ppt/tags/tag16.xml><?xml version="1.0" encoding="utf-8"?>
<p:tagLst xmlns:a="http://schemas.openxmlformats.org/drawingml/2006/main" xmlns:r="http://schemas.openxmlformats.org/officeDocument/2006/relationships" xmlns:p="http://schemas.openxmlformats.org/presentationml/2006/main">
  <p:tag name="EE4P_SLIDEID" val="9cfb5eb6-64ec-48c4-916c-6ec248e88f1a"/>
</p:tagLst>
</file>

<file path=ppt/tags/tag1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6.88047/16.72441/194.7133/151.6218"/>
  <p:tag name="EE4P_AGENDAWIZARD_CONTENT" val="/2"/>
</p:tagLst>
</file>

<file path=ppt/tags/tag1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57.1024/96.66142/443.622/66.61417"/>
  <p:tag name="EE4P_AGENDAWIZARD_CONTENT" val="/La suscripción acelerada"/>
</p:tagLst>
</file>

<file path=ppt/tags/tag19.xml><?xml version="1.0" encoding="utf-8"?>
<p:tagLst xmlns:a="http://schemas.openxmlformats.org/drawingml/2006/main" xmlns:r="http://schemas.openxmlformats.org/officeDocument/2006/relationships" xmlns:p="http://schemas.openxmlformats.org/presentationml/2006/main">
  <p:tag name="EE4P_SLIDEID" val="75ee9e3f-5091-4f30-8734-3f099fb26814"/>
</p:tagLst>
</file>

<file path=ppt/tags/tag2.xml><?xml version="1.0" encoding="utf-8"?>
<p:tagLst xmlns:a="http://schemas.openxmlformats.org/drawingml/2006/main" xmlns:r="http://schemas.openxmlformats.org/officeDocument/2006/relationships" xmlns:p="http://schemas.openxmlformats.org/presentationml/2006/main">
  <p:tag name="EE4P_SLIDEID" val="d55d690e-f910-4007-8f12-275c24ab49c0"/>
</p:tagLst>
</file>

<file path=ppt/tags/tag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6.88047/16.72441/194.7133/151.6218"/>
  <p:tag name="EE4P_AGENDAWIZARD_CONTENT" val="/3"/>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57.1024/96.66142/443.622/66.61417"/>
  <p:tag name="EE4P_AGENDAWIZARD_CONTENT" val="/Avances en medicina personalizada"/>
</p:tagLst>
</file>

<file path=ppt/tags/tag3.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6.88047/16.72441/194.7133/151.6218"/>
  <p:tag name="EE4P_AGENDAWIZARD_CONTENT" val="/1"/>
</p:tagLst>
</file>

<file path=ppt/tags/tag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57.1024/96.66142/443.622/66.61417"/>
  <p:tag name="EE4P_AGENDAWIZARD_CONTENT" val="/Comportamiento del consumidor"/>
</p:tagLst>
</file>

<file path=ppt/tags/tag5.xml><?xml version="1.0" encoding="utf-8"?>
<p:tagLst xmlns:a="http://schemas.openxmlformats.org/drawingml/2006/main" xmlns:r="http://schemas.openxmlformats.org/officeDocument/2006/relationships" xmlns:p="http://schemas.openxmlformats.org/presentationml/2006/main">
  <p:tag name="EE4P_SLIDEID" val="9cfb5eb6-64ec-48c4-916c-6ec248e88f1a"/>
</p:tagLst>
</file>

<file path=ppt/tags/tag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6.88047/16.72441/194.7133/151.6218"/>
  <p:tag name="EE4P_AGENDAWIZARD_CONTENT" val="/2"/>
</p:tagLst>
</file>

<file path=ppt/tags/tag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57.1024/96.66142/443.622/66.61417"/>
  <p:tag name="EE4P_AGENDAWIZARD_CONTENT" val="/La suscripción acelerada"/>
</p:tagLst>
</file>

<file path=ppt/tags/tag8.xml><?xml version="1.0" encoding="utf-8"?>
<p:tagLst xmlns:a="http://schemas.openxmlformats.org/drawingml/2006/main" xmlns:r="http://schemas.openxmlformats.org/officeDocument/2006/relationships" xmlns:p="http://schemas.openxmlformats.org/presentationml/2006/main">
  <p:tag name="HIDE_NAVIGATION" val="Y"/>
  <p:tag name="AM_CN_NUMBER" val="2"/>
  <p:tag name="AM_CN_MODE" val="Arabian"/>
</p:tagLst>
</file>

<file path=ppt/tags/tag9.xml><?xml version="1.0" encoding="utf-8"?>
<p:tagLst xmlns:a="http://schemas.openxmlformats.org/drawingml/2006/main" xmlns:r="http://schemas.openxmlformats.org/officeDocument/2006/relationships" xmlns:p="http://schemas.openxmlformats.org/presentationml/2006/main">
  <p:tag name="HR2012_CATEGORY" val="Y"/>
</p:tagLst>
</file>

<file path=ppt/theme/theme1.xml><?xml version="1.0" encoding="utf-8"?>
<a:theme xmlns:a="http://schemas.openxmlformats.org/drawingml/2006/main" name="HannoverRe 2024 Blue">
  <a:themeElements>
    <a:clrScheme name="HannoverRe_Blue">
      <a:dk1>
        <a:sysClr val="windowText" lastClr="000000"/>
      </a:dk1>
      <a:lt1>
        <a:sysClr val="window" lastClr="FFFFFF"/>
      </a:lt1>
      <a:dk2>
        <a:srgbClr val="003C70"/>
      </a:dk2>
      <a:lt2>
        <a:srgbClr val="C1D5FF"/>
      </a:lt2>
      <a:accent1>
        <a:srgbClr val="0077D4"/>
      </a:accent1>
      <a:accent2>
        <a:srgbClr val="846CFF"/>
      </a:accent2>
      <a:accent3>
        <a:srgbClr val="CE4169"/>
      </a:accent3>
      <a:accent4>
        <a:srgbClr val="858900"/>
      </a:accent4>
      <a:accent5>
        <a:srgbClr val="5FA04D"/>
      </a:accent5>
      <a:accent6>
        <a:srgbClr val="919191"/>
      </a:accent6>
      <a:hlink>
        <a:srgbClr val="003C70"/>
      </a:hlink>
      <a:folHlink>
        <a:srgbClr val="003C70"/>
      </a:folHlink>
    </a:clrScheme>
    <a:fontScheme name="Archivo">
      <a:majorFont>
        <a:latin typeface="Archivo"/>
        <a:ea typeface=""/>
        <a:cs typeface=""/>
      </a:majorFont>
      <a:minorFont>
        <a:latin typeface="Archiv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E4169"/>
        </a:solidFill>
        <a:ln w="12700" cap="flat">
          <a:noFill/>
          <a:prstDash val="solid"/>
          <a:miter/>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2000" dirty="0">
            <a:solidFill>
              <a:schemeClr val="bg1"/>
            </a:solidFill>
          </a:defRPr>
        </a:defPPr>
      </a:lst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Blue 85">
      <a:srgbClr val="C1D5FF"/>
    </a:custClr>
    <a:custClr name="Purple 85">
      <a:srgbClr val="D4CFFF"/>
    </a:custClr>
    <a:custClr name="Red 85">
      <a:srgbClr val="FFC6D0"/>
    </a:custClr>
    <a:custClr name="Lime 85">
      <a:srgbClr val="D6DD00"/>
    </a:custClr>
    <a:custClr name="Green 85">
      <a:srgbClr val="8EEA74"/>
    </a:custClr>
    <a:custClr name="Gray 85">
      <a:srgbClr val="D4D4D4"/>
    </a:custClr>
    <a:custClr name="Gray 95">
      <a:srgbClr val="F1F1F1"/>
    </a:custClr>
    <a:custClr>
      <a:srgbClr val="FFFFFF"/>
    </a:custClr>
    <a:custClr>
      <a:srgbClr val="FFFFFF"/>
    </a:custClr>
    <a:custClr>
      <a:srgbClr val="FFFFFF"/>
    </a:custClr>
    <a:custClr name="Blue 50">
      <a:srgbClr val="0077D4"/>
    </a:custClr>
    <a:custClr name="Purple 50">
      <a:srgbClr val="7658FF"/>
    </a:custClr>
    <a:custClr name="Red 50">
      <a:srgbClr val="CE4169"/>
    </a:custClr>
    <a:custClr name="Lime 50">
      <a:srgbClr val="777B00"/>
    </a:custClr>
    <a:custClr name="Green 50">
      <a:srgbClr val="4D823E"/>
    </a:custClr>
    <a:custClr name="Gray 50">
      <a:srgbClr val="777777"/>
    </a:custClr>
    <a:custClr>
      <a:srgbClr val="FFFFFF"/>
    </a:custClr>
    <a:custClr>
      <a:srgbClr val="FFFFFF"/>
    </a:custClr>
    <a:custClr>
      <a:srgbClr val="FFFFFF"/>
    </a:custClr>
    <a:custClr>
      <a:srgbClr val="FFFFFF"/>
    </a:custClr>
    <a:custClr name="Blue 25">
      <a:srgbClr val="003C70"/>
    </a:custClr>
    <a:custClr name="Purple 25">
      <a:srgbClr val="3B2398"/>
    </a:custClr>
    <a:custClr name="Red 25">
      <a:srgbClr val="721833"/>
    </a:custClr>
    <a:custClr name="Lime 25">
      <a:srgbClr val="3C3E00"/>
    </a:custClr>
    <a:custClr name="Green 25">
      <a:srgbClr val="25421C"/>
    </a:custClr>
    <a:custClr name="Gray 25">
      <a:srgbClr val="3B3B3B"/>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HannoverRe_PPT-Master_20240611" id="{F3240D97-7D97-40B7-A5C9-134683795E76}" vid="{8A08C47B-E68F-4C1D-B596-2F05C4F332AF}"/>
    </a:ext>
  </a:extLst>
</a:theme>
</file>

<file path=ppt/theme/theme2.xml><?xml version="1.0" encoding="utf-8"?>
<a:theme xmlns:a="http://schemas.openxmlformats.org/drawingml/2006/main" name="HannoverRe 2024 Green">
  <a:themeElements>
    <a:clrScheme name="HannoverRe Green">
      <a:dk1>
        <a:sysClr val="windowText" lastClr="000000"/>
      </a:dk1>
      <a:lt1>
        <a:sysClr val="window" lastClr="FFFFFF"/>
      </a:lt1>
      <a:dk2>
        <a:srgbClr val="003C70"/>
      </a:dk2>
      <a:lt2>
        <a:srgbClr val="C1D5FF"/>
      </a:lt2>
      <a:accent1>
        <a:srgbClr val="5FA04D"/>
      </a:accent1>
      <a:accent2>
        <a:srgbClr val="0077D4"/>
      </a:accent2>
      <a:accent3>
        <a:srgbClr val="846CFF"/>
      </a:accent3>
      <a:accent4>
        <a:srgbClr val="CE4169"/>
      </a:accent4>
      <a:accent5>
        <a:srgbClr val="858900"/>
      </a:accent5>
      <a:accent6>
        <a:srgbClr val="919191"/>
      </a:accent6>
      <a:hlink>
        <a:srgbClr val="003C70"/>
      </a:hlink>
      <a:folHlink>
        <a:srgbClr val="003C70"/>
      </a:folHlink>
    </a:clrScheme>
    <a:fontScheme name="Archivo">
      <a:majorFont>
        <a:latin typeface="Archivo"/>
        <a:ea typeface=""/>
        <a:cs typeface=""/>
      </a:majorFont>
      <a:minorFont>
        <a:latin typeface="Archiv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E4169"/>
        </a:solidFill>
        <a:ln w="12700" cap="flat">
          <a:noFill/>
          <a:prstDash val="solid"/>
          <a:miter/>
        </a:ln>
      </a:spPr>
      <a:bodyPr tIns="90000" bIns="90000" rtlCol="0" anchor="ctr"/>
      <a:lstStyle>
        <a:defPPr algn="ctr">
          <a:defRPr sz="2000" dirty="0">
            <a:solidFill>
              <a:schemeClr val="bg1"/>
            </a:solidFill>
          </a:defRPr>
        </a:defPPr>
      </a:lstStyle>
    </a:spDef>
    <a:txDef>
      <a:spPr>
        <a:noFill/>
      </a:spPr>
      <a:bodyPr wrap="square" lIns="0" tIns="0" rIns="0" bIns="0" rtlCol="0">
        <a:noAutofit/>
      </a:bodyPr>
      <a:lstStyle>
        <a:defPPr algn="l">
          <a:defRPr dirty="0"/>
        </a:defPPr>
      </a:lstStyle>
    </a:txDef>
  </a:objectDefaults>
  <a:extraClrSchemeLst/>
  <a:custClrLst>
    <a:custClr name="Blue 85">
      <a:srgbClr val="C1D5FF"/>
    </a:custClr>
    <a:custClr name="Purple 85">
      <a:srgbClr val="D4CFFF"/>
    </a:custClr>
    <a:custClr name="Red 85">
      <a:srgbClr val="FFC6D0"/>
    </a:custClr>
    <a:custClr name="Lime 85">
      <a:srgbClr val="D6DD00"/>
    </a:custClr>
    <a:custClr name="Green 85">
      <a:srgbClr val="8EEA74"/>
    </a:custClr>
    <a:custClr name="Gray 85">
      <a:srgbClr val="D4D4D4"/>
    </a:custClr>
    <a:custClr name="Gray 95">
      <a:srgbClr val="F1F1F1"/>
    </a:custClr>
    <a:custClr>
      <a:srgbClr val="FFFFFF"/>
    </a:custClr>
    <a:custClr>
      <a:srgbClr val="FFFFFF"/>
    </a:custClr>
    <a:custClr>
      <a:srgbClr val="FFFFFF"/>
    </a:custClr>
    <a:custClr name="Blue 50">
      <a:srgbClr val="0077D4"/>
    </a:custClr>
    <a:custClr name="Purple 50">
      <a:srgbClr val="7658FF"/>
    </a:custClr>
    <a:custClr name="Red 50">
      <a:srgbClr val="CE4169"/>
    </a:custClr>
    <a:custClr name="Lime 50">
      <a:srgbClr val="777B00"/>
    </a:custClr>
    <a:custClr name="Green 50">
      <a:srgbClr val="4D823E"/>
    </a:custClr>
    <a:custClr name="Gray 50">
      <a:srgbClr val="777777"/>
    </a:custClr>
    <a:custClr>
      <a:srgbClr val="FFFFFF"/>
    </a:custClr>
    <a:custClr>
      <a:srgbClr val="FFFFFF"/>
    </a:custClr>
    <a:custClr>
      <a:srgbClr val="FFFFFF"/>
    </a:custClr>
    <a:custClr>
      <a:srgbClr val="FFFFFF"/>
    </a:custClr>
    <a:custClr name="Blue 25">
      <a:srgbClr val="003C70"/>
    </a:custClr>
    <a:custClr name="Purple 25">
      <a:srgbClr val="3B2398"/>
    </a:custClr>
    <a:custClr name="Red 25">
      <a:srgbClr val="721833"/>
    </a:custClr>
    <a:custClr name="Lime 25">
      <a:srgbClr val="3C3E00"/>
    </a:custClr>
    <a:custClr name="Green 25">
      <a:srgbClr val="25421C"/>
    </a:custClr>
    <a:custClr name="Gray 25">
      <a:srgbClr val="3B3B3B"/>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HannoverRe_PPT-Master_20240611" id="{F3240D97-7D97-40B7-A5C9-134683795E76}" vid="{FDC6DAE6-3156-4844-AD96-668B9E2ED181}"/>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HannoverRe_PPT-Master_20240611</Template>
  <TotalTime>5512</TotalTime>
  <Words>1035</Words>
  <Application>Microsoft Office PowerPoint</Application>
  <PresentationFormat>Panorámica</PresentationFormat>
  <Paragraphs>175</Paragraphs>
  <Slides>23</Slides>
  <Notes>14</Notes>
  <HiddenSlides>0</HiddenSlides>
  <MMClips>0</MMClips>
  <ScaleCrop>false</ScaleCrop>
  <HeadingPairs>
    <vt:vector size="6" baseType="variant">
      <vt:variant>
        <vt:lpstr>Fuentes usadas</vt:lpstr>
      </vt:variant>
      <vt:variant>
        <vt:i4>9</vt:i4>
      </vt:variant>
      <vt:variant>
        <vt:lpstr>Tema</vt:lpstr>
      </vt:variant>
      <vt:variant>
        <vt:i4>2</vt:i4>
      </vt:variant>
      <vt:variant>
        <vt:lpstr>Títulos de diapositiva</vt:lpstr>
      </vt:variant>
      <vt:variant>
        <vt:i4>23</vt:i4>
      </vt:variant>
    </vt:vector>
  </HeadingPairs>
  <TitlesOfParts>
    <vt:vector size="34" baseType="lpstr">
      <vt:lpstr>Calibri</vt:lpstr>
      <vt:lpstr>Archivo</vt:lpstr>
      <vt:lpstr>Wingdings 3</vt:lpstr>
      <vt:lpstr>Aptos</vt:lpstr>
      <vt:lpstr>Arial (body)</vt:lpstr>
      <vt:lpstr>Arial Black</vt:lpstr>
      <vt:lpstr>Wingdings</vt:lpstr>
      <vt:lpstr>Arial</vt:lpstr>
      <vt:lpstr>Symbol</vt:lpstr>
      <vt:lpstr>HannoverRe 2024 Blue</vt:lpstr>
      <vt:lpstr>HannoverRe 2024 Green</vt:lpstr>
      <vt:lpstr>Tendencias y Retos de los Seguros de Vida y Salud</vt:lpstr>
      <vt:lpstr>Presentación de PowerPoint</vt:lpstr>
      <vt:lpstr>Presentación de PowerPoint</vt:lpstr>
      <vt:lpstr>La potencia de la Inteligencia Artificial Va a impactar nuestra industria de seguros</vt:lpstr>
      <vt:lpstr>¿Cómo pueden las aseguradoras crear valor utilizando la IA? La IA ya está en acción en los seguros de vida y salud</vt:lpstr>
      <vt:lpstr> IA en acción </vt:lpstr>
      <vt:lpstr>El análisis de comportamiento puede descubrir omisiones de información Identificar el riesgo de ocultación por parte del cliente o del agente</vt:lpstr>
      <vt:lpstr>Presentación de PowerPoint</vt:lpstr>
      <vt:lpstr>Desafío demográfico Aumento de la esperanza de vida</vt:lpstr>
      <vt:lpstr>¿Dónde se vive más?</vt:lpstr>
      <vt:lpstr>¿Qué determina la esperanza de vida? El estatus socio-económico y el estilo de vida son factores importantes</vt:lpstr>
      <vt:lpstr>Estilo de vida y lugar de residencia “Eres la media entre las 5 personas con las que más tiempo pasas”*</vt:lpstr>
      <vt:lpstr>Presentación de PowerPoint</vt:lpstr>
      <vt:lpstr>La IA ha evolucionado mucho </vt:lpstr>
      <vt:lpstr>En el horizonte: IA generativa Analizar más datos en menos tiempo</vt:lpstr>
      <vt:lpstr>Presentación de PowerPoint</vt:lpstr>
      <vt:lpstr>La IA está impulsando el descubrimiento de nuevos medicamentos También está abriendo oportunidades para la medicina personalizada</vt:lpstr>
      <vt:lpstr>Experiencia tradicional de tratamientos Tratamiento no personalizado</vt:lpstr>
      <vt:lpstr>Utilizando la medicina de precisión para tratar el cáncer La medicina de precisión es un tratamiento personalizado utilizando los genes </vt:lpstr>
      <vt:lpstr>Muchas gracias por su atención ¿alguna pregunta?</vt:lpstr>
      <vt:lpstr>Presentación de PowerPoint</vt:lpstr>
      <vt:lpstr>Presentación de PowerPoint</vt:lpstr>
      <vt:lpstr>Disclaimer</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ndencias y Retos de los Seguros de Vida y Salud</dc:title>
  <dc:subject/>
  <dc:creator>Balboa Lisa</dc:creator>
  <cp:keywords/>
  <dc:description/>
  <cp:lastModifiedBy>Byron Hi</cp:lastModifiedBy>
  <cp:revision>115</cp:revision>
  <cp:lastPrinted>2000-01-01T00:00:00Z</cp:lastPrinted>
  <dcterms:created xsi:type="dcterms:W3CDTF">2024-08-25T10:09:38Z</dcterms:created>
  <dcterms:modified xsi:type="dcterms:W3CDTF">2025-09-26T03:14:43Z</dcterms:modified>
  <cp:category/>
  <cp:contentStatus/>
</cp:coreProperties>
</file>